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5.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notesSlides/notesSlide16.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48"/>
  </p:notesMasterIdLst>
  <p:handoutMasterIdLst>
    <p:handoutMasterId r:id="rId49"/>
  </p:handoutMasterIdLst>
  <p:sldIdLst>
    <p:sldId id="275" r:id="rId5"/>
    <p:sldId id="396" r:id="rId6"/>
    <p:sldId id="327" r:id="rId7"/>
    <p:sldId id="391" r:id="rId8"/>
    <p:sldId id="324" r:id="rId9"/>
    <p:sldId id="326" r:id="rId10"/>
    <p:sldId id="325" r:id="rId11"/>
    <p:sldId id="358" r:id="rId12"/>
    <p:sldId id="315" r:id="rId13"/>
    <p:sldId id="318" r:id="rId14"/>
    <p:sldId id="334" r:id="rId15"/>
    <p:sldId id="342" r:id="rId16"/>
    <p:sldId id="360" r:id="rId17"/>
    <p:sldId id="339" r:id="rId18"/>
    <p:sldId id="276" r:id="rId19"/>
    <p:sldId id="393" r:id="rId20"/>
    <p:sldId id="285" r:id="rId21"/>
    <p:sldId id="355" r:id="rId22"/>
    <p:sldId id="337" r:id="rId23"/>
    <p:sldId id="369" r:id="rId24"/>
    <p:sldId id="346" r:id="rId25"/>
    <p:sldId id="345" r:id="rId26"/>
    <p:sldId id="379" r:id="rId27"/>
    <p:sldId id="384" r:id="rId28"/>
    <p:sldId id="317" r:id="rId29"/>
    <p:sldId id="386" r:id="rId30"/>
    <p:sldId id="387" r:id="rId31"/>
    <p:sldId id="361" r:id="rId32"/>
    <p:sldId id="362" r:id="rId33"/>
    <p:sldId id="363" r:id="rId34"/>
    <p:sldId id="364" r:id="rId35"/>
    <p:sldId id="365" r:id="rId36"/>
    <p:sldId id="366" r:id="rId37"/>
    <p:sldId id="367" r:id="rId38"/>
    <p:sldId id="368" r:id="rId39"/>
    <p:sldId id="388" r:id="rId40"/>
    <p:sldId id="352" r:id="rId41"/>
    <p:sldId id="353" r:id="rId42"/>
    <p:sldId id="347" r:id="rId43"/>
    <p:sldId id="351" r:id="rId44"/>
    <p:sldId id="349" r:id="rId45"/>
    <p:sldId id="350" r:id="rId46"/>
    <p:sldId id="278" r:id="rId47"/>
  </p:sldIdLst>
  <p:sldSz cx="12192000" cy="6858000"/>
  <p:notesSz cx="6950075" cy="9236075"/>
  <p:custShowLst>
    <p:custShow name="Format Guide Workshop" id="0">
      <p:sldLst/>
    </p:custShow>
  </p:custShowLst>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velyn Yong" initials="EY" lastIdx="1" clrIdx="0">
    <p:extLst>
      <p:ext uri="{19B8F6BF-5375-455C-9EA6-DF929625EA0E}">
        <p15:presenceInfo xmlns:p15="http://schemas.microsoft.com/office/powerpoint/2012/main" userId="119b54a3e824dba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400"/>
    <a:srgbClr val="000000"/>
    <a:srgbClr val="FFFFFF"/>
    <a:srgbClr val="FF8C00"/>
    <a:srgbClr val="171D3C"/>
    <a:srgbClr val="FF4343"/>
    <a:srgbClr val="FF9900"/>
    <a:srgbClr val="FF0000"/>
    <a:srgbClr val="CBD0EB"/>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ABE0A6-2F84-4FF2-BCA4-CB1ED55588C9}" v="1" dt="2022-01-12T10:01:41.870"/>
    <p1510:client id="{01D17A1B-BAE4-4F53-935B-B69E11F8410A}" v="136" dt="2022-01-10T14:01:35.165"/>
    <p1510:client id="{0781AC2C-9B4D-48D3-8DAF-7A5A21AEF7CE}" v="1275" dt="2022-01-08T16:05:34.667"/>
    <p1510:client id="{07A0A937-BE9A-49D3-9DEB-911A28C55214}" v="36" dt="2022-01-13T04:20:13.625"/>
    <p1510:client id="{0830A887-6C9B-4A6F-BE69-9E706E02DBA8}" v="93" dt="2022-01-10T04:35:17.181"/>
    <p1510:client id="{0883F417-7066-4F8C-84B9-A30A3FA59957}" v="91" dt="2022-01-11T03:40:58.195"/>
    <p1510:client id="{09A785CA-DAAB-46F8-8EBF-288BFAA28F4E}" v="26" dt="2022-01-10T14:30:12.487"/>
    <p1510:client id="{0C79BA91-1E94-4A31-96DF-93ED1DF4A512}" v="35" dt="2022-01-08T13:13:28.156"/>
    <p1510:client id="{0DBCE264-42AB-4E4D-92BD-92ADD1AB384F}" v="1493" dt="2022-01-09T08:50:17.590"/>
    <p1510:client id="{0EAB42A7-036F-4A14-8FB0-25A7DE98B9AA}" v="295" dt="2022-01-10T09:34:57.734"/>
    <p1510:client id="{0F310872-6C40-484D-8F55-0878AF0EC2A4}" v="15" dt="2022-01-13T04:00:50.700"/>
    <p1510:client id="{0F3143D1-733D-4693-A1B4-4AC0E952203C}" v="1105" dt="2022-01-07T13:10:44.812"/>
    <p1510:client id="{116AD1FC-2C16-4F94-8C8D-181AC04248D0}" v="29" dt="2022-01-11T04:00:03.570"/>
    <p1510:client id="{11BCB7EC-2CD9-4DDE-8140-3BA1CF4EA7FC}" v="311" dt="2022-01-07T15:49:01.823"/>
    <p1510:client id="{1BD39029-34DE-40D2-B8EE-FA7F5EAF2821}" v="1" dt="2022-01-12T05:07:01.919"/>
    <p1510:client id="{1C868A80-F4F0-4CEC-A1DD-DCD9806FF52B}" v="24" dt="2022-01-08T01:47:13.057"/>
    <p1510:client id="{1DBB4F16-1CCE-4857-AA6E-634E45949B51}" v="51" dt="2022-01-10T12:50:26.267"/>
    <p1510:client id="{22FB8DB7-6371-41EB-A551-BB3DDECDAE5A}" v="160" dt="2022-01-07T15:42:27.729"/>
    <p1510:client id="{2992AFF7-732E-4672-B302-1D5AC74540D2}" v="1" dt="2022-01-10T13:54:38.336"/>
    <p1510:client id="{29E29440-0DE4-4097-B1BF-169145A03F4F}" v="207" dt="2022-01-09T08:56:03.225"/>
    <p1510:client id="{2A4D5C64-2682-48CF-8B48-69721A761C2C}" v="1" dt="2022-01-12T09:24:06.043"/>
    <p1510:client id="{2C907EE2-BDF6-498F-99BB-8F19B54B58A1}" v="5" dt="2022-01-13T04:55:45.284"/>
    <p1510:client id="{2E7C0D6E-C6A5-4772-9216-92AEF06745C3}" v="80" dt="2022-01-10T09:05:25.487"/>
    <p1510:client id="{2EA7E1D5-AE21-44E4-92AE-69268DACCF94}" v="15" dt="2022-01-10T15:02:02.024"/>
    <p1510:client id="{30E8B6D5-C3BB-4CF4-B067-415A54B103BF}" v="95" dt="2022-01-10T15:53:31.207"/>
    <p1510:client id="{33D43782-FE1C-4BEA-8261-254FCF1485F7}" v="42" dt="2022-01-06T05:10:20.904"/>
    <p1510:client id="{35D5487B-20F6-4690-B7B5-A0BABE93271B}" v="23" dt="2022-01-10T01:12:05.893"/>
    <p1510:client id="{3625D650-8AB3-4B5A-869D-8C0B5837D27D}" v="8" dt="2022-01-12T09:58:35.789"/>
    <p1510:client id="{3A0958C3-CB40-44EF-97F0-B6BA51C72152}" v="22" dt="2022-01-07T07:02:59.853"/>
    <p1510:client id="{3B0288CD-6438-43D8-A754-2C00C1097321}" v="118" dt="2022-01-08T09:20:41.361"/>
    <p1510:client id="{3DD3E0D8-2C05-47AB-82DF-4BAE0BF55AF8}" v="23" dt="2022-01-10T09:04:14.239"/>
    <p1510:client id="{3EB0FAEB-12AC-4A2E-B9FA-FADDBCDDECE3}" v="1097" dt="2022-01-09T08:42:28.530"/>
    <p1510:client id="{423F9FC5-765D-4FFD-8BEA-D8990B909969}" v="61" dt="2022-01-11T15:24:17.750"/>
    <p1510:client id="{42D81030-C5C2-460C-A637-800465825350}" v="310" dt="2022-01-07T16:02:55.108"/>
    <p1510:client id="{43953E80-5B2B-46E6-A951-E42E370C5F36}" v="5" dt="2022-01-12T17:08:51.689"/>
    <p1510:client id="{4BDA0023-21A7-477A-ABB2-E3DF645DE934}" v="18" dt="2022-01-12T19:16:00.956"/>
    <p1510:client id="{4E6E0DEA-90C1-4A1E-9096-69DC99BE4D41}" v="254" dt="2022-01-10T14:19:46.720"/>
    <p1510:client id="{4F596F7E-1732-48F6-8EE6-FBAB330260FB}" v="42" dt="2022-01-10T14:20:40.710"/>
    <p1510:client id="{55682CF0-600E-4A1C-988E-B1F5D773606E}" v="81" dt="2022-01-10T07:12:59.772"/>
    <p1510:client id="{563C5F07-89ED-4C5B-9408-64EED2D8E2C5}" v="3" dt="2022-01-11T04:00:48.607"/>
    <p1510:client id="{5CD08495-A19E-4CF7-BFBD-9B49CA003DCB}" v="6" dt="2022-01-11T00:33:43.917"/>
    <p1510:client id="{5E8024D4-CE76-4AF1-992E-04FA62D5E2AB}" v="428" dt="2022-01-08T10:04:29.276"/>
    <p1510:client id="{5F7935B9-78CB-4A7B-8139-79A142C00EBF}" v="497" dt="2022-01-09T15:24:45.521"/>
    <p1510:client id="{66309B90-B0C0-4F8C-8157-2D5E7497EB64}" v="5" dt="2022-01-11T05:28:47.309"/>
    <p1510:client id="{6981EFE4-3ADF-4E20-BA36-B81A1510612B}" v="34" dt="2022-01-10T15:57:59.784"/>
    <p1510:client id="{6DD72EF3-2C83-4B6C-A9CA-4BAB243B16FD}" v="342" dt="2022-01-12T09:15:40.550"/>
    <p1510:client id="{6EAABDA4-EA01-40EA-B2FC-B981EDB1CB4F}" v="229" dt="2022-01-11T03:06:00.334"/>
    <p1510:client id="{6EB46F44-B0FD-4B27-AAB4-3E778D6F97F8}" v="17" dt="2022-01-13T04:18:50.341"/>
    <p1510:client id="{6F35DDEF-8826-4C84-9907-7B864915BAD9}" v="82" dt="2022-01-10T13:24:19.747"/>
    <p1510:client id="{7463F86D-6C44-401E-8A00-13B6FBFAE0BB}" v="2" dt="2022-01-10T05:43:18.394"/>
    <p1510:client id="{74832C0B-5533-4278-A2CA-B05E5CFBE577}" v="8" dt="2022-01-13T03:41:44.831"/>
    <p1510:client id="{74E7815B-A246-44ED-82DC-F39008407D50}" v="2" dt="2022-01-11T02:30:29.498"/>
    <p1510:client id="{753517D1-64AA-4B8B-9638-0F17DE131089}" v="6" dt="2022-01-11T02:53:24.791"/>
    <p1510:client id="{75A97B9E-77E4-426A-B7F0-B00B889C97DC}" v="887" dt="2022-01-09T09:49:42.068"/>
    <p1510:client id="{79DAD299-5250-429D-A301-8633EC0876C2}" v="363" dt="2022-01-11T16:15:22.378"/>
    <p1510:client id="{7B834104-0078-4227-8C49-9EB50D21A128}" v="4" dt="2022-01-13T04:34:29.139"/>
    <p1510:client id="{7DF5718C-B0A5-4DCF-ADE1-C0C81A436B81}" v="3" dt="2022-01-12T07:00:29.843"/>
    <p1510:client id="{819C4CA1-6F1E-40FB-B176-D0B36B393917}" v="728" dt="2022-01-08T12:35:44.353"/>
    <p1510:client id="{819DFFEC-4326-43C8-95FF-064276E98504}" v="358" dt="2022-01-07T21:32:37.885"/>
    <p1510:client id="{828BBC6C-4A81-498B-B039-8F85469C9F22}" v="23" dt="2022-01-10T04:25:52.845"/>
    <p1510:client id="{8405161F-0664-4DBB-AC2D-FC21A0495B53}" v="284" dt="2022-01-11T13:52:12.406"/>
    <p1510:client id="{8480D150-7F16-47E7-B1A6-9F08D74002B3}" v="36" dt="2022-01-12T08:12:14.478"/>
    <p1510:client id="{8A555A89-C890-403D-A2C8-1DB1F47A6165}" v="135" dt="2022-01-12T07:40:31.482"/>
    <p1510:client id="{8B5C4203-1535-4333-83EB-DAD9020FD920}" v="153" dt="2022-01-06T02:49:45.409"/>
    <p1510:client id="{8BDC63DD-249F-4E6F-A55B-0758E9C53307}" v="2" dt="2022-01-10T10:56:09.264"/>
    <p1510:client id="{909113B9-D1BF-464B-96C0-BDB1E5A914A4}" v="1" dt="2022-01-13T04:24:41.087"/>
    <p1510:client id="{9D3249DC-2FF3-4A4F-BA09-258EFA95E181}" v="54" dt="2022-01-10T09:58:09.444"/>
    <p1510:client id="{A04A7C58-4B19-43AE-8D7D-EDF22096B44C}" v="715" dt="2022-01-12T01:09:46.013"/>
    <p1510:client id="{A6F1A08D-D360-4994-A761-FEAF41265FF9}" v="18" dt="2022-01-12T02:54:10.336"/>
    <p1510:client id="{AA8F84BC-5D19-4691-B461-BEF25C6106FD}" v="87" dt="2022-01-07T15:00:23.632"/>
    <p1510:client id="{AADDA445-BDD6-42F9-85C9-88CD3230B937}" v="178" dt="2022-01-09T11:24:00.148"/>
    <p1510:client id="{B0F3A502-3AAB-41AE-A44C-28F5E8973229}" v="69" dt="2022-01-10T09:52:51.728"/>
    <p1510:client id="{B1695F6B-E229-47A3-B13F-79B478ED93D2}" v="99" dt="2022-01-10T10:54:53.825"/>
    <p1510:client id="{B2367C32-F6D3-4B00-AB58-61F5BF24A91B}" v="3" dt="2022-01-11T03:31:50.139"/>
    <p1510:client id="{B3D6AD75-5C2B-429E-AEC9-A42607A550DC}" v="327" dt="2022-01-10T05:20:00.031"/>
    <p1510:client id="{B7065643-81CF-4785-A43E-F7F8964C8BB8}" v="1456" dt="2022-01-10T09:42:47.078"/>
    <p1510:client id="{BCBC7DAA-9194-4E0F-B355-1B8AC41DDAA0}" v="13" dt="2022-01-07T12:45:06.721"/>
    <p1510:client id="{C17ABDC1-3A95-4347-ABD6-D23CA761376E}" v="7" dt="2022-01-10T04:09:52.368"/>
    <p1510:client id="{C2525DC1-AD49-4805-9A67-C03488954F44}" v="55" dt="2022-01-10T12:37:28.393"/>
    <p1510:client id="{C2689611-F562-4134-AD43-73D7DCE046D6}" v="60" dt="2022-01-10T08:43:10.639"/>
    <p1510:client id="{C33F27BD-53F8-452E-B99E-C56CD20FCBF6}" v="69" dt="2022-01-12T08:26:27.480"/>
    <p1510:client id="{C501F9E6-D361-42A5-8B59-09DBEA01AB0D}" v="8" dt="2022-01-10T05:41:53.551"/>
    <p1510:client id="{C6B74C6D-491E-41E5-B73F-A02C1ED83FFA}" v="180" dt="2022-01-09T08:32:09.601"/>
    <p1510:client id="{C756623E-E047-4D85-B2E6-F6F5645BBAF1}" v="34" dt="2022-01-13T04:20:48.978"/>
    <p1510:client id="{CD146A5B-B186-475E-8C29-997FD5E6FBB0}" v="122" dt="2022-01-10T02:07:23.339"/>
    <p1510:client id="{CD67B01C-8D2C-4219-AAFF-DFC5DB634769}" v="116" dt="2022-01-10T01:59:24.333"/>
    <p1510:client id="{D34622ED-5D20-46FD-8FBB-2439B7EBD9E0}" v="116" dt="2022-01-11T13:53:11.558"/>
    <p1510:client id="{D6BD7DF4-3C9F-4137-8A2D-DF66B7201CEC}" v="142" dt="2022-01-11T14:45:11.460"/>
    <p1510:client id="{D85AE390-7E41-40BF-A7F8-D1E85EDA5A44}" v="315" dt="2022-01-10T09:48:19.945"/>
    <p1510:client id="{D87E7FF8-9009-404F-B3B4-E419E79AB32F}" v="67" dt="2022-01-10T06:29:07.212"/>
    <p1510:client id="{D9D9CDA3-6727-4953-8803-8E71B7B07B33}" v="271" dt="2022-01-07T13:51:27.594"/>
    <p1510:client id="{DA0791EE-8C54-44FE-85AD-70117F2C2B72}" v="1118" dt="2022-01-09T15:55:51.484"/>
    <p1510:client id="{DCEE5406-83BB-48F0-AF89-99663C2BD9DB}" v="2266" dt="2022-01-08T16:29:50.092"/>
    <p1510:client id="{DEAFE59B-C1D4-431B-B4F3-DFC1E184A427}" v="264" dt="2022-01-11T15:19:41.155"/>
    <p1510:client id="{DFDD5CEE-4220-4D97-8780-A131383F4A54}" v="709" dt="2022-01-08T11:59:47.449"/>
    <p1510:client id="{E24B95FD-1DFE-4B69-A5CF-BB3FE575966C}" v="342" dt="2022-01-12T09:14:39.100"/>
    <p1510:client id="{E31483D7-A304-4EBA-B911-57F26C6A6211}" v="5" dt="2022-01-12T08:36:06.662"/>
    <p1510:client id="{E369CB37-3068-47E4-AD90-1DEAD92C8B6F}" v="2187" dt="2022-01-08T16:39:17.078"/>
    <p1510:client id="{E4B2E7FC-2D8C-47A5-B122-28DCEC8EB684}" v="28" dt="2022-01-10T09:43:13.322"/>
    <p1510:client id="{E725992E-162C-40AB-8AAE-B624A47B0E36}" v="76" dt="2022-01-10T10:16:03.092"/>
    <p1510:client id="{EBBE918A-CD43-47AE-9637-5ACE8C97E877}" v="452" dt="2022-01-07T12:56:47.011"/>
    <p1510:client id="{EC2A99E8-D57E-404D-978A-0C90CBE96F0A}" v="65" dt="2022-01-08T18:36:54.308"/>
    <p1510:client id="{ED715E7B-4604-42E7-9143-8C9AAFEFEE22}" v="1083" dt="2022-01-08T16:25:18.505"/>
    <p1510:client id="{ED728A0C-0252-46C5-96AF-5016F0C15CC5}" v="417" dt="2022-01-11T14:50:40.907"/>
    <p1510:client id="{EDC78924-31DD-478D-94D0-FF076158C451}" v="6" dt="2022-01-11T15:05:09.273"/>
    <p1510:client id="{EDFFD962-2F08-4964-9C00-2786D8B0D9B5}" v="121" dt="2022-01-12T10:00:58.523"/>
    <p1510:client id="{F0A9F897-F63F-4ABF-9284-5B2E5231BFDE}" v="22" dt="2022-01-09T05:48:54.330"/>
    <p1510:client id="{F2365CAA-0801-4EFC-BF65-DCB1BFF3D234}" v="250" dt="2022-01-10T11:09:30.370"/>
    <p1510:client id="{F4D536A2-EFCC-4670-8C8C-E863D221E9CA}" v="415" dt="2022-01-09T03:38:55.223"/>
    <p1510:client id="{F6E9D699-77B0-4065-86A7-8BD3B22EE356}" v="183" dt="2022-01-08T15:00:33.726"/>
    <p1510:client id="{F7F9ED99-F543-40A2-8A6C-8021AD617F06}" v="1423" dt="2022-01-11T03:32:22.964"/>
    <p1510:client id="{F8472AC6-5C98-4D8F-8462-C81CC307D614}" v="701" dt="2022-01-11T15:28:22.650"/>
    <p1510:client id="{FE7A7410-B3C7-4707-853A-BB53FCF4B11C}" v="4" dt="2022-01-09T06:53:57.8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ELYNSM.YONG" userId="S::evelynsm.yong_gmail.com#ext#@risebcg.onmicrosoft.com::67a27a72-2420-4d38-b745-316a53f4b99a" providerId="AD" clId="Web-{563C5F07-89ED-4C5B-9408-64EED2D8E2C5}"/>
    <pc:docChg chg="modSld">
      <pc:chgData name="EVELYNSM.YONG" userId="S::evelynsm.yong_gmail.com#ext#@risebcg.onmicrosoft.com::67a27a72-2420-4d38-b745-316a53f4b99a" providerId="AD" clId="Web-{563C5F07-89ED-4C5B-9408-64EED2D8E2C5}" dt="2022-01-11T04:00:48.607" v="2"/>
      <pc:docMkLst>
        <pc:docMk/>
      </pc:docMkLst>
      <pc:sldChg chg="addSp delSp">
        <pc:chgData name="EVELYNSM.YONG" userId="S::evelynsm.yong_gmail.com#ext#@risebcg.onmicrosoft.com::67a27a72-2420-4d38-b745-316a53f4b99a" providerId="AD" clId="Web-{563C5F07-89ED-4C5B-9408-64EED2D8E2C5}" dt="2022-01-11T04:00:14.169" v="1"/>
        <pc:sldMkLst>
          <pc:docMk/>
          <pc:sldMk cId="2256265757" sldId="315"/>
        </pc:sldMkLst>
        <pc:graphicFrameChg chg="del">
          <ac:chgData name="EVELYNSM.YONG" userId="S::evelynsm.yong_gmail.com#ext#@risebcg.onmicrosoft.com::67a27a72-2420-4d38-b745-316a53f4b99a" providerId="AD" clId="Web-{563C5F07-89ED-4C5B-9408-64EED2D8E2C5}" dt="2022-01-11T04:00:10.731" v="0"/>
          <ac:graphicFrameMkLst>
            <pc:docMk/>
            <pc:sldMk cId="2256265757" sldId="315"/>
            <ac:graphicFrameMk id="38" creationId="{2DAB4BA8-57FC-486D-A609-66F3FDCD540C}"/>
          </ac:graphicFrameMkLst>
        </pc:graphicFrameChg>
        <pc:graphicFrameChg chg="add">
          <ac:chgData name="EVELYNSM.YONG" userId="S::evelynsm.yong_gmail.com#ext#@risebcg.onmicrosoft.com::67a27a72-2420-4d38-b745-316a53f4b99a" providerId="AD" clId="Web-{563C5F07-89ED-4C5B-9408-64EED2D8E2C5}" dt="2022-01-11T04:00:14.169" v="1"/>
          <ac:graphicFrameMkLst>
            <pc:docMk/>
            <pc:sldMk cId="2256265757" sldId="315"/>
            <ac:graphicFrameMk id="52" creationId="{C255B91C-8C66-41AC-96CF-25F03474A6A9}"/>
          </ac:graphicFrameMkLst>
        </pc:graphicFrameChg>
      </pc:sldChg>
      <pc:sldChg chg="modSp">
        <pc:chgData name="EVELYNSM.YONG" userId="S::evelynsm.yong_gmail.com#ext#@risebcg.onmicrosoft.com::67a27a72-2420-4d38-b745-316a53f4b99a" providerId="AD" clId="Web-{563C5F07-89ED-4C5B-9408-64EED2D8E2C5}" dt="2022-01-11T04:00:48.607" v="2"/>
        <pc:sldMkLst>
          <pc:docMk/>
          <pc:sldMk cId="2761597836" sldId="317"/>
        </pc:sldMkLst>
        <pc:spChg chg="mod">
          <ac:chgData name="EVELYNSM.YONG" userId="S::evelynsm.yong_gmail.com#ext#@risebcg.onmicrosoft.com::67a27a72-2420-4d38-b745-316a53f4b99a" providerId="AD" clId="Web-{563C5F07-89ED-4C5B-9408-64EED2D8E2C5}" dt="2022-01-11T04:00:48.607" v="2"/>
          <ac:spMkLst>
            <pc:docMk/>
            <pc:sldMk cId="2761597836" sldId="317"/>
            <ac:spMk id="3" creationId="{3AAD55FA-63B7-4DBA-8DC0-293DEF7C309C}"/>
          </ac:spMkLst>
        </pc:spChg>
      </pc:sldChg>
    </pc:docChg>
  </pc:docChgLst>
  <pc:docChgLst>
    <pc:chgData name="EVELYNSM.YONG" userId="S::evelynsm.yong_gmail.com#ext#@risebcg.onmicrosoft.com::67a27a72-2420-4d38-b745-316a53f4b99a" providerId="AD" clId="Web-{2C907EE2-BDF6-498F-99BB-8F19B54B58A1}"/>
    <pc:docChg chg="modSld">
      <pc:chgData name="EVELYNSM.YONG" userId="S::evelynsm.yong_gmail.com#ext#@risebcg.onmicrosoft.com::67a27a72-2420-4d38-b745-316a53f4b99a" providerId="AD" clId="Web-{2C907EE2-BDF6-498F-99BB-8F19B54B58A1}" dt="2022-01-13T05:11:00.145" v="255"/>
      <pc:docMkLst>
        <pc:docMk/>
      </pc:docMkLst>
      <pc:sldChg chg="modSp">
        <pc:chgData name="EVELYNSM.YONG" userId="S::evelynsm.yong_gmail.com#ext#@risebcg.onmicrosoft.com::67a27a72-2420-4d38-b745-316a53f4b99a" providerId="AD" clId="Web-{2C907EE2-BDF6-498F-99BB-8F19B54B58A1}" dt="2022-01-13T04:27:40.060" v="1" actId="14100"/>
        <pc:sldMkLst>
          <pc:docMk/>
          <pc:sldMk cId="4084366951" sldId="318"/>
        </pc:sldMkLst>
        <pc:spChg chg="mod">
          <ac:chgData name="EVELYNSM.YONG" userId="S::evelynsm.yong_gmail.com#ext#@risebcg.onmicrosoft.com::67a27a72-2420-4d38-b745-316a53f4b99a" providerId="AD" clId="Web-{2C907EE2-BDF6-498F-99BB-8F19B54B58A1}" dt="2022-01-13T04:27:40.060" v="1" actId="14100"/>
          <ac:spMkLst>
            <pc:docMk/>
            <pc:sldMk cId="4084366951" sldId="318"/>
            <ac:spMk id="32" creationId="{41E099E5-F68B-4939-9F7A-B9CC2E5F333A}"/>
          </ac:spMkLst>
        </pc:spChg>
      </pc:sldChg>
      <pc:sldChg chg="modNotes">
        <pc:chgData name="EVELYNSM.YONG" userId="S::evelynsm.yong_gmail.com#ext#@risebcg.onmicrosoft.com::67a27a72-2420-4d38-b745-316a53f4b99a" providerId="AD" clId="Web-{2C907EE2-BDF6-498F-99BB-8F19B54B58A1}" dt="2022-01-13T05:11:00.145" v="255"/>
        <pc:sldMkLst>
          <pc:docMk/>
          <pc:sldMk cId="3391215681" sldId="339"/>
        </pc:sldMkLst>
      </pc:sldChg>
      <pc:sldChg chg="modNotes">
        <pc:chgData name="EVELYNSM.YONG" userId="S::evelynsm.yong_gmail.com#ext#@risebcg.onmicrosoft.com::67a27a72-2420-4d38-b745-316a53f4b99a" providerId="AD" clId="Web-{2C907EE2-BDF6-498F-99BB-8F19B54B58A1}" dt="2022-01-13T04:59:17.281" v="208"/>
        <pc:sldMkLst>
          <pc:docMk/>
          <pc:sldMk cId="3531645893" sldId="360"/>
        </pc:sldMkLst>
      </pc:sldChg>
    </pc:docChg>
  </pc:docChgLst>
  <pc:docChgLst>
    <pc:chgData name="EVELYNSM.YONG" userId="S::evelynsm.yong_gmail.com#ext#@risebcg.onmicrosoft.com::67a27a72-2420-4d38-b745-316a53f4b99a" providerId="AD" clId="Web-{0DBCE264-42AB-4E4D-92BD-92ADD1AB384F}"/>
    <pc:docChg chg="addSld delSld modSld sldOrd">
      <pc:chgData name="EVELYNSM.YONG" userId="S::evelynsm.yong_gmail.com#ext#@risebcg.onmicrosoft.com::67a27a72-2420-4d38-b745-316a53f4b99a" providerId="AD" clId="Web-{0DBCE264-42AB-4E4D-92BD-92ADD1AB384F}" dt="2022-01-09T08:50:17.590" v="1731"/>
      <pc:docMkLst>
        <pc:docMk/>
      </pc:docMkLst>
      <pc:sldChg chg="add del ord">
        <pc:chgData name="EVELYNSM.YONG" userId="S::evelynsm.yong_gmail.com#ext#@risebcg.onmicrosoft.com::67a27a72-2420-4d38-b745-316a53f4b99a" providerId="AD" clId="Web-{0DBCE264-42AB-4E4D-92BD-92ADD1AB384F}" dt="2022-01-09T08:43:13.598" v="1646"/>
        <pc:sldMkLst>
          <pc:docMk/>
          <pc:sldMk cId="1771006094" sldId="285"/>
        </pc:sldMkLst>
      </pc:sldChg>
      <pc:sldChg chg="modSp">
        <pc:chgData name="EVELYNSM.YONG" userId="S::evelynsm.yong_gmail.com#ext#@risebcg.onmicrosoft.com::67a27a72-2420-4d38-b745-316a53f4b99a" providerId="AD" clId="Web-{0DBCE264-42AB-4E4D-92BD-92ADD1AB384F}" dt="2022-01-09T08:14:05.892" v="891" actId="1076"/>
        <pc:sldMkLst>
          <pc:docMk/>
          <pc:sldMk cId="4084366951" sldId="318"/>
        </pc:sldMkLst>
        <pc:picChg chg="mod">
          <ac:chgData name="EVELYNSM.YONG" userId="S::evelynsm.yong_gmail.com#ext#@risebcg.onmicrosoft.com::67a27a72-2420-4d38-b745-316a53f4b99a" providerId="AD" clId="Web-{0DBCE264-42AB-4E4D-92BD-92ADD1AB384F}" dt="2022-01-09T08:14:05.892" v="891" actId="1076"/>
          <ac:picMkLst>
            <pc:docMk/>
            <pc:sldMk cId="4084366951" sldId="318"/>
            <ac:picMk id="14" creationId="{9E82A69E-4635-4809-8566-FFBDBAB122DE}"/>
          </ac:picMkLst>
        </pc:picChg>
      </pc:sldChg>
      <pc:sldChg chg="ord">
        <pc:chgData name="EVELYNSM.YONG" userId="S::evelynsm.yong_gmail.com#ext#@risebcg.onmicrosoft.com::67a27a72-2420-4d38-b745-316a53f4b99a" providerId="AD" clId="Web-{0DBCE264-42AB-4E4D-92BD-92ADD1AB384F}" dt="2022-01-09T07:48:53.925" v="475"/>
        <pc:sldMkLst>
          <pc:docMk/>
          <pc:sldMk cId="768738816" sldId="330"/>
        </pc:sldMkLst>
      </pc:sldChg>
      <pc:sldChg chg="ord">
        <pc:chgData name="EVELYNSM.YONG" userId="S::evelynsm.yong_gmail.com#ext#@risebcg.onmicrosoft.com::67a27a72-2420-4d38-b745-316a53f4b99a" providerId="AD" clId="Web-{0DBCE264-42AB-4E4D-92BD-92ADD1AB384F}" dt="2022-01-09T07:48:53.925" v="474"/>
        <pc:sldMkLst>
          <pc:docMk/>
          <pc:sldMk cId="4030892583" sldId="332"/>
        </pc:sldMkLst>
      </pc:sldChg>
      <pc:sldChg chg="modSp">
        <pc:chgData name="EVELYNSM.YONG" userId="S::evelynsm.yong_gmail.com#ext#@risebcg.onmicrosoft.com::67a27a72-2420-4d38-b745-316a53f4b99a" providerId="AD" clId="Web-{0DBCE264-42AB-4E4D-92BD-92ADD1AB384F}" dt="2022-01-09T08:44:19.271" v="1654" actId="14100"/>
        <pc:sldMkLst>
          <pc:docMk/>
          <pc:sldMk cId="1249418479" sldId="334"/>
        </pc:sldMkLst>
        <pc:spChg chg="mod">
          <ac:chgData name="EVELYNSM.YONG" userId="S::evelynsm.yong_gmail.com#ext#@risebcg.onmicrosoft.com::67a27a72-2420-4d38-b745-316a53f4b99a" providerId="AD" clId="Web-{0DBCE264-42AB-4E4D-92BD-92ADD1AB384F}" dt="2022-01-09T08:44:19.271" v="1654" actId="14100"/>
          <ac:spMkLst>
            <pc:docMk/>
            <pc:sldMk cId="1249418479" sldId="334"/>
            <ac:spMk id="14" creationId="{DE96116D-A890-4EBF-BAFB-3F4B23F0096C}"/>
          </ac:spMkLst>
        </pc:spChg>
      </pc:sldChg>
      <pc:sldChg chg="delSp modSp ord">
        <pc:chgData name="EVELYNSM.YONG" userId="S::evelynsm.yong_gmail.com#ext#@risebcg.onmicrosoft.com::67a27a72-2420-4d38-b745-316a53f4b99a" providerId="AD" clId="Web-{0DBCE264-42AB-4E4D-92BD-92ADD1AB384F}" dt="2022-01-09T08:48:14.557" v="1704" actId="14100"/>
        <pc:sldMkLst>
          <pc:docMk/>
          <pc:sldMk cId="2652119032" sldId="335"/>
        </pc:sldMkLst>
        <pc:spChg chg="mod">
          <ac:chgData name="EVELYNSM.YONG" userId="S::evelynsm.yong_gmail.com#ext#@risebcg.onmicrosoft.com::67a27a72-2420-4d38-b745-316a53f4b99a" providerId="AD" clId="Web-{0DBCE264-42AB-4E4D-92BD-92ADD1AB384F}" dt="2022-01-09T08:40:03.266" v="1613" actId="20577"/>
          <ac:spMkLst>
            <pc:docMk/>
            <pc:sldMk cId="2652119032" sldId="335"/>
            <ac:spMk id="2" creationId="{7F6D02CC-FD9B-490C-B8FF-AA78D172BCDC}"/>
          </ac:spMkLst>
        </pc:spChg>
        <pc:spChg chg="mod">
          <ac:chgData name="EVELYNSM.YONG" userId="S::evelynsm.yong_gmail.com#ext#@risebcg.onmicrosoft.com::67a27a72-2420-4d38-b745-316a53f4b99a" providerId="AD" clId="Web-{0DBCE264-42AB-4E4D-92BD-92ADD1AB384F}" dt="2022-01-09T08:47:59.463" v="1700" actId="20577"/>
          <ac:spMkLst>
            <pc:docMk/>
            <pc:sldMk cId="2652119032" sldId="335"/>
            <ac:spMk id="4" creationId="{7BCAFA08-4D06-4459-BDE0-CAB790C8CB40}"/>
          </ac:spMkLst>
        </pc:spChg>
        <pc:spChg chg="mod">
          <ac:chgData name="EVELYNSM.YONG" userId="S::evelynsm.yong_gmail.com#ext#@risebcg.onmicrosoft.com::67a27a72-2420-4d38-b745-316a53f4b99a" providerId="AD" clId="Web-{0DBCE264-42AB-4E4D-92BD-92ADD1AB384F}" dt="2022-01-09T08:48:14.557" v="1704" actId="14100"/>
          <ac:spMkLst>
            <pc:docMk/>
            <pc:sldMk cId="2652119032" sldId="335"/>
            <ac:spMk id="10" creationId="{5B136050-0C52-4973-B00A-9438EBC773F2}"/>
          </ac:spMkLst>
        </pc:spChg>
        <pc:grpChg chg="del">
          <ac:chgData name="EVELYNSM.YONG" userId="S::evelynsm.yong_gmail.com#ext#@risebcg.onmicrosoft.com::67a27a72-2420-4d38-b745-316a53f4b99a" providerId="AD" clId="Web-{0DBCE264-42AB-4E4D-92BD-92ADD1AB384F}" dt="2022-01-09T08:05:23.288" v="624"/>
          <ac:grpSpMkLst>
            <pc:docMk/>
            <pc:sldMk cId="2652119032" sldId="335"/>
            <ac:grpSpMk id="8" creationId="{CAEC6CD7-B066-4DF9-94AD-FBA7CF3B0107}"/>
          </ac:grpSpMkLst>
        </pc:grpChg>
      </pc:sldChg>
      <pc:sldChg chg="ord">
        <pc:chgData name="EVELYNSM.YONG" userId="S::evelynsm.yong_gmail.com#ext#@risebcg.onmicrosoft.com::67a27a72-2420-4d38-b745-316a53f4b99a" providerId="AD" clId="Web-{0DBCE264-42AB-4E4D-92BD-92ADD1AB384F}" dt="2022-01-09T07:26:05.837" v="18"/>
        <pc:sldMkLst>
          <pc:docMk/>
          <pc:sldMk cId="2538826858" sldId="336"/>
        </pc:sldMkLst>
      </pc:sldChg>
      <pc:sldChg chg="addSp delSp modSp ord modNotes">
        <pc:chgData name="EVELYNSM.YONG" userId="S::evelynsm.yong_gmail.com#ext#@risebcg.onmicrosoft.com::67a27a72-2420-4d38-b745-316a53f4b99a" providerId="AD" clId="Web-{0DBCE264-42AB-4E4D-92BD-92ADD1AB384F}" dt="2022-01-09T08:39:40.266" v="1606"/>
        <pc:sldMkLst>
          <pc:docMk/>
          <pc:sldMk cId="3391215681" sldId="339"/>
        </pc:sldMkLst>
        <pc:spChg chg="mod">
          <ac:chgData name="EVELYNSM.YONG" userId="S::evelynsm.yong_gmail.com#ext#@risebcg.onmicrosoft.com::67a27a72-2420-4d38-b745-316a53f4b99a" providerId="AD" clId="Web-{0DBCE264-42AB-4E4D-92BD-92ADD1AB384F}" dt="2022-01-09T08:20:56.259" v="1144"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0DBCE264-42AB-4E4D-92BD-92ADD1AB384F}" dt="2022-01-09T08:03:00.020" v="600" actId="14100"/>
          <ac:spMkLst>
            <pc:docMk/>
            <pc:sldMk cId="3391215681" sldId="339"/>
            <ac:spMk id="49" creationId="{1A40ECD8-EC71-4C0D-A629-C5042C9FBE1B}"/>
          </ac:spMkLst>
        </pc:spChg>
        <pc:spChg chg="mod">
          <ac:chgData name="EVELYNSM.YONG" userId="S::evelynsm.yong_gmail.com#ext#@risebcg.onmicrosoft.com::67a27a72-2420-4d38-b745-316a53f4b99a" providerId="AD" clId="Web-{0DBCE264-42AB-4E4D-92BD-92ADD1AB384F}" dt="2022-01-09T07:46:39.142" v="448" actId="20577"/>
          <ac:spMkLst>
            <pc:docMk/>
            <pc:sldMk cId="3391215681" sldId="339"/>
            <ac:spMk id="124" creationId="{C91A31F3-23FB-421F-8BC0-FD3F5F868D91}"/>
          </ac:spMkLst>
        </pc:spChg>
        <pc:spChg chg="add mod">
          <ac:chgData name="EVELYNSM.YONG" userId="S::evelynsm.yong_gmail.com#ext#@risebcg.onmicrosoft.com::67a27a72-2420-4d38-b745-316a53f4b99a" providerId="AD" clId="Web-{0DBCE264-42AB-4E4D-92BD-92ADD1AB384F}" dt="2022-01-09T08:38:49.249" v="1593" actId="1076"/>
          <ac:spMkLst>
            <pc:docMk/>
            <pc:sldMk cId="3391215681" sldId="339"/>
            <ac:spMk id="160" creationId="{129EBF9C-3DCE-40EC-8CFB-1CB201B252BE}"/>
          </ac:spMkLst>
        </pc:spChg>
        <pc:spChg chg="add mod">
          <ac:chgData name="EVELYNSM.YONG" userId="S::evelynsm.yong_gmail.com#ext#@risebcg.onmicrosoft.com::67a27a72-2420-4d38-b745-316a53f4b99a" providerId="AD" clId="Web-{0DBCE264-42AB-4E4D-92BD-92ADD1AB384F}" dt="2022-01-09T08:38:18.326" v="1581" actId="1076"/>
          <ac:spMkLst>
            <pc:docMk/>
            <pc:sldMk cId="3391215681" sldId="339"/>
            <ac:spMk id="211" creationId="{BE8EF75F-4A8F-4CC0-B3A0-4689491D690B}"/>
          </ac:spMkLst>
        </pc:spChg>
        <pc:spChg chg="add mod">
          <ac:chgData name="EVELYNSM.YONG" userId="S::evelynsm.yong_gmail.com#ext#@risebcg.onmicrosoft.com::67a27a72-2420-4d38-b745-316a53f4b99a" providerId="AD" clId="Web-{0DBCE264-42AB-4E4D-92BD-92ADD1AB384F}" dt="2022-01-09T08:38:57.890" v="1596" actId="1076"/>
          <ac:spMkLst>
            <pc:docMk/>
            <pc:sldMk cId="3391215681" sldId="339"/>
            <ac:spMk id="218" creationId="{3F919807-BA2C-40C1-9C13-9C7C88B0617F}"/>
          </ac:spMkLst>
        </pc:spChg>
        <pc:spChg chg="add mod">
          <ac:chgData name="EVELYNSM.YONG" userId="S::evelynsm.yong_gmail.com#ext#@risebcg.onmicrosoft.com::67a27a72-2420-4d38-b745-316a53f4b99a" providerId="AD" clId="Web-{0DBCE264-42AB-4E4D-92BD-92ADD1AB384F}" dt="2022-01-09T08:39:21.609" v="1601" actId="20577"/>
          <ac:spMkLst>
            <pc:docMk/>
            <pc:sldMk cId="3391215681" sldId="339"/>
            <ac:spMk id="229" creationId="{8CB63044-5013-4EFC-B813-E8D7A72DE7FF}"/>
          </ac:spMkLst>
        </pc:spChg>
        <pc:spChg chg="add del">
          <ac:chgData name="EVELYNSM.YONG" userId="S::evelynsm.yong_gmail.com#ext#@risebcg.onmicrosoft.com::67a27a72-2420-4d38-b745-316a53f4b99a" providerId="AD" clId="Web-{0DBCE264-42AB-4E4D-92BD-92ADD1AB384F}" dt="2022-01-09T07:34:18.237" v="143"/>
          <ac:spMkLst>
            <pc:docMk/>
            <pc:sldMk cId="3391215681" sldId="339"/>
            <ac:spMk id="230" creationId="{C927EFC1-94E4-4CF7-8300-A652081469BE}"/>
          </ac:spMkLst>
        </pc:spChg>
        <pc:spChg chg="add del mod">
          <ac:chgData name="EVELYNSM.YONG" userId="S::evelynsm.yong_gmail.com#ext#@risebcg.onmicrosoft.com::67a27a72-2420-4d38-b745-316a53f4b99a" providerId="AD" clId="Web-{0DBCE264-42AB-4E4D-92BD-92ADD1AB384F}" dt="2022-01-09T07:33:23.158" v="120"/>
          <ac:spMkLst>
            <pc:docMk/>
            <pc:sldMk cId="3391215681" sldId="339"/>
            <ac:spMk id="231" creationId="{80909143-A291-4302-956D-AB0C4506830B}"/>
          </ac:spMkLst>
        </pc:spChg>
        <pc:spChg chg="add mod">
          <ac:chgData name="EVELYNSM.YONG" userId="S::evelynsm.yong_gmail.com#ext#@risebcg.onmicrosoft.com::67a27a72-2420-4d38-b745-316a53f4b99a" providerId="AD" clId="Web-{0DBCE264-42AB-4E4D-92BD-92ADD1AB384F}" dt="2022-01-09T08:38:36.264" v="1586" actId="1076"/>
          <ac:spMkLst>
            <pc:docMk/>
            <pc:sldMk cId="3391215681" sldId="339"/>
            <ac:spMk id="3097" creationId="{B43BCD4D-C119-4545-A18A-03EFECDDCAC1}"/>
          </ac:spMkLst>
        </pc:spChg>
        <pc:grpChg chg="add mod">
          <ac:chgData name="EVELYNSM.YONG" userId="S::evelynsm.yong_gmail.com#ext#@risebcg.onmicrosoft.com::67a27a72-2420-4d38-b745-316a53f4b99a" providerId="AD" clId="Web-{0DBCE264-42AB-4E4D-92BD-92ADD1AB384F}" dt="2022-01-09T08:21:02.197" v="1145" actId="14100"/>
          <ac:grpSpMkLst>
            <pc:docMk/>
            <pc:sldMk cId="3391215681" sldId="339"/>
            <ac:grpSpMk id="417" creationId="{3422634B-E74A-464E-8891-948490F63923}"/>
          </ac:grpSpMkLst>
        </pc:grpChg>
        <pc:graphicFrameChg chg="mod modGraphic">
          <ac:chgData name="EVELYNSM.YONG" userId="S::evelynsm.yong_gmail.com#ext#@risebcg.onmicrosoft.com::67a27a72-2420-4d38-b745-316a53f4b99a" providerId="AD" clId="Web-{0DBCE264-42AB-4E4D-92BD-92ADD1AB384F}" dt="2022-01-09T08:34:22.713" v="1438" actId="20577"/>
          <ac:graphicFrameMkLst>
            <pc:docMk/>
            <pc:sldMk cId="3391215681" sldId="339"/>
            <ac:graphicFrameMk id="28" creationId="{9D58B7B4-DE29-4DDF-BB8A-729D2B705659}"/>
          </ac:graphicFrameMkLst>
        </pc:graphicFrameChg>
        <pc:picChg chg="add mod">
          <ac:chgData name="EVELYNSM.YONG" userId="S::evelynsm.yong_gmail.com#ext#@risebcg.onmicrosoft.com::67a27a72-2420-4d38-b745-316a53f4b99a" providerId="AD" clId="Web-{0DBCE264-42AB-4E4D-92BD-92ADD1AB384F}" dt="2022-01-09T08:39:00.765" v="1597" actId="1076"/>
          <ac:picMkLst>
            <pc:docMk/>
            <pc:sldMk cId="3391215681" sldId="339"/>
            <ac:picMk id="248" creationId="{135B6FD8-8BD5-4DF6-A276-BDEEDFD924A2}"/>
          </ac:picMkLst>
        </pc:picChg>
        <pc:picChg chg="add mod">
          <ac:chgData name="EVELYNSM.YONG" userId="S::evelynsm.yong_gmail.com#ext#@risebcg.onmicrosoft.com::67a27a72-2420-4d38-b745-316a53f4b99a" providerId="AD" clId="Web-{0DBCE264-42AB-4E4D-92BD-92ADD1AB384F}" dt="2022-01-09T08:13:30.141" v="890" actId="1076"/>
          <ac:picMkLst>
            <pc:docMk/>
            <pc:sldMk cId="3391215681" sldId="339"/>
            <ac:picMk id="1727" creationId="{4F4925B4-226E-4CE5-9A48-DF473BE5B5F7}"/>
          </ac:picMkLst>
        </pc:picChg>
        <pc:picChg chg="add mod">
          <ac:chgData name="EVELYNSM.YONG" userId="S::evelynsm.yong_gmail.com#ext#@risebcg.onmicrosoft.com::67a27a72-2420-4d38-b745-316a53f4b99a" providerId="AD" clId="Web-{0DBCE264-42AB-4E4D-92BD-92ADD1AB384F}" dt="2022-01-09T08:14:50.674" v="904"/>
          <ac:picMkLst>
            <pc:docMk/>
            <pc:sldMk cId="3391215681" sldId="339"/>
            <ac:picMk id="3132" creationId="{BA0FB811-9988-4232-A46F-6EF4FC07AD2C}"/>
          </ac:picMkLst>
        </pc:picChg>
        <pc:picChg chg="add mod">
          <ac:chgData name="EVELYNSM.YONG" userId="S::evelynsm.yong_gmail.com#ext#@risebcg.onmicrosoft.com::67a27a72-2420-4d38-b745-316a53f4b99a" providerId="AD" clId="Web-{0DBCE264-42AB-4E4D-92BD-92ADD1AB384F}" dt="2022-01-09T08:27:29.298" v="1371" actId="1076"/>
          <ac:picMkLst>
            <pc:docMk/>
            <pc:sldMk cId="3391215681" sldId="339"/>
            <ac:picMk id="3133" creationId="{01E138E9-826C-4F51-97A8-242CE7FFD6DC}"/>
          </ac:picMkLst>
        </pc:picChg>
      </pc:sldChg>
      <pc:sldChg chg="addSp delSp modSp modNotes">
        <pc:chgData name="EVELYNSM.YONG" userId="S::evelynsm.yong_gmail.com#ext#@risebcg.onmicrosoft.com::67a27a72-2420-4d38-b745-316a53f4b99a" providerId="AD" clId="Web-{0DBCE264-42AB-4E4D-92BD-92ADD1AB384F}" dt="2022-01-09T08:43:52.020" v="1652"/>
        <pc:sldMkLst>
          <pc:docMk/>
          <pc:sldMk cId="4159389698" sldId="342"/>
        </pc:sldMkLst>
        <pc:spChg chg="mod">
          <ac:chgData name="EVELYNSM.YONG" userId="S::evelynsm.yong_gmail.com#ext#@risebcg.onmicrosoft.com::67a27a72-2420-4d38-b745-316a53f4b99a" providerId="AD" clId="Web-{0DBCE264-42AB-4E4D-92BD-92ADD1AB384F}" dt="2022-01-09T08:02:19.316" v="593" actId="20577"/>
          <ac:spMkLst>
            <pc:docMk/>
            <pc:sldMk cId="4159389698" sldId="342"/>
            <ac:spMk id="2" creationId="{080435EA-AD4F-4934-83BC-D5D53AFD93E9}"/>
          </ac:spMkLst>
        </pc:spChg>
        <pc:spChg chg="del mod">
          <ac:chgData name="EVELYNSM.YONG" userId="S::evelynsm.yong_gmail.com#ext#@risebcg.onmicrosoft.com::67a27a72-2420-4d38-b745-316a53f4b99a" providerId="AD" clId="Web-{0DBCE264-42AB-4E4D-92BD-92ADD1AB384F}" dt="2022-01-09T08:42:54.941" v="1642"/>
          <ac:spMkLst>
            <pc:docMk/>
            <pc:sldMk cId="4159389698" sldId="342"/>
            <ac:spMk id="3" creationId="{B28C9884-8065-4F65-A34B-525EA6731753}"/>
          </ac:spMkLst>
        </pc:spChg>
        <pc:spChg chg="mod">
          <ac:chgData name="EVELYNSM.YONG" userId="S::evelynsm.yong_gmail.com#ext#@risebcg.onmicrosoft.com::67a27a72-2420-4d38-b745-316a53f4b99a" providerId="AD" clId="Web-{0DBCE264-42AB-4E4D-92BD-92ADD1AB384F}" dt="2022-01-09T08:02:31.519" v="596" actId="1076"/>
          <ac:spMkLst>
            <pc:docMk/>
            <pc:sldMk cId="4159389698" sldId="342"/>
            <ac:spMk id="9" creationId="{E953D56B-E197-4EF3-86AC-EB83FF562830}"/>
          </ac:spMkLst>
        </pc:spChg>
        <pc:spChg chg="mod">
          <ac:chgData name="EVELYNSM.YONG" userId="S::evelynsm.yong_gmail.com#ext#@risebcg.onmicrosoft.com::67a27a72-2420-4d38-b745-316a53f4b99a" providerId="AD" clId="Web-{0DBCE264-42AB-4E4D-92BD-92ADD1AB384F}" dt="2022-01-09T08:02:31.535" v="597" actId="1076"/>
          <ac:spMkLst>
            <pc:docMk/>
            <pc:sldMk cId="4159389698" sldId="342"/>
            <ac:spMk id="10" creationId="{A949E116-7148-4CA9-A41F-83DB47255D80}"/>
          </ac:spMkLst>
        </pc:spChg>
        <pc:spChg chg="mod">
          <ac:chgData name="EVELYNSM.YONG" userId="S::evelynsm.yong_gmail.com#ext#@risebcg.onmicrosoft.com::67a27a72-2420-4d38-b745-316a53f4b99a" providerId="AD" clId="Web-{0DBCE264-42AB-4E4D-92BD-92ADD1AB384F}" dt="2022-01-09T08:02:31.535" v="598" actId="1076"/>
          <ac:spMkLst>
            <pc:docMk/>
            <pc:sldMk cId="4159389698" sldId="342"/>
            <ac:spMk id="12" creationId="{AAEC2426-37C0-4083-9090-89DDF94F295F}"/>
          </ac:spMkLst>
        </pc:spChg>
        <pc:picChg chg="add mod">
          <ac:chgData name="EVELYNSM.YONG" userId="S::evelynsm.yong_gmail.com#ext#@risebcg.onmicrosoft.com::67a27a72-2420-4d38-b745-316a53f4b99a" providerId="AD" clId="Web-{0DBCE264-42AB-4E4D-92BD-92ADD1AB384F}" dt="2022-01-09T08:07:59.573" v="662" actId="1076"/>
          <ac:picMkLst>
            <pc:docMk/>
            <pc:sldMk cId="4159389698" sldId="342"/>
            <ac:picMk id="4" creationId="{A250FD57-6309-4718-A617-85A0EA99B27E}"/>
          </ac:picMkLst>
        </pc:picChg>
        <pc:picChg chg="del">
          <ac:chgData name="EVELYNSM.YONG" userId="S::evelynsm.yong_gmail.com#ext#@risebcg.onmicrosoft.com::67a27a72-2420-4d38-b745-316a53f4b99a" providerId="AD" clId="Web-{0DBCE264-42AB-4E4D-92BD-92ADD1AB384F}" dt="2022-01-09T08:01:51.128" v="584"/>
          <ac:picMkLst>
            <pc:docMk/>
            <pc:sldMk cId="4159389698" sldId="342"/>
            <ac:picMk id="8" creationId="{6B01C6A5-3C80-4889-B1DA-40342676F95C}"/>
          </ac:picMkLst>
        </pc:picChg>
      </pc:sldChg>
      <pc:sldChg chg="addSp delSp modSp add ord replId modNotes">
        <pc:chgData name="EVELYNSM.YONG" userId="S::evelynsm.yong_gmail.com#ext#@risebcg.onmicrosoft.com::67a27a72-2420-4d38-b745-316a53f4b99a" providerId="AD" clId="Web-{0DBCE264-42AB-4E4D-92BD-92ADD1AB384F}" dt="2022-01-09T08:50:17.590" v="1731"/>
        <pc:sldMkLst>
          <pc:docMk/>
          <pc:sldMk cId="3531645893" sldId="360"/>
        </pc:sldMkLst>
        <pc:spChg chg="del mod">
          <ac:chgData name="EVELYNSM.YONG" userId="S::evelynsm.yong_gmail.com#ext#@risebcg.onmicrosoft.com::67a27a72-2420-4d38-b745-316a53f4b99a" providerId="AD" clId="Web-{0DBCE264-42AB-4E4D-92BD-92ADD1AB384F}" dt="2022-01-09T07:25:21.398" v="15"/>
          <ac:spMkLst>
            <pc:docMk/>
            <pc:sldMk cId="3531645893" sldId="360"/>
            <ac:spMk id="3" creationId="{23B5890E-3952-4DA3-84DC-3B5A3B209183}"/>
          </ac:spMkLst>
        </pc:spChg>
        <pc:spChg chg="del mod">
          <ac:chgData name="EVELYNSM.YONG" userId="S::evelynsm.yong_gmail.com#ext#@risebcg.onmicrosoft.com::67a27a72-2420-4d38-b745-316a53f4b99a" providerId="AD" clId="Web-{0DBCE264-42AB-4E4D-92BD-92ADD1AB384F}" dt="2022-01-09T07:31:55.390" v="104"/>
          <ac:spMkLst>
            <pc:docMk/>
            <pc:sldMk cId="3531645893" sldId="360"/>
            <ac:spMk id="5" creationId="{08DC735E-1A7F-457B-A1FA-9F4F07DCE495}"/>
          </ac:spMkLst>
        </pc:spChg>
        <pc:spChg chg="add del mod">
          <ac:chgData name="EVELYNSM.YONG" userId="S::evelynsm.yong_gmail.com#ext#@risebcg.onmicrosoft.com::67a27a72-2420-4d38-b745-316a53f4b99a" providerId="AD" clId="Web-{0DBCE264-42AB-4E4D-92BD-92ADD1AB384F}" dt="2022-01-09T07:28:44.762" v="33"/>
          <ac:spMkLst>
            <pc:docMk/>
            <pc:sldMk cId="3531645893" sldId="360"/>
            <ac:spMk id="7" creationId="{2815EE3A-DE5B-4853-A5A3-44EA9CB7FB72}"/>
          </ac:spMkLst>
        </pc:spChg>
        <pc:spChg chg="del">
          <ac:chgData name="EVELYNSM.YONG" userId="S::evelynsm.yong_gmail.com#ext#@risebcg.onmicrosoft.com::67a27a72-2420-4d38-b745-316a53f4b99a" providerId="AD" clId="Web-{0DBCE264-42AB-4E4D-92BD-92ADD1AB384F}" dt="2022-01-09T07:27:55.526" v="25"/>
          <ac:spMkLst>
            <pc:docMk/>
            <pc:sldMk cId="3531645893" sldId="360"/>
            <ac:spMk id="8" creationId="{E6878894-26B8-4852-BD38-B27ACA222FCF}"/>
          </ac:spMkLst>
        </pc:spChg>
        <pc:spChg chg="mod">
          <ac:chgData name="EVELYNSM.YONG" userId="S::evelynsm.yong_gmail.com#ext#@risebcg.onmicrosoft.com::67a27a72-2420-4d38-b745-316a53f4b99a" providerId="AD" clId="Web-{0DBCE264-42AB-4E4D-92BD-92ADD1AB384F}" dt="2022-01-09T08:42:10.222" v="1638" actId="1076"/>
          <ac:spMkLst>
            <pc:docMk/>
            <pc:sldMk cId="3531645893" sldId="360"/>
            <ac:spMk id="9" creationId="{E3C0B427-9E9D-47EC-AFD8-3D8F22D59FE9}"/>
          </ac:spMkLst>
        </pc:spChg>
        <pc:spChg chg="add del mod">
          <ac:chgData name="EVELYNSM.YONG" userId="S::evelynsm.yong_gmail.com#ext#@risebcg.onmicrosoft.com::67a27a72-2420-4d38-b745-316a53f4b99a" providerId="AD" clId="Web-{0DBCE264-42AB-4E4D-92BD-92ADD1AB384F}" dt="2022-01-09T07:28:06.776" v="28"/>
          <ac:spMkLst>
            <pc:docMk/>
            <pc:sldMk cId="3531645893" sldId="360"/>
            <ac:spMk id="11" creationId="{30E1C671-2DF3-4840-82BF-F7F319B54D12}"/>
          </ac:spMkLst>
        </pc:spChg>
        <pc:spChg chg="add del">
          <ac:chgData name="EVELYNSM.YONG" userId="S::evelynsm.yong_gmail.com#ext#@risebcg.onmicrosoft.com::67a27a72-2420-4d38-b745-316a53f4b99a" providerId="AD" clId="Web-{0DBCE264-42AB-4E4D-92BD-92ADD1AB384F}" dt="2022-01-09T07:28:03.370" v="27"/>
          <ac:spMkLst>
            <pc:docMk/>
            <pc:sldMk cId="3531645893" sldId="360"/>
            <ac:spMk id="13" creationId="{B4D29716-D0D1-43FE-97B8-BF09BAA4C286}"/>
          </ac:spMkLst>
        </pc:spChg>
        <pc:spChg chg="add mod">
          <ac:chgData name="EVELYNSM.YONG" userId="S::evelynsm.yong_gmail.com#ext#@risebcg.onmicrosoft.com::67a27a72-2420-4d38-b745-316a53f4b99a" providerId="AD" clId="Web-{0DBCE264-42AB-4E4D-92BD-92ADD1AB384F}" dt="2022-01-09T08:42:27.222" v="1640" actId="20577"/>
          <ac:spMkLst>
            <pc:docMk/>
            <pc:sldMk cId="3531645893" sldId="360"/>
            <ac:spMk id="15" creationId="{EA512C5C-B61E-4EDE-A2CD-308BFA2920DA}"/>
          </ac:spMkLst>
        </pc:spChg>
        <pc:spChg chg="add del">
          <ac:chgData name="EVELYNSM.YONG" userId="S::evelynsm.yong_gmail.com#ext#@risebcg.onmicrosoft.com::67a27a72-2420-4d38-b745-316a53f4b99a" providerId="AD" clId="Web-{0DBCE264-42AB-4E4D-92BD-92ADD1AB384F}" dt="2022-01-09T07:31:44.265" v="98"/>
          <ac:spMkLst>
            <pc:docMk/>
            <pc:sldMk cId="3531645893" sldId="360"/>
            <ac:spMk id="18" creationId="{302AC003-856C-43F3-817C-F3ADBC19B3F9}"/>
          </ac:spMkLst>
        </pc:spChg>
        <pc:spChg chg="add mod">
          <ac:chgData name="EVELYNSM.YONG" userId="S::evelynsm.yong_gmail.com#ext#@risebcg.onmicrosoft.com::67a27a72-2420-4d38-b745-316a53f4b99a" providerId="AD" clId="Web-{0DBCE264-42AB-4E4D-92BD-92ADD1AB384F}" dt="2022-01-09T08:44:39.881" v="1658" actId="20577"/>
          <ac:spMkLst>
            <pc:docMk/>
            <pc:sldMk cId="3531645893" sldId="360"/>
            <ac:spMk id="19" creationId="{950C64E7-6661-4AEA-8068-716AD3707128}"/>
          </ac:spMkLst>
        </pc:spChg>
        <pc:spChg chg="add mod">
          <ac:chgData name="EVELYNSM.YONG" userId="S::evelynsm.yong_gmail.com#ext#@risebcg.onmicrosoft.com::67a27a72-2420-4d38-b745-316a53f4b99a" providerId="AD" clId="Web-{0DBCE264-42AB-4E4D-92BD-92ADD1AB384F}" dt="2022-01-09T08:42:06.925" v="1637" actId="1076"/>
          <ac:spMkLst>
            <pc:docMk/>
            <pc:sldMk cId="3531645893" sldId="360"/>
            <ac:spMk id="20" creationId="{64A6A166-6CE6-41F0-99B2-FC47AF50CD6C}"/>
          </ac:spMkLst>
        </pc:spChg>
        <pc:spChg chg="add del">
          <ac:chgData name="EVELYNSM.YONG" userId="S::evelynsm.yong_gmail.com#ext#@risebcg.onmicrosoft.com::67a27a72-2420-4d38-b745-316a53f4b99a" providerId="AD" clId="Web-{0DBCE264-42AB-4E4D-92BD-92ADD1AB384F}" dt="2022-01-09T08:23:28.309" v="1180"/>
          <ac:spMkLst>
            <pc:docMk/>
            <pc:sldMk cId="3531645893" sldId="360"/>
            <ac:spMk id="21" creationId="{DDCF0E25-C841-4BB4-8301-97D3E7A8A3C6}"/>
          </ac:spMkLst>
        </pc:spChg>
        <pc:spChg chg="add mod">
          <ac:chgData name="EVELYNSM.YONG" userId="S::evelynsm.yong_gmail.com#ext#@risebcg.onmicrosoft.com::67a27a72-2420-4d38-b745-316a53f4b99a" providerId="AD" clId="Web-{0DBCE264-42AB-4E4D-92BD-92ADD1AB384F}" dt="2022-01-09T08:41:29.768" v="1629" actId="1076"/>
          <ac:spMkLst>
            <pc:docMk/>
            <pc:sldMk cId="3531645893" sldId="360"/>
            <ac:spMk id="22" creationId="{31E2D2F4-E28C-4B52-9C47-E50AD68240D1}"/>
          </ac:spMkLst>
        </pc:spChg>
        <pc:spChg chg="add mod">
          <ac:chgData name="EVELYNSM.YONG" userId="S::evelynsm.yong_gmail.com#ext#@risebcg.onmicrosoft.com::67a27a72-2420-4d38-b745-316a53f4b99a" providerId="AD" clId="Web-{0DBCE264-42AB-4E4D-92BD-92ADD1AB384F}" dt="2022-01-09T08:41:31.408" v="1630" actId="1076"/>
          <ac:spMkLst>
            <pc:docMk/>
            <pc:sldMk cId="3531645893" sldId="360"/>
            <ac:spMk id="23" creationId="{2E06316D-D669-4187-8235-1A4EE0D9868B}"/>
          </ac:spMkLst>
        </pc:spChg>
        <pc:spChg chg="add mod">
          <ac:chgData name="EVELYNSM.YONG" userId="S::evelynsm.yong_gmail.com#ext#@risebcg.onmicrosoft.com::67a27a72-2420-4d38-b745-316a53f4b99a" providerId="AD" clId="Web-{0DBCE264-42AB-4E4D-92BD-92ADD1AB384F}" dt="2022-01-09T08:42:00.924" v="1636" actId="1076"/>
          <ac:spMkLst>
            <pc:docMk/>
            <pc:sldMk cId="3531645893" sldId="360"/>
            <ac:spMk id="24" creationId="{CEFC4E90-FB9D-4E3E-86B1-5712D705BC99}"/>
          </ac:spMkLst>
        </pc:spChg>
        <pc:spChg chg="add del mod">
          <ac:chgData name="EVELYNSM.YONG" userId="S::evelynsm.yong_gmail.com#ext#@risebcg.onmicrosoft.com::67a27a72-2420-4d38-b745-316a53f4b99a" providerId="AD" clId="Web-{0DBCE264-42AB-4E4D-92BD-92ADD1AB384F}" dt="2022-01-09T08:46:17.320" v="1684"/>
          <ac:spMkLst>
            <pc:docMk/>
            <pc:sldMk cId="3531645893" sldId="360"/>
            <ac:spMk id="26" creationId="{01851DD6-8A06-4787-8FE0-84ADE7A5FCC8}"/>
          </ac:spMkLst>
        </pc:spChg>
        <pc:spChg chg="add del mod">
          <ac:chgData name="EVELYNSM.YONG" userId="S::evelynsm.yong_gmail.com#ext#@risebcg.onmicrosoft.com::67a27a72-2420-4d38-b745-316a53f4b99a" providerId="AD" clId="Web-{0DBCE264-42AB-4E4D-92BD-92ADD1AB384F}" dt="2022-01-09T08:48:42.809" v="1709"/>
          <ac:spMkLst>
            <pc:docMk/>
            <pc:sldMk cId="3531645893" sldId="360"/>
            <ac:spMk id="28" creationId="{1BAEA2D4-E3FF-40E8-B397-7058B14A45EA}"/>
          </ac:spMkLst>
        </pc:spChg>
        <pc:spChg chg="add mod">
          <ac:chgData name="EVELYNSM.YONG" userId="S::evelynsm.yong_gmail.com#ext#@risebcg.onmicrosoft.com::67a27a72-2420-4d38-b745-316a53f4b99a" providerId="AD" clId="Web-{0DBCE264-42AB-4E4D-92BD-92ADD1AB384F}" dt="2022-01-09T08:49:59.684" v="1730" actId="1076"/>
          <ac:spMkLst>
            <pc:docMk/>
            <pc:sldMk cId="3531645893" sldId="360"/>
            <ac:spMk id="38" creationId="{FEF91957-B410-48E7-A904-8D71259BC55D}"/>
          </ac:spMkLst>
        </pc:spChg>
        <pc:spChg chg="add">
          <ac:chgData name="EVELYNSM.YONG" userId="S::evelynsm.yong_gmail.com#ext#@risebcg.onmicrosoft.com::67a27a72-2420-4d38-b745-316a53f4b99a" providerId="AD" clId="Web-{0DBCE264-42AB-4E4D-92BD-92ADD1AB384F}" dt="2022-01-09T08:50:17.590" v="1731"/>
          <ac:spMkLst>
            <pc:docMk/>
            <pc:sldMk cId="3531645893" sldId="360"/>
            <ac:spMk id="39" creationId="{42DA18B2-FE72-46C2-A8F6-3AEF6644F2B4}"/>
          </ac:spMkLst>
        </pc:spChg>
        <pc:picChg chg="add mod">
          <ac:chgData name="EVELYNSM.YONG" userId="S::evelynsm.yong_gmail.com#ext#@risebcg.onmicrosoft.com::67a27a72-2420-4d38-b745-316a53f4b99a" providerId="AD" clId="Web-{0DBCE264-42AB-4E4D-92BD-92ADD1AB384F}" dt="2022-01-09T08:46:09.070" v="1682" actId="1076"/>
          <ac:picMkLst>
            <pc:docMk/>
            <pc:sldMk cId="3531645893" sldId="360"/>
            <ac:picMk id="2" creationId="{AEC58EF5-F1D5-4E20-B8B5-7FD65E79DF0C}"/>
          </ac:picMkLst>
        </pc:picChg>
        <pc:picChg chg="del">
          <ac:chgData name="EVELYNSM.YONG" userId="S::evelynsm.yong_gmail.com#ext#@risebcg.onmicrosoft.com::67a27a72-2420-4d38-b745-316a53f4b99a" providerId="AD" clId="Web-{0DBCE264-42AB-4E4D-92BD-92ADD1AB384F}" dt="2022-01-09T07:24:29.694" v="1"/>
          <ac:picMkLst>
            <pc:docMk/>
            <pc:sldMk cId="3531645893" sldId="360"/>
            <ac:picMk id="6" creationId="{AD827BB6-5A24-46DC-8558-895FE49292CC}"/>
          </ac:picMkLst>
        </pc:picChg>
        <pc:picChg chg="add mod">
          <ac:chgData name="EVELYNSM.YONG" userId="S::evelynsm.yong_gmail.com#ext#@risebcg.onmicrosoft.com::67a27a72-2420-4d38-b745-316a53f4b99a" providerId="AD" clId="Web-{0DBCE264-42AB-4E4D-92BD-92ADD1AB384F}" dt="2022-01-09T08:22:35.136" v="1157" actId="1076"/>
          <ac:picMkLst>
            <pc:docMk/>
            <pc:sldMk cId="3531645893" sldId="360"/>
            <ac:picMk id="17" creationId="{B8401525-B70B-4EFA-8C14-01EE9116C492}"/>
          </ac:picMkLst>
        </pc:picChg>
        <pc:inkChg chg="add del">
          <ac:chgData name="EVELYNSM.YONG" userId="S::evelynsm.yong_gmail.com#ext#@risebcg.onmicrosoft.com::67a27a72-2420-4d38-b745-316a53f4b99a" providerId="AD" clId="Web-{0DBCE264-42AB-4E4D-92BD-92ADD1AB384F}" dt="2022-01-09T08:49:02.104" v="1713"/>
          <ac:inkMkLst>
            <pc:docMk/>
            <pc:sldMk cId="3531645893" sldId="360"/>
            <ac:inkMk id="29" creationId="{19043256-5BCD-44DD-A697-D8C9D493A038}"/>
          </ac:inkMkLst>
        </pc:inkChg>
        <pc:inkChg chg="add del">
          <ac:chgData name="EVELYNSM.YONG" userId="S::evelynsm.yong_gmail.com#ext#@risebcg.onmicrosoft.com::67a27a72-2420-4d38-b745-316a53f4b99a" providerId="AD" clId="Web-{0DBCE264-42AB-4E4D-92BD-92ADD1AB384F}" dt="2022-01-09T08:49:00.979" v="1712"/>
          <ac:inkMkLst>
            <pc:docMk/>
            <pc:sldMk cId="3531645893" sldId="360"/>
            <ac:inkMk id="30" creationId="{C091B004-3345-4AF6-8D93-61FF806B0682}"/>
          </ac:inkMkLst>
        </pc:inkChg>
        <pc:inkChg chg="add del">
          <ac:chgData name="EVELYNSM.YONG" userId="S::evelynsm.yong_gmail.com#ext#@risebcg.onmicrosoft.com::67a27a72-2420-4d38-b745-316a53f4b99a" providerId="AD" clId="Web-{0DBCE264-42AB-4E4D-92BD-92ADD1AB384F}" dt="2022-01-09T08:49:05.370" v="1715"/>
          <ac:inkMkLst>
            <pc:docMk/>
            <pc:sldMk cId="3531645893" sldId="360"/>
            <ac:inkMk id="31" creationId="{52EDD93F-7077-42D7-B6B9-80C751559599}"/>
          </ac:inkMkLst>
        </pc:inkChg>
        <pc:inkChg chg="add del">
          <ac:chgData name="EVELYNSM.YONG" userId="S::evelynsm.yong_gmail.com#ext#@risebcg.onmicrosoft.com::67a27a72-2420-4d38-b745-316a53f4b99a" providerId="AD" clId="Web-{0DBCE264-42AB-4E4D-92BD-92ADD1AB384F}" dt="2022-01-09T08:49:15.136" v="1719"/>
          <ac:inkMkLst>
            <pc:docMk/>
            <pc:sldMk cId="3531645893" sldId="360"/>
            <ac:inkMk id="32" creationId="{5557D70F-50A9-4458-BBF7-3FC42F08D80C}"/>
          </ac:inkMkLst>
        </pc:inkChg>
        <pc:inkChg chg="add del">
          <ac:chgData name="EVELYNSM.YONG" userId="S::evelynsm.yong_gmail.com#ext#@risebcg.onmicrosoft.com::67a27a72-2420-4d38-b745-316a53f4b99a" providerId="AD" clId="Web-{0DBCE264-42AB-4E4D-92BD-92ADD1AB384F}" dt="2022-01-09T08:49:13.964" v="1718"/>
          <ac:inkMkLst>
            <pc:docMk/>
            <pc:sldMk cId="3531645893" sldId="360"/>
            <ac:inkMk id="33" creationId="{26B3D837-805E-4AE3-BBC9-B78C9AFD96EF}"/>
          </ac:inkMkLst>
        </pc:inkChg>
        <pc:inkChg chg="add del">
          <ac:chgData name="EVELYNSM.YONG" userId="S::evelynsm.yong_gmail.com#ext#@risebcg.onmicrosoft.com::67a27a72-2420-4d38-b745-316a53f4b99a" providerId="AD" clId="Web-{0DBCE264-42AB-4E4D-92BD-92ADD1AB384F}" dt="2022-01-09T08:49:20.464" v="1721"/>
          <ac:inkMkLst>
            <pc:docMk/>
            <pc:sldMk cId="3531645893" sldId="360"/>
            <ac:inkMk id="34" creationId="{BBE130FF-2D40-4A3C-8792-312A0E679454}"/>
          </ac:inkMkLst>
        </pc:inkChg>
        <pc:inkChg chg="add del">
          <ac:chgData name="EVELYNSM.YONG" userId="S::evelynsm.yong_gmail.com#ext#@risebcg.onmicrosoft.com::67a27a72-2420-4d38-b745-316a53f4b99a" providerId="AD" clId="Web-{0DBCE264-42AB-4E4D-92BD-92ADD1AB384F}" dt="2022-01-09T08:49:23.855" v="1723"/>
          <ac:inkMkLst>
            <pc:docMk/>
            <pc:sldMk cId="3531645893" sldId="360"/>
            <ac:inkMk id="35" creationId="{6EF98B3C-9B16-42E0-A9C2-4A96E0FF5BCB}"/>
          </ac:inkMkLst>
        </pc:inkChg>
        <pc:inkChg chg="add del">
          <ac:chgData name="EVELYNSM.YONG" userId="S::evelynsm.yong_gmail.com#ext#@risebcg.onmicrosoft.com::67a27a72-2420-4d38-b745-316a53f4b99a" providerId="AD" clId="Web-{0DBCE264-42AB-4E4D-92BD-92ADD1AB384F}" dt="2022-01-09T08:49:34.105" v="1727"/>
          <ac:inkMkLst>
            <pc:docMk/>
            <pc:sldMk cId="3531645893" sldId="360"/>
            <ac:inkMk id="36" creationId="{FA21F0D2-39BB-4469-AC55-0083FE26EFA9}"/>
          </ac:inkMkLst>
        </pc:inkChg>
        <pc:inkChg chg="add del">
          <ac:chgData name="EVELYNSM.YONG" userId="S::evelynsm.yong_gmail.com#ext#@risebcg.onmicrosoft.com::67a27a72-2420-4d38-b745-316a53f4b99a" providerId="AD" clId="Web-{0DBCE264-42AB-4E4D-92BD-92ADD1AB384F}" dt="2022-01-09T08:49:30.121" v="1726"/>
          <ac:inkMkLst>
            <pc:docMk/>
            <pc:sldMk cId="3531645893" sldId="360"/>
            <ac:inkMk id="37" creationId="{7BF14B9B-9DF3-44E7-9D07-D7344C3B85A6}"/>
          </ac:inkMkLst>
        </pc:inkChg>
        <pc:cxnChg chg="add del mod">
          <ac:chgData name="EVELYNSM.YONG" userId="S::evelynsm.yong_gmail.com#ext#@risebcg.onmicrosoft.com::67a27a72-2420-4d38-b745-316a53f4b99a" providerId="AD" clId="Web-{0DBCE264-42AB-4E4D-92BD-92ADD1AB384F}" dt="2022-01-09T08:44:55.240" v="1662"/>
          <ac:cxnSpMkLst>
            <pc:docMk/>
            <pc:sldMk cId="3531645893" sldId="360"/>
            <ac:cxnSpMk id="25" creationId="{0F5B622B-9270-4A90-BF2C-00884AA3CB24}"/>
          </ac:cxnSpMkLst>
        </pc:cxnChg>
        <pc:cxnChg chg="add del mod">
          <ac:chgData name="EVELYNSM.YONG" userId="S::evelynsm.yong_gmail.com#ext#@risebcg.onmicrosoft.com::67a27a72-2420-4d38-b745-316a53f4b99a" providerId="AD" clId="Web-{0DBCE264-42AB-4E4D-92BD-92ADD1AB384F}" dt="2022-01-09T08:47:21.509" v="1694"/>
          <ac:cxnSpMkLst>
            <pc:docMk/>
            <pc:sldMk cId="3531645893" sldId="360"/>
            <ac:cxnSpMk id="27" creationId="{9F031AF3-3BC7-4863-AE70-C7E89B357EA0}"/>
          </ac:cxnSpMkLst>
        </pc:cxnChg>
      </pc:sldChg>
    </pc:docChg>
  </pc:docChgLst>
  <pc:docChgLst>
    <pc:chgData name="EVELYNSM.YONG" userId="S::evelynsm.yong_gmail.com#ext#@risebcg.onmicrosoft.com::67a27a72-2420-4d38-b745-316a53f4b99a" providerId="AD" clId="Web-{C501F9E6-D361-42A5-8B59-09DBEA01AB0D}"/>
    <pc:docChg chg="modSld">
      <pc:chgData name="EVELYNSM.YONG" userId="S::evelynsm.yong_gmail.com#ext#@risebcg.onmicrosoft.com::67a27a72-2420-4d38-b745-316a53f4b99a" providerId="AD" clId="Web-{C501F9E6-D361-42A5-8B59-09DBEA01AB0D}" dt="2022-01-10T05:41:49.786" v="1" actId="1076"/>
      <pc:docMkLst>
        <pc:docMk/>
      </pc:docMkLst>
      <pc:sldChg chg="modSp">
        <pc:chgData name="EVELYNSM.YONG" userId="S::evelynsm.yong_gmail.com#ext#@risebcg.onmicrosoft.com::67a27a72-2420-4d38-b745-316a53f4b99a" providerId="AD" clId="Web-{C501F9E6-D361-42A5-8B59-09DBEA01AB0D}" dt="2022-01-10T05:41:49.786" v="1" actId="1076"/>
        <pc:sldMkLst>
          <pc:docMk/>
          <pc:sldMk cId="4159389698" sldId="342"/>
        </pc:sldMkLst>
        <pc:spChg chg="mod">
          <ac:chgData name="EVELYNSM.YONG" userId="S::evelynsm.yong_gmail.com#ext#@risebcg.onmicrosoft.com::67a27a72-2420-4d38-b745-316a53f4b99a" providerId="AD" clId="Web-{C501F9E6-D361-42A5-8B59-09DBEA01AB0D}" dt="2022-01-10T05:41:49.786" v="1" actId="1076"/>
          <ac:spMkLst>
            <pc:docMk/>
            <pc:sldMk cId="4159389698" sldId="342"/>
            <ac:spMk id="2" creationId="{080435EA-AD4F-4934-83BC-D5D53AFD93E9}"/>
          </ac:spMkLst>
        </pc:spChg>
      </pc:sldChg>
    </pc:docChg>
  </pc:docChgLst>
  <pc:docChgLst>
    <pc:chgData name="wei yuan" userId="S::pwy_92_hotmail.com#ext#@risebcg.onmicrosoft.com::ca38e7f8-9ace-4d94-b37a-86e65e91f2b0" providerId="AD" clId="Web-{753517D1-64AA-4B8B-9638-0F17DE131089}"/>
    <pc:docChg chg="modSld">
      <pc:chgData name="wei yuan" userId="S::pwy_92_hotmail.com#ext#@risebcg.onmicrosoft.com::ca38e7f8-9ace-4d94-b37a-86e65e91f2b0" providerId="AD" clId="Web-{753517D1-64AA-4B8B-9638-0F17DE131089}" dt="2022-01-11T02:53:24.791" v="4" actId="1076"/>
      <pc:docMkLst>
        <pc:docMk/>
      </pc:docMkLst>
      <pc:sldChg chg="addSp modSp">
        <pc:chgData name="wei yuan" userId="S::pwy_92_hotmail.com#ext#@risebcg.onmicrosoft.com::ca38e7f8-9ace-4d94-b37a-86e65e91f2b0" providerId="AD" clId="Web-{753517D1-64AA-4B8B-9638-0F17DE131089}" dt="2022-01-11T02:53:24.791" v="4" actId="1076"/>
        <pc:sldMkLst>
          <pc:docMk/>
          <pc:sldMk cId="2160415509" sldId="326"/>
        </pc:sldMkLst>
        <pc:picChg chg="add mod">
          <ac:chgData name="wei yuan" userId="S::pwy_92_hotmail.com#ext#@risebcg.onmicrosoft.com::ca38e7f8-9ace-4d94-b37a-86e65e91f2b0" providerId="AD" clId="Web-{753517D1-64AA-4B8B-9638-0F17DE131089}" dt="2022-01-11T02:53:24.791" v="4" actId="1076"/>
          <ac:picMkLst>
            <pc:docMk/>
            <pc:sldMk cId="2160415509" sldId="326"/>
            <ac:picMk id="5" creationId="{3739471E-5215-49A8-8746-A476792E3348}"/>
          </ac:picMkLst>
        </pc:picChg>
      </pc:sldChg>
    </pc:docChg>
  </pc:docChgLst>
  <pc:docChgLst>
    <pc:chgData name="COSMOSFREN" userId="S::cosmosfren_yahoo.com#ext#@risebcg.onmicrosoft.com::5462f5f4-f618-47aa-abd8-fd504e002570" providerId="AD" clId="Web-{F2365CAA-0801-4EFC-BF65-DCB1BFF3D234}"/>
    <pc:docChg chg="addSld modSld sldOrd">
      <pc:chgData name="COSMOSFREN" userId="S::cosmosfren_yahoo.com#ext#@risebcg.onmicrosoft.com::5462f5f4-f618-47aa-abd8-fd504e002570" providerId="AD" clId="Web-{F2365CAA-0801-4EFC-BF65-DCB1BFF3D234}" dt="2022-01-10T11:14:06.813" v="3536"/>
      <pc:docMkLst>
        <pc:docMk/>
      </pc:docMkLst>
      <pc:sldChg chg="modNotes">
        <pc:chgData name="COSMOSFREN" userId="S::cosmosfren_yahoo.com#ext#@risebcg.onmicrosoft.com::5462f5f4-f618-47aa-abd8-fd504e002570" providerId="AD" clId="Web-{F2365CAA-0801-4EFC-BF65-DCB1BFF3D234}" dt="2022-01-10T10:35:36.077" v="1529"/>
        <pc:sldMkLst>
          <pc:docMk/>
          <pc:sldMk cId="2067521295" sldId="323"/>
        </pc:sldMkLst>
      </pc:sldChg>
      <pc:sldChg chg="modNotes">
        <pc:chgData name="COSMOSFREN" userId="S::cosmosfren_yahoo.com#ext#@risebcg.onmicrosoft.com::5462f5f4-f618-47aa-abd8-fd504e002570" providerId="AD" clId="Web-{F2365CAA-0801-4EFC-BF65-DCB1BFF3D234}" dt="2022-01-10T11:08:43.353" v="3022"/>
        <pc:sldMkLst>
          <pc:docMk/>
          <pc:sldMk cId="3666302761" sldId="324"/>
        </pc:sldMkLst>
      </pc:sldChg>
      <pc:sldChg chg="modNotes">
        <pc:chgData name="COSMOSFREN" userId="S::cosmosfren_yahoo.com#ext#@risebcg.onmicrosoft.com::5462f5f4-f618-47aa-abd8-fd504e002570" providerId="AD" clId="Web-{F2365CAA-0801-4EFC-BF65-DCB1BFF3D234}" dt="2022-01-10T10:45:15.558" v="2003"/>
        <pc:sldMkLst>
          <pc:docMk/>
          <pc:sldMk cId="2316358039" sldId="325"/>
        </pc:sldMkLst>
      </pc:sldChg>
      <pc:sldChg chg="modNotes">
        <pc:chgData name="COSMOSFREN" userId="S::cosmosfren_yahoo.com#ext#@risebcg.onmicrosoft.com::5462f5f4-f618-47aa-abd8-fd504e002570" providerId="AD" clId="Web-{F2365CAA-0801-4EFC-BF65-DCB1BFF3D234}" dt="2022-01-10T11:14:06.813" v="3536"/>
        <pc:sldMkLst>
          <pc:docMk/>
          <pc:sldMk cId="416007632" sldId="327"/>
        </pc:sldMkLst>
      </pc:sldChg>
      <pc:sldChg chg="modNotes">
        <pc:chgData name="COSMOSFREN" userId="S::cosmosfren_yahoo.com#ext#@risebcg.onmicrosoft.com::5462f5f4-f618-47aa-abd8-fd504e002570" providerId="AD" clId="Web-{F2365CAA-0801-4EFC-BF65-DCB1BFF3D234}" dt="2022-01-10T10:44:15.088" v="1929"/>
        <pc:sldMkLst>
          <pc:docMk/>
          <pc:sldMk cId="4159389698" sldId="342"/>
        </pc:sldMkLst>
      </pc:sldChg>
      <pc:sldChg chg="modNotes">
        <pc:chgData name="COSMOSFREN" userId="S::cosmosfren_yahoo.com#ext#@risebcg.onmicrosoft.com::5462f5f4-f618-47aa-abd8-fd504e002570" providerId="AD" clId="Web-{F2365CAA-0801-4EFC-BF65-DCB1BFF3D234}" dt="2022-01-10T10:49:14.829" v="2551"/>
        <pc:sldMkLst>
          <pc:docMk/>
          <pc:sldMk cId="1894441827" sldId="358"/>
        </pc:sldMkLst>
      </pc:sldChg>
      <pc:sldChg chg="ord modNotes">
        <pc:chgData name="COSMOSFREN" userId="S::cosmosfren_yahoo.com#ext#@risebcg.onmicrosoft.com::5462f5f4-f618-47aa-abd8-fd504e002570" providerId="AD" clId="Web-{F2365CAA-0801-4EFC-BF65-DCB1BFF3D234}" dt="2022-01-10T10:57:59.277" v="2587"/>
        <pc:sldMkLst>
          <pc:docMk/>
          <pc:sldMk cId="3944993204" sldId="370"/>
        </pc:sldMkLst>
      </pc:sldChg>
      <pc:sldChg chg="modSp new modNotes">
        <pc:chgData name="COSMOSFREN" userId="S::cosmosfren_yahoo.com#ext#@risebcg.onmicrosoft.com::5462f5f4-f618-47aa-abd8-fd504e002570" providerId="AD" clId="Web-{F2365CAA-0801-4EFC-BF65-DCB1BFF3D234}" dt="2022-01-10T11:09:33.979" v="3050"/>
        <pc:sldMkLst>
          <pc:docMk/>
          <pc:sldMk cId="531825606" sldId="383"/>
        </pc:sldMkLst>
        <pc:spChg chg="mod">
          <ac:chgData name="COSMOSFREN" userId="S::cosmosfren_yahoo.com#ext#@risebcg.onmicrosoft.com::5462f5f4-f618-47aa-abd8-fd504e002570" providerId="AD" clId="Web-{F2365CAA-0801-4EFC-BF65-DCB1BFF3D234}" dt="2022-01-10T10:56:21.885" v="2583" actId="20577"/>
          <ac:spMkLst>
            <pc:docMk/>
            <pc:sldMk cId="531825606" sldId="383"/>
            <ac:spMk id="2" creationId="{ABE39F15-1818-4D2D-A322-2BE665A44DF0}"/>
          </ac:spMkLst>
        </pc:spChg>
        <pc:spChg chg="mod">
          <ac:chgData name="COSMOSFREN" userId="S::cosmosfren_yahoo.com#ext#@risebcg.onmicrosoft.com::5462f5f4-f618-47aa-abd8-fd504e002570" providerId="AD" clId="Web-{F2365CAA-0801-4EFC-BF65-DCB1BFF3D234}" dt="2022-01-10T11:02:08.579" v="2781" actId="20577"/>
          <ac:spMkLst>
            <pc:docMk/>
            <pc:sldMk cId="531825606" sldId="383"/>
            <ac:spMk id="3" creationId="{9771EDC6-5C2F-4F03-A28A-6F11306CF575}"/>
          </ac:spMkLst>
        </pc:spChg>
      </pc:sldChg>
    </pc:docChg>
  </pc:docChgLst>
  <pc:docChgLst>
    <pc:chgData name="WESLEY.TBW" userId="S::wesley.tbw_gmail.com#ext#@risebcg.onmicrosoft.com::1034df62-ee6d-4b2f-8a56-03c4406a0a8a" providerId="AD" clId="Web-{0781AC2C-9B4D-48D3-8DAF-7A5A21AEF7CE}"/>
    <pc:docChg chg="addSld delSld modSld sldOrd">
      <pc:chgData name="WESLEY.TBW" userId="S::wesley.tbw_gmail.com#ext#@risebcg.onmicrosoft.com::1034df62-ee6d-4b2f-8a56-03c4406a0a8a" providerId="AD" clId="Web-{0781AC2C-9B4D-48D3-8DAF-7A5A21AEF7CE}" dt="2022-01-08T16:24:48.142" v="1955"/>
      <pc:docMkLst>
        <pc:docMk/>
      </pc:docMkLst>
      <pc:sldChg chg="addSp delSp modSp modNotes">
        <pc:chgData name="WESLEY.TBW" userId="S::wesley.tbw_gmail.com#ext#@risebcg.onmicrosoft.com::1034df62-ee6d-4b2f-8a56-03c4406a0a8a" providerId="AD" clId="Web-{0781AC2C-9B4D-48D3-8DAF-7A5A21AEF7CE}" dt="2022-01-08T15:52:30.964" v="1809"/>
        <pc:sldMkLst>
          <pc:docMk/>
          <pc:sldMk cId="2256265757" sldId="315"/>
        </pc:sldMkLst>
        <pc:spChg chg="add del">
          <ac:chgData name="WESLEY.TBW" userId="S::wesley.tbw_gmail.com#ext#@risebcg.onmicrosoft.com::1034df62-ee6d-4b2f-8a56-03c4406a0a8a" providerId="AD" clId="Web-{0781AC2C-9B4D-48D3-8DAF-7A5A21AEF7CE}" dt="2022-01-08T15:11:38.948" v="1315"/>
          <ac:spMkLst>
            <pc:docMk/>
            <pc:sldMk cId="2256265757" sldId="315"/>
            <ac:spMk id="307" creationId="{E00E73AA-F824-41AB-B027-8124E5A10950}"/>
          </ac:spMkLst>
        </pc:spChg>
        <pc:spChg chg="add del">
          <ac:chgData name="WESLEY.TBW" userId="S::wesley.tbw_gmail.com#ext#@risebcg.onmicrosoft.com::1034df62-ee6d-4b2f-8a56-03c4406a0a8a" providerId="AD" clId="Web-{0781AC2C-9B4D-48D3-8DAF-7A5A21AEF7CE}" dt="2022-01-08T15:11:37.120" v="1314"/>
          <ac:spMkLst>
            <pc:docMk/>
            <pc:sldMk cId="2256265757" sldId="315"/>
            <ac:spMk id="309" creationId="{A26C4C9B-6DBB-43FF-AC4B-9BFF881F3C41}"/>
          </ac:spMkLst>
        </pc:spChg>
        <pc:spChg chg="add del mod">
          <ac:chgData name="WESLEY.TBW" userId="S::wesley.tbw_gmail.com#ext#@risebcg.onmicrosoft.com::1034df62-ee6d-4b2f-8a56-03c4406a0a8a" providerId="AD" clId="Web-{0781AC2C-9B4D-48D3-8DAF-7A5A21AEF7CE}" dt="2022-01-08T15:43:34.548" v="1496"/>
          <ac:spMkLst>
            <pc:docMk/>
            <pc:sldMk cId="2256265757" sldId="315"/>
            <ac:spMk id="310" creationId="{7279E154-C085-4EBE-AC48-6B0CF54A67C5}"/>
          </ac:spMkLst>
        </pc:spChg>
        <pc:spChg chg="add del mod">
          <ac:chgData name="WESLEY.TBW" userId="S::wesley.tbw_gmail.com#ext#@risebcg.onmicrosoft.com::1034df62-ee6d-4b2f-8a56-03c4406a0a8a" providerId="AD" clId="Web-{0781AC2C-9B4D-48D3-8DAF-7A5A21AEF7CE}" dt="2022-01-08T15:11:36.213" v="1313"/>
          <ac:spMkLst>
            <pc:docMk/>
            <pc:sldMk cId="2256265757" sldId="315"/>
            <ac:spMk id="311" creationId="{0D7DB02B-9E0D-42BB-B9F5-6E4E6F601F99}"/>
          </ac:spMkLst>
        </pc:spChg>
        <pc:inkChg chg="add del">
          <ac:chgData name="WESLEY.TBW" userId="S::wesley.tbw_gmail.com#ext#@risebcg.onmicrosoft.com::1034df62-ee6d-4b2f-8a56-03c4406a0a8a" providerId="AD" clId="Web-{0781AC2C-9B4D-48D3-8DAF-7A5A21AEF7CE}" dt="2022-01-08T15:44:26.674" v="1539"/>
          <ac:inkMkLst>
            <pc:docMk/>
            <pc:sldMk cId="2256265757" sldId="315"/>
            <ac:inkMk id="23" creationId="{C2F4CE54-E29E-4058-ACAE-D21109DB8FE1}"/>
          </ac:inkMkLst>
        </pc:inkChg>
        <pc:inkChg chg="add del">
          <ac:chgData name="WESLEY.TBW" userId="S::wesley.tbw_gmail.com#ext#@risebcg.onmicrosoft.com::1034df62-ee6d-4b2f-8a56-03c4406a0a8a" providerId="AD" clId="Web-{0781AC2C-9B4D-48D3-8DAF-7A5A21AEF7CE}" dt="2022-01-08T15:44:26.674" v="1538"/>
          <ac:inkMkLst>
            <pc:docMk/>
            <pc:sldMk cId="2256265757" sldId="315"/>
            <ac:inkMk id="24" creationId="{A50A6D13-DD58-4435-B868-16DCFE26F779}"/>
          </ac:inkMkLst>
        </pc:inkChg>
        <pc:inkChg chg="add del">
          <ac:chgData name="WESLEY.TBW" userId="S::wesley.tbw_gmail.com#ext#@risebcg.onmicrosoft.com::1034df62-ee6d-4b2f-8a56-03c4406a0a8a" providerId="AD" clId="Web-{0781AC2C-9B4D-48D3-8DAF-7A5A21AEF7CE}" dt="2022-01-08T15:44:26.658" v="1537"/>
          <ac:inkMkLst>
            <pc:docMk/>
            <pc:sldMk cId="2256265757" sldId="315"/>
            <ac:inkMk id="25" creationId="{9CABD214-0ACC-4B81-859B-336EB863F42E}"/>
          </ac:inkMkLst>
        </pc:inkChg>
        <pc:inkChg chg="add del">
          <ac:chgData name="WESLEY.TBW" userId="S::wesley.tbw_gmail.com#ext#@risebcg.onmicrosoft.com::1034df62-ee6d-4b2f-8a56-03c4406a0a8a" providerId="AD" clId="Web-{0781AC2C-9B4D-48D3-8DAF-7A5A21AEF7CE}" dt="2022-01-08T15:44:26.658" v="1536"/>
          <ac:inkMkLst>
            <pc:docMk/>
            <pc:sldMk cId="2256265757" sldId="315"/>
            <ac:inkMk id="26" creationId="{58B50773-2D60-4526-A1E9-47B026EC25C1}"/>
          </ac:inkMkLst>
        </pc:inkChg>
        <pc:inkChg chg="add del">
          <ac:chgData name="WESLEY.TBW" userId="S::wesley.tbw_gmail.com#ext#@risebcg.onmicrosoft.com::1034df62-ee6d-4b2f-8a56-03c4406a0a8a" providerId="AD" clId="Web-{0781AC2C-9B4D-48D3-8DAF-7A5A21AEF7CE}" dt="2022-01-08T15:44:26.658" v="1535"/>
          <ac:inkMkLst>
            <pc:docMk/>
            <pc:sldMk cId="2256265757" sldId="315"/>
            <ac:inkMk id="27" creationId="{3D7FE265-7B2F-44CB-A72B-4D553863B224}"/>
          </ac:inkMkLst>
        </pc:inkChg>
        <pc:inkChg chg="add del">
          <ac:chgData name="WESLEY.TBW" userId="S::wesley.tbw_gmail.com#ext#@risebcg.onmicrosoft.com::1034df62-ee6d-4b2f-8a56-03c4406a0a8a" providerId="AD" clId="Web-{0781AC2C-9B4D-48D3-8DAF-7A5A21AEF7CE}" dt="2022-01-08T15:44:26.658" v="1534"/>
          <ac:inkMkLst>
            <pc:docMk/>
            <pc:sldMk cId="2256265757" sldId="315"/>
            <ac:inkMk id="28" creationId="{FA95E691-1111-4AC6-8FD5-C393ACB792D0}"/>
          </ac:inkMkLst>
        </pc:inkChg>
        <pc:inkChg chg="add del">
          <ac:chgData name="WESLEY.TBW" userId="S::wesley.tbw_gmail.com#ext#@risebcg.onmicrosoft.com::1034df62-ee6d-4b2f-8a56-03c4406a0a8a" providerId="AD" clId="Web-{0781AC2C-9B4D-48D3-8DAF-7A5A21AEF7CE}" dt="2022-01-08T15:44:26.658" v="1533"/>
          <ac:inkMkLst>
            <pc:docMk/>
            <pc:sldMk cId="2256265757" sldId="315"/>
            <ac:inkMk id="29" creationId="{1CADFB49-10B3-42FA-9AAD-803D16899073}"/>
          </ac:inkMkLst>
        </pc:inkChg>
        <pc:inkChg chg="add del">
          <ac:chgData name="WESLEY.TBW" userId="S::wesley.tbw_gmail.com#ext#@risebcg.onmicrosoft.com::1034df62-ee6d-4b2f-8a56-03c4406a0a8a" providerId="AD" clId="Web-{0781AC2C-9B4D-48D3-8DAF-7A5A21AEF7CE}" dt="2022-01-08T15:44:27.752" v="1541"/>
          <ac:inkMkLst>
            <pc:docMk/>
            <pc:sldMk cId="2256265757" sldId="315"/>
            <ac:inkMk id="30" creationId="{8CC5C3D1-1667-469C-B3B0-794BCD151ABE}"/>
          </ac:inkMkLst>
        </pc:inkChg>
        <pc:inkChg chg="add del">
          <ac:chgData name="WESLEY.TBW" userId="S::wesley.tbw_gmail.com#ext#@risebcg.onmicrosoft.com::1034df62-ee6d-4b2f-8a56-03c4406a0a8a" providerId="AD" clId="Web-{0781AC2C-9B4D-48D3-8DAF-7A5A21AEF7CE}" dt="2022-01-08T15:44:33.080" v="1549"/>
          <ac:inkMkLst>
            <pc:docMk/>
            <pc:sldMk cId="2256265757" sldId="315"/>
            <ac:inkMk id="31" creationId="{4399D499-0467-4A35-9D3C-4F55F12A9D8E}"/>
          </ac:inkMkLst>
        </pc:inkChg>
        <pc:inkChg chg="add del">
          <ac:chgData name="WESLEY.TBW" userId="S::wesley.tbw_gmail.com#ext#@risebcg.onmicrosoft.com::1034df62-ee6d-4b2f-8a56-03c4406a0a8a" providerId="AD" clId="Web-{0781AC2C-9B4D-48D3-8DAF-7A5A21AEF7CE}" dt="2022-01-08T15:44:33.080" v="1548"/>
          <ac:inkMkLst>
            <pc:docMk/>
            <pc:sldMk cId="2256265757" sldId="315"/>
            <ac:inkMk id="32" creationId="{97235DD4-4C11-4D05-82DB-67D973ED21E7}"/>
          </ac:inkMkLst>
        </pc:inkChg>
        <pc:inkChg chg="add del">
          <ac:chgData name="WESLEY.TBW" userId="S::wesley.tbw_gmail.com#ext#@risebcg.onmicrosoft.com::1034df62-ee6d-4b2f-8a56-03c4406a0a8a" providerId="AD" clId="Web-{0781AC2C-9B4D-48D3-8DAF-7A5A21AEF7CE}" dt="2022-01-08T15:44:33.080" v="1547"/>
          <ac:inkMkLst>
            <pc:docMk/>
            <pc:sldMk cId="2256265757" sldId="315"/>
            <ac:inkMk id="33" creationId="{BEE4AE01-62A7-436F-873F-B6694A01C12A}"/>
          </ac:inkMkLst>
        </pc:inkChg>
        <pc:inkChg chg="add del">
          <ac:chgData name="WESLEY.TBW" userId="S::wesley.tbw_gmail.com#ext#@risebcg.onmicrosoft.com::1034df62-ee6d-4b2f-8a56-03c4406a0a8a" providerId="AD" clId="Web-{0781AC2C-9B4D-48D3-8DAF-7A5A21AEF7CE}" dt="2022-01-08T15:44:33.080" v="1546"/>
          <ac:inkMkLst>
            <pc:docMk/>
            <pc:sldMk cId="2256265757" sldId="315"/>
            <ac:inkMk id="34" creationId="{AB881702-E2B8-4741-85D3-17F5532913DC}"/>
          </ac:inkMkLst>
        </pc:inkChg>
        <pc:inkChg chg="add del">
          <ac:chgData name="WESLEY.TBW" userId="S::wesley.tbw_gmail.com#ext#@risebcg.onmicrosoft.com::1034df62-ee6d-4b2f-8a56-03c4406a0a8a" providerId="AD" clId="Web-{0781AC2C-9B4D-48D3-8DAF-7A5A21AEF7CE}" dt="2022-01-08T15:44:33.080" v="1545"/>
          <ac:inkMkLst>
            <pc:docMk/>
            <pc:sldMk cId="2256265757" sldId="315"/>
            <ac:inkMk id="35" creationId="{A5A07B7A-289D-4874-BFD9-77F6860E1062}"/>
          </ac:inkMkLst>
        </pc:inkChg>
        <pc:inkChg chg="add del">
          <ac:chgData name="WESLEY.TBW" userId="S::wesley.tbw_gmail.com#ext#@risebcg.onmicrosoft.com::1034df62-ee6d-4b2f-8a56-03c4406a0a8a" providerId="AD" clId="Web-{0781AC2C-9B4D-48D3-8DAF-7A5A21AEF7CE}" dt="2022-01-08T15:44:33.080" v="1544"/>
          <ac:inkMkLst>
            <pc:docMk/>
            <pc:sldMk cId="2256265757" sldId="315"/>
            <ac:inkMk id="36" creationId="{9705C685-CD40-43E3-B17C-2A60521D7914}"/>
          </ac:inkMkLst>
        </pc:inkChg>
        <pc:inkChg chg="add del">
          <ac:chgData name="WESLEY.TBW" userId="S::wesley.tbw_gmail.com#ext#@risebcg.onmicrosoft.com::1034df62-ee6d-4b2f-8a56-03c4406a0a8a" providerId="AD" clId="Web-{0781AC2C-9B4D-48D3-8DAF-7A5A21AEF7CE}" dt="2022-01-08T15:44:33.080" v="1543"/>
          <ac:inkMkLst>
            <pc:docMk/>
            <pc:sldMk cId="2256265757" sldId="315"/>
            <ac:inkMk id="37" creationId="{A0B02A6A-348D-4C2A-A9D5-CB932866A743}"/>
          </ac:inkMkLst>
        </pc:inkChg>
        <pc:inkChg chg="add del">
          <ac:chgData name="WESLEY.TBW" userId="S::wesley.tbw_gmail.com#ext#@risebcg.onmicrosoft.com::1034df62-ee6d-4b2f-8a56-03c4406a0a8a" providerId="AD" clId="Web-{0781AC2C-9B4D-48D3-8DAF-7A5A21AEF7CE}" dt="2022-01-08T15:44:33.080" v="1542"/>
          <ac:inkMkLst>
            <pc:docMk/>
            <pc:sldMk cId="2256265757" sldId="315"/>
            <ac:inkMk id="38" creationId="{3E28EA8C-24DC-4B94-B99A-8088F0309A32}"/>
          </ac:inkMkLst>
        </pc:inkChg>
        <pc:inkChg chg="add del">
          <ac:chgData name="WESLEY.TBW" userId="S::wesley.tbw_gmail.com#ext#@risebcg.onmicrosoft.com::1034df62-ee6d-4b2f-8a56-03c4406a0a8a" providerId="AD" clId="Web-{0781AC2C-9B4D-48D3-8DAF-7A5A21AEF7CE}" dt="2022-01-08T15:44:20.017" v="1525"/>
          <ac:inkMkLst>
            <pc:docMk/>
            <pc:sldMk cId="2256265757" sldId="315"/>
            <ac:inkMk id="39" creationId="{FBAFBF46-5E82-431C-A151-5E03AE8A6BB5}"/>
          </ac:inkMkLst>
        </pc:inkChg>
        <pc:inkChg chg="add del">
          <ac:chgData name="WESLEY.TBW" userId="S::wesley.tbw_gmail.com#ext#@risebcg.onmicrosoft.com::1034df62-ee6d-4b2f-8a56-03c4406a0a8a" providerId="AD" clId="Web-{0781AC2C-9B4D-48D3-8DAF-7A5A21AEF7CE}" dt="2022-01-08T15:44:20.017" v="1524"/>
          <ac:inkMkLst>
            <pc:docMk/>
            <pc:sldMk cId="2256265757" sldId="315"/>
            <ac:inkMk id="40" creationId="{777AA4B3-F23B-4279-9EE6-8FA7558C39CB}"/>
          </ac:inkMkLst>
        </pc:inkChg>
        <pc:inkChg chg="add del">
          <ac:chgData name="WESLEY.TBW" userId="S::wesley.tbw_gmail.com#ext#@risebcg.onmicrosoft.com::1034df62-ee6d-4b2f-8a56-03c4406a0a8a" providerId="AD" clId="Web-{0781AC2C-9B4D-48D3-8DAF-7A5A21AEF7CE}" dt="2022-01-08T15:43:38.579" v="1497"/>
          <ac:inkMkLst>
            <pc:docMk/>
            <pc:sldMk cId="2256265757" sldId="315"/>
            <ac:inkMk id="306" creationId="{1ADAC67C-7A8E-4033-BC20-2A0849411A17}"/>
          </ac:inkMkLst>
        </pc:inkChg>
        <pc:inkChg chg="add del">
          <ac:chgData name="WESLEY.TBW" userId="S::wesley.tbw_gmail.com#ext#@risebcg.onmicrosoft.com::1034df62-ee6d-4b2f-8a56-03c4406a0a8a" providerId="AD" clId="Web-{0781AC2C-9B4D-48D3-8DAF-7A5A21AEF7CE}" dt="2022-01-08T15:11:25.791" v="1309"/>
          <ac:inkMkLst>
            <pc:docMk/>
            <pc:sldMk cId="2256265757" sldId="315"/>
            <ac:inkMk id="308" creationId="{4548D7DD-5CD4-4B4F-BC99-26F1FBEE0A54}"/>
          </ac:inkMkLst>
        </pc:inkChg>
        <pc:inkChg chg="add del">
          <ac:chgData name="WESLEY.TBW" userId="S::wesley.tbw_gmail.com#ext#@risebcg.onmicrosoft.com::1034df62-ee6d-4b2f-8a56-03c4406a0a8a" providerId="AD" clId="Web-{0781AC2C-9B4D-48D3-8DAF-7A5A21AEF7CE}" dt="2022-01-08T15:44:26.674" v="1540"/>
          <ac:inkMkLst>
            <pc:docMk/>
            <pc:sldMk cId="2256265757" sldId="315"/>
            <ac:inkMk id="652" creationId="{FDE45141-A42A-4B3A-B173-8EE6D1ABDDF0}"/>
          </ac:inkMkLst>
        </pc:inkChg>
        <pc:inkChg chg="add del">
          <ac:chgData name="WESLEY.TBW" userId="S::wesley.tbw_gmail.com#ext#@risebcg.onmicrosoft.com::1034df62-ee6d-4b2f-8a56-03c4406a0a8a" providerId="AD" clId="Web-{0781AC2C-9B4D-48D3-8DAF-7A5A21AEF7CE}" dt="2022-01-08T15:44:22.877" v="1532"/>
          <ac:inkMkLst>
            <pc:docMk/>
            <pc:sldMk cId="2256265757" sldId="315"/>
            <ac:inkMk id="681" creationId="{CD447D58-BB3A-4632-989D-CA5C5C7EF243}"/>
          </ac:inkMkLst>
        </pc:inkChg>
        <pc:inkChg chg="add del">
          <ac:chgData name="WESLEY.TBW" userId="S::wesley.tbw_gmail.com#ext#@risebcg.onmicrosoft.com::1034df62-ee6d-4b2f-8a56-03c4406a0a8a" providerId="AD" clId="Web-{0781AC2C-9B4D-48D3-8DAF-7A5A21AEF7CE}" dt="2022-01-08T15:44:22.877" v="1531"/>
          <ac:inkMkLst>
            <pc:docMk/>
            <pc:sldMk cId="2256265757" sldId="315"/>
            <ac:inkMk id="682" creationId="{67D4A873-5173-400D-9DE7-58A798CF7449}"/>
          </ac:inkMkLst>
        </pc:inkChg>
        <pc:inkChg chg="add del">
          <ac:chgData name="WESLEY.TBW" userId="S::wesley.tbw_gmail.com#ext#@risebcg.onmicrosoft.com::1034df62-ee6d-4b2f-8a56-03c4406a0a8a" providerId="AD" clId="Web-{0781AC2C-9B4D-48D3-8DAF-7A5A21AEF7CE}" dt="2022-01-08T15:44:22.877" v="1530"/>
          <ac:inkMkLst>
            <pc:docMk/>
            <pc:sldMk cId="2256265757" sldId="315"/>
            <ac:inkMk id="683" creationId="{79E2BAAF-0A92-4783-AC2F-423147AD25F2}"/>
          </ac:inkMkLst>
        </pc:inkChg>
        <pc:inkChg chg="add del">
          <ac:chgData name="WESLEY.TBW" userId="S::wesley.tbw_gmail.com#ext#@risebcg.onmicrosoft.com::1034df62-ee6d-4b2f-8a56-03c4406a0a8a" providerId="AD" clId="Web-{0781AC2C-9B4D-48D3-8DAF-7A5A21AEF7CE}" dt="2022-01-08T15:44:22.877" v="1529"/>
          <ac:inkMkLst>
            <pc:docMk/>
            <pc:sldMk cId="2256265757" sldId="315"/>
            <ac:inkMk id="744" creationId="{DBCE7B23-F1B4-4B9A-9209-ACBF2A02ACDC}"/>
          </ac:inkMkLst>
        </pc:inkChg>
        <pc:inkChg chg="add del">
          <ac:chgData name="WESLEY.TBW" userId="S::wesley.tbw_gmail.com#ext#@risebcg.onmicrosoft.com::1034df62-ee6d-4b2f-8a56-03c4406a0a8a" providerId="AD" clId="Web-{0781AC2C-9B4D-48D3-8DAF-7A5A21AEF7CE}" dt="2022-01-08T15:44:22.877" v="1528"/>
          <ac:inkMkLst>
            <pc:docMk/>
            <pc:sldMk cId="2256265757" sldId="315"/>
            <ac:inkMk id="745" creationId="{4E0CBFFF-4162-45BF-B134-2328CFFF93D5}"/>
          </ac:inkMkLst>
        </pc:inkChg>
        <pc:inkChg chg="add del">
          <ac:chgData name="WESLEY.TBW" userId="S::wesley.tbw_gmail.com#ext#@risebcg.onmicrosoft.com::1034df62-ee6d-4b2f-8a56-03c4406a0a8a" providerId="AD" clId="Web-{0781AC2C-9B4D-48D3-8DAF-7A5A21AEF7CE}" dt="2022-01-08T15:44:22.877" v="1527"/>
          <ac:inkMkLst>
            <pc:docMk/>
            <pc:sldMk cId="2256265757" sldId="315"/>
            <ac:inkMk id="746" creationId="{3CBC7C08-B8D8-4198-9DA0-19B776EB9CBA}"/>
          </ac:inkMkLst>
        </pc:inkChg>
        <pc:inkChg chg="add del">
          <ac:chgData name="WESLEY.TBW" userId="S::wesley.tbw_gmail.com#ext#@risebcg.onmicrosoft.com::1034df62-ee6d-4b2f-8a56-03c4406a0a8a" providerId="AD" clId="Web-{0781AC2C-9B4D-48D3-8DAF-7A5A21AEF7CE}" dt="2022-01-08T15:44:22.877" v="1526"/>
          <ac:inkMkLst>
            <pc:docMk/>
            <pc:sldMk cId="2256265757" sldId="315"/>
            <ac:inkMk id="747" creationId="{B319FEA4-818F-4419-BE68-9BDC7F10686A}"/>
          </ac:inkMkLst>
        </pc:inkChg>
      </pc:sldChg>
      <pc:sldChg chg="addSp delSp modSp modNotes">
        <pc:chgData name="WESLEY.TBW" userId="S::wesley.tbw_gmail.com#ext#@risebcg.onmicrosoft.com::1034df62-ee6d-4b2f-8a56-03c4406a0a8a" providerId="AD" clId="Web-{0781AC2C-9B4D-48D3-8DAF-7A5A21AEF7CE}" dt="2022-01-08T16:24:48.142" v="1955"/>
        <pc:sldMkLst>
          <pc:docMk/>
          <pc:sldMk cId="4084366951" sldId="318"/>
        </pc:sldMkLst>
        <pc:spChg chg="mod">
          <ac:chgData name="WESLEY.TBW" userId="S::wesley.tbw_gmail.com#ext#@risebcg.onmicrosoft.com::1034df62-ee6d-4b2f-8a56-03c4406a0a8a" providerId="AD" clId="Web-{0781AC2C-9B4D-48D3-8DAF-7A5A21AEF7CE}" dt="2022-01-08T14:26:35.786" v="959" actId="20577"/>
          <ac:spMkLst>
            <pc:docMk/>
            <pc:sldMk cId="4084366951" sldId="318"/>
            <ac:spMk id="32" creationId="{41E099E5-F68B-4939-9F7A-B9CC2E5F333A}"/>
          </ac:spMkLst>
        </pc:spChg>
        <pc:grpChg chg="del">
          <ac:chgData name="WESLEY.TBW" userId="S::wesley.tbw_gmail.com#ext#@risebcg.onmicrosoft.com::1034df62-ee6d-4b2f-8a56-03c4406a0a8a" providerId="AD" clId="Web-{0781AC2C-9B4D-48D3-8DAF-7A5A21AEF7CE}" dt="2022-01-08T13:47:06.115" v="616"/>
          <ac:grpSpMkLst>
            <pc:docMk/>
            <pc:sldMk cId="4084366951" sldId="318"/>
            <ac:grpSpMk id="34" creationId="{05607143-7AC4-4585-8FF1-3A1245EE3DDE}"/>
          </ac:grpSpMkLst>
        </pc:grpChg>
        <pc:picChg chg="add mod">
          <ac:chgData name="WESLEY.TBW" userId="S::wesley.tbw_gmail.com#ext#@risebcg.onmicrosoft.com::1034df62-ee6d-4b2f-8a56-03c4406a0a8a" providerId="AD" clId="Web-{0781AC2C-9B4D-48D3-8DAF-7A5A21AEF7CE}" dt="2022-01-08T12:33:27.341" v="71" actId="14100"/>
          <ac:picMkLst>
            <pc:docMk/>
            <pc:sldMk cId="4084366951" sldId="318"/>
            <ac:picMk id="2" creationId="{A614BDB2-A87C-4D6E-B961-198BF7854FE2}"/>
          </ac:picMkLst>
        </pc:picChg>
        <pc:picChg chg="del">
          <ac:chgData name="WESLEY.TBW" userId="S::wesley.tbw_gmail.com#ext#@risebcg.onmicrosoft.com::1034df62-ee6d-4b2f-8a56-03c4406a0a8a" providerId="AD" clId="Web-{0781AC2C-9B4D-48D3-8DAF-7A5A21AEF7CE}" dt="2022-01-08T12:33:12.466" v="68"/>
          <ac:picMkLst>
            <pc:docMk/>
            <pc:sldMk cId="4084366951" sldId="318"/>
            <ac:picMk id="3" creationId="{4EA9D4D3-D6BE-4DD3-A185-A6287A9302E7}"/>
          </ac:picMkLst>
        </pc:picChg>
        <pc:picChg chg="add del mod">
          <ac:chgData name="WESLEY.TBW" userId="S::wesley.tbw_gmail.com#ext#@risebcg.onmicrosoft.com::1034df62-ee6d-4b2f-8a56-03c4406a0a8a" providerId="AD" clId="Web-{0781AC2C-9B4D-48D3-8DAF-7A5A21AEF7CE}" dt="2022-01-08T13:47:06.115" v="615"/>
          <ac:picMkLst>
            <pc:docMk/>
            <pc:sldMk cId="4084366951" sldId="318"/>
            <ac:picMk id="5" creationId="{B46453E5-BEB4-482A-8561-F215B9AE53A0}"/>
          </ac:picMkLst>
        </pc:picChg>
        <pc:picChg chg="del">
          <ac:chgData name="WESLEY.TBW" userId="S::wesley.tbw_gmail.com#ext#@risebcg.onmicrosoft.com::1034df62-ee6d-4b2f-8a56-03c4406a0a8a" providerId="AD" clId="Web-{0781AC2C-9B4D-48D3-8DAF-7A5A21AEF7CE}" dt="2022-01-08T12:09:59.045" v="0"/>
          <ac:picMkLst>
            <pc:docMk/>
            <pc:sldMk cId="4084366951" sldId="318"/>
            <ac:picMk id="9" creationId="{329F3741-BB5B-4CA9-80DC-60382768BE40}"/>
          </ac:picMkLst>
        </pc:picChg>
        <pc:picChg chg="del">
          <ac:chgData name="WESLEY.TBW" userId="S::wesley.tbw_gmail.com#ext#@risebcg.onmicrosoft.com::1034df62-ee6d-4b2f-8a56-03c4406a0a8a" providerId="AD" clId="Web-{0781AC2C-9B4D-48D3-8DAF-7A5A21AEF7CE}" dt="2022-01-08T12:33:11.654" v="67"/>
          <ac:picMkLst>
            <pc:docMk/>
            <pc:sldMk cId="4084366951" sldId="318"/>
            <ac:picMk id="11" creationId="{079CE0C2-D9FF-4DFE-967B-E9EFC7681473}"/>
          </ac:picMkLst>
        </pc:picChg>
        <pc:picChg chg="del">
          <ac:chgData name="WESLEY.TBW" userId="S::wesley.tbw_gmail.com#ext#@risebcg.onmicrosoft.com::1034df62-ee6d-4b2f-8a56-03c4406a0a8a" providerId="AD" clId="Web-{0781AC2C-9B4D-48D3-8DAF-7A5A21AEF7CE}" dt="2022-01-08T12:10:00.608" v="1"/>
          <ac:picMkLst>
            <pc:docMk/>
            <pc:sldMk cId="4084366951" sldId="318"/>
            <ac:picMk id="16" creationId="{D69CAFA9-4C9E-4C9D-8063-6AB7F66A7981}"/>
          </ac:picMkLst>
        </pc:picChg>
        <pc:picChg chg="mod">
          <ac:chgData name="WESLEY.TBW" userId="S::wesley.tbw_gmail.com#ext#@risebcg.onmicrosoft.com::1034df62-ee6d-4b2f-8a56-03c4406a0a8a" providerId="AD" clId="Web-{0781AC2C-9B4D-48D3-8DAF-7A5A21AEF7CE}" dt="2022-01-08T12:10:03.296" v="3" actId="1076"/>
          <ac:picMkLst>
            <pc:docMk/>
            <pc:sldMk cId="4084366951" sldId="318"/>
            <ac:picMk id="18" creationId="{01844450-929B-4C6F-8685-6FF3118F02E2}"/>
          </ac:picMkLst>
        </pc:picChg>
        <pc:inkChg chg="add del">
          <ac:chgData name="WESLEY.TBW" userId="S::wesley.tbw_gmail.com#ext#@risebcg.onmicrosoft.com::1034df62-ee6d-4b2f-8a56-03c4406a0a8a" providerId="AD" clId="Web-{0781AC2C-9B4D-48D3-8DAF-7A5A21AEF7CE}" dt="2022-01-08T12:52:57.005" v="121"/>
          <ac:inkMkLst>
            <pc:docMk/>
            <pc:sldMk cId="4084366951" sldId="318"/>
            <ac:inkMk id="9" creationId="{8F82CD96-0B4A-459B-9447-67F6FCB00A17}"/>
          </ac:inkMkLst>
        </pc:inkChg>
        <pc:inkChg chg="add del">
          <ac:chgData name="WESLEY.TBW" userId="S::wesley.tbw_gmail.com#ext#@risebcg.onmicrosoft.com::1034df62-ee6d-4b2f-8a56-03c4406a0a8a" providerId="AD" clId="Web-{0781AC2C-9B4D-48D3-8DAF-7A5A21AEF7CE}" dt="2022-01-08T12:52:55.880" v="120"/>
          <ac:inkMkLst>
            <pc:docMk/>
            <pc:sldMk cId="4084366951" sldId="318"/>
            <ac:inkMk id="10" creationId="{B41B370B-9EB4-4D59-B187-3D40C9339EE6}"/>
          </ac:inkMkLst>
        </pc:inkChg>
        <pc:inkChg chg="add del">
          <ac:chgData name="WESLEY.TBW" userId="S::wesley.tbw_gmail.com#ext#@risebcg.onmicrosoft.com::1034df62-ee6d-4b2f-8a56-03c4406a0a8a" providerId="AD" clId="Web-{0781AC2C-9B4D-48D3-8DAF-7A5A21AEF7CE}" dt="2022-01-08T12:53:01.630" v="123"/>
          <ac:inkMkLst>
            <pc:docMk/>
            <pc:sldMk cId="4084366951" sldId="318"/>
            <ac:inkMk id="13" creationId="{EBE6E996-1632-4D61-9334-9B03E63D8278}"/>
          </ac:inkMkLst>
        </pc:inkChg>
      </pc:sldChg>
      <pc:sldChg chg="addSp delSp modSp new">
        <pc:chgData name="WESLEY.TBW" userId="S::wesley.tbw_gmail.com#ext#@risebcg.onmicrosoft.com::1034df62-ee6d-4b2f-8a56-03c4406a0a8a" providerId="AD" clId="Web-{0781AC2C-9B4D-48D3-8DAF-7A5A21AEF7CE}" dt="2022-01-08T13:55:44.953" v="680" actId="1076"/>
        <pc:sldMkLst>
          <pc:docMk/>
          <pc:sldMk cId="426360798" sldId="347"/>
        </pc:sldMkLst>
        <pc:spChg chg="mod">
          <ac:chgData name="WESLEY.TBW" userId="S::wesley.tbw_gmail.com#ext#@risebcg.onmicrosoft.com::1034df62-ee6d-4b2f-8a56-03c4406a0a8a" providerId="AD" clId="Web-{0781AC2C-9B4D-48D3-8DAF-7A5A21AEF7CE}" dt="2022-01-08T13:55:44.953" v="680" actId="1076"/>
          <ac:spMkLst>
            <pc:docMk/>
            <pc:sldMk cId="426360798" sldId="347"/>
            <ac:spMk id="2" creationId="{539C9826-9E79-4999-9783-F530944DD31E}"/>
          </ac:spMkLst>
        </pc:spChg>
        <pc:spChg chg="del">
          <ac:chgData name="WESLEY.TBW" userId="S::wesley.tbw_gmail.com#ext#@risebcg.onmicrosoft.com::1034df62-ee6d-4b2f-8a56-03c4406a0a8a" providerId="AD" clId="Web-{0781AC2C-9B4D-48D3-8DAF-7A5A21AEF7CE}" dt="2022-01-08T13:46:50.693" v="612"/>
          <ac:spMkLst>
            <pc:docMk/>
            <pc:sldMk cId="426360798" sldId="347"/>
            <ac:spMk id="3" creationId="{A254067E-EB82-44DA-A794-5BF0FF9FF8E7}"/>
          </ac:spMkLst>
        </pc:spChg>
        <pc:spChg chg="add">
          <ac:chgData name="WESLEY.TBW" userId="S::wesley.tbw_gmail.com#ext#@risebcg.onmicrosoft.com::1034df62-ee6d-4b2f-8a56-03c4406a0a8a" providerId="AD" clId="Web-{0781AC2C-9B4D-48D3-8DAF-7A5A21AEF7CE}" dt="2022-01-08T13:47:10.490" v="617"/>
          <ac:spMkLst>
            <pc:docMk/>
            <pc:sldMk cId="426360798" sldId="347"/>
            <ac:spMk id="8" creationId="{140DCEFC-B17A-4E93-BD95-F2C39BB68786}"/>
          </ac:spMkLst>
        </pc:spChg>
        <pc:spChg chg="add">
          <ac:chgData name="WESLEY.TBW" userId="S::wesley.tbw_gmail.com#ext#@risebcg.onmicrosoft.com::1034df62-ee6d-4b2f-8a56-03c4406a0a8a" providerId="AD" clId="Web-{0781AC2C-9B4D-48D3-8DAF-7A5A21AEF7CE}" dt="2022-01-08T13:47:10.490" v="617"/>
          <ac:spMkLst>
            <pc:docMk/>
            <pc:sldMk cId="426360798" sldId="347"/>
            <ac:spMk id="9" creationId="{82BDF24A-ECCC-4A3B-BA0C-529F536B1CEF}"/>
          </ac:spMkLst>
        </pc:spChg>
        <pc:grpChg chg="add del mod">
          <ac:chgData name="WESLEY.TBW" userId="S::wesley.tbw_gmail.com#ext#@risebcg.onmicrosoft.com::1034df62-ee6d-4b2f-8a56-03c4406a0a8a" providerId="AD" clId="Web-{0781AC2C-9B4D-48D3-8DAF-7A5A21AEF7CE}" dt="2022-01-08T13:47:55.866" v="626"/>
          <ac:grpSpMkLst>
            <pc:docMk/>
            <pc:sldMk cId="426360798" sldId="347"/>
            <ac:grpSpMk id="5" creationId="{0532B9A3-2CE8-47E6-92B2-6F465C10AF36}"/>
          </ac:grpSpMkLst>
        </pc:grpChg>
        <pc:picChg chg="add del mod">
          <ac:chgData name="WESLEY.TBW" userId="S::wesley.tbw_gmail.com#ext#@risebcg.onmicrosoft.com::1034df62-ee6d-4b2f-8a56-03c4406a0a8a" providerId="AD" clId="Web-{0781AC2C-9B4D-48D3-8DAF-7A5A21AEF7CE}" dt="2022-01-08T13:47:54.569" v="624"/>
          <ac:picMkLst>
            <pc:docMk/>
            <pc:sldMk cId="426360798" sldId="347"/>
            <ac:picMk id="4" creationId="{5077707B-414C-42AA-B330-0167CEF42AD3}"/>
          </ac:picMkLst>
        </pc:picChg>
        <pc:picChg chg="add del mod">
          <ac:chgData name="WESLEY.TBW" userId="S::wesley.tbw_gmail.com#ext#@risebcg.onmicrosoft.com::1034df62-ee6d-4b2f-8a56-03c4406a0a8a" providerId="AD" clId="Web-{0781AC2C-9B4D-48D3-8DAF-7A5A21AEF7CE}" dt="2022-01-08T13:47:55.225" v="625"/>
          <ac:picMkLst>
            <pc:docMk/>
            <pc:sldMk cId="426360798" sldId="347"/>
            <ac:picMk id="6" creationId="{C0B12439-C614-4DBE-98E0-19638BA3CCB5}"/>
          </ac:picMkLst>
        </pc:picChg>
        <pc:picChg chg="add">
          <ac:chgData name="WESLEY.TBW" userId="S::wesley.tbw_gmail.com#ext#@risebcg.onmicrosoft.com::1034df62-ee6d-4b2f-8a56-03c4406a0a8a" providerId="AD" clId="Web-{0781AC2C-9B4D-48D3-8DAF-7A5A21AEF7CE}" dt="2022-01-08T13:47:10.490" v="617"/>
          <ac:picMkLst>
            <pc:docMk/>
            <pc:sldMk cId="426360798" sldId="347"/>
            <ac:picMk id="7" creationId="{FA955553-C4F0-4574-B009-5E58FA251B0F}"/>
          </ac:picMkLst>
        </pc:picChg>
        <pc:picChg chg="add mod">
          <ac:chgData name="WESLEY.TBW" userId="S::wesley.tbw_gmail.com#ext#@risebcg.onmicrosoft.com::1034df62-ee6d-4b2f-8a56-03c4406a0a8a" providerId="AD" clId="Web-{0781AC2C-9B4D-48D3-8DAF-7A5A21AEF7CE}" dt="2022-01-08T13:55:41.703" v="679" actId="1076"/>
          <ac:picMkLst>
            <pc:docMk/>
            <pc:sldMk cId="426360798" sldId="347"/>
            <ac:picMk id="10" creationId="{676266AD-39DD-4C63-AC43-FBDA958C8BFA}"/>
          </ac:picMkLst>
        </pc:picChg>
      </pc:sldChg>
      <pc:sldChg chg="addSp modSp new del">
        <pc:chgData name="WESLEY.TBW" userId="S::wesley.tbw_gmail.com#ext#@risebcg.onmicrosoft.com::1034df62-ee6d-4b2f-8a56-03c4406a0a8a" providerId="AD" clId="Web-{0781AC2C-9B4D-48D3-8DAF-7A5A21AEF7CE}" dt="2022-01-08T12:51:30.503" v="117"/>
        <pc:sldMkLst>
          <pc:docMk/>
          <pc:sldMk cId="3201265486" sldId="347"/>
        </pc:sldMkLst>
        <pc:spChg chg="add mod">
          <ac:chgData name="WESLEY.TBW" userId="S::wesley.tbw_gmail.com#ext#@risebcg.onmicrosoft.com::1034df62-ee6d-4b2f-8a56-03c4406a0a8a" providerId="AD" clId="Web-{0781AC2C-9B4D-48D3-8DAF-7A5A21AEF7CE}" dt="2022-01-08T12:48:02.155" v="100"/>
          <ac:spMkLst>
            <pc:docMk/>
            <pc:sldMk cId="3201265486" sldId="347"/>
            <ac:spMk id="4" creationId="{D335345E-A5D2-4357-BA65-198E63ECAED2}"/>
          </ac:spMkLst>
        </pc:spChg>
        <pc:spChg chg="add mod">
          <ac:chgData name="WESLEY.TBW" userId="S::wesley.tbw_gmail.com#ext#@risebcg.onmicrosoft.com::1034df62-ee6d-4b2f-8a56-03c4406a0a8a" providerId="AD" clId="Web-{0781AC2C-9B4D-48D3-8DAF-7A5A21AEF7CE}" dt="2022-01-08T12:48:08.890" v="103" actId="1076"/>
          <ac:spMkLst>
            <pc:docMk/>
            <pc:sldMk cId="3201265486" sldId="347"/>
            <ac:spMk id="5" creationId="{64952840-ABA1-4113-A857-771F0C1A625B}"/>
          </ac:spMkLst>
        </pc:spChg>
        <pc:inkChg chg="add">
          <ac:chgData name="WESLEY.TBW" userId="S::wesley.tbw_gmail.com#ext#@risebcg.onmicrosoft.com::1034df62-ee6d-4b2f-8a56-03c4406a0a8a" providerId="AD" clId="Web-{0781AC2C-9B4D-48D3-8DAF-7A5A21AEF7CE}" dt="2022-01-08T12:48:21.031" v="104"/>
          <ac:inkMkLst>
            <pc:docMk/>
            <pc:sldMk cId="3201265486" sldId="347"/>
            <ac:inkMk id="6" creationId="{48D22F0D-F3C9-4336-A135-89D0B62D5D7E}"/>
          </ac:inkMkLst>
        </pc:inkChg>
        <pc:inkChg chg="add">
          <ac:chgData name="WESLEY.TBW" userId="S::wesley.tbw_gmail.com#ext#@risebcg.onmicrosoft.com::1034df62-ee6d-4b2f-8a56-03c4406a0a8a" providerId="AD" clId="Web-{0781AC2C-9B4D-48D3-8DAF-7A5A21AEF7CE}" dt="2022-01-08T12:48:22.093" v="105"/>
          <ac:inkMkLst>
            <pc:docMk/>
            <pc:sldMk cId="3201265486" sldId="347"/>
            <ac:inkMk id="7" creationId="{92538774-378A-4375-8D99-8B1FD0C60E06}"/>
          </ac:inkMkLst>
        </pc:inkChg>
        <pc:inkChg chg="add">
          <ac:chgData name="WESLEY.TBW" userId="S::wesley.tbw_gmail.com#ext#@risebcg.onmicrosoft.com::1034df62-ee6d-4b2f-8a56-03c4406a0a8a" providerId="AD" clId="Web-{0781AC2C-9B4D-48D3-8DAF-7A5A21AEF7CE}" dt="2022-01-08T12:48:26.999" v="106"/>
          <ac:inkMkLst>
            <pc:docMk/>
            <pc:sldMk cId="3201265486" sldId="347"/>
            <ac:inkMk id="8" creationId="{DE783DDB-3A91-46A1-93B0-4D9A37FE1A59}"/>
          </ac:inkMkLst>
        </pc:inkChg>
        <pc:inkChg chg="add">
          <ac:chgData name="WESLEY.TBW" userId="S::wesley.tbw_gmail.com#ext#@risebcg.onmicrosoft.com::1034df62-ee6d-4b2f-8a56-03c4406a0a8a" providerId="AD" clId="Web-{0781AC2C-9B4D-48D3-8DAF-7A5A21AEF7CE}" dt="2022-01-08T12:48:31.734" v="107"/>
          <ac:inkMkLst>
            <pc:docMk/>
            <pc:sldMk cId="3201265486" sldId="347"/>
            <ac:inkMk id="9" creationId="{6844DFCE-D259-4DB3-8800-29F2AD81BC26}"/>
          </ac:inkMkLst>
        </pc:inkChg>
        <pc:inkChg chg="add">
          <ac:chgData name="WESLEY.TBW" userId="S::wesley.tbw_gmail.com#ext#@risebcg.onmicrosoft.com::1034df62-ee6d-4b2f-8a56-03c4406a0a8a" providerId="AD" clId="Web-{0781AC2C-9B4D-48D3-8DAF-7A5A21AEF7CE}" dt="2022-01-08T12:50:46.830" v="108"/>
          <ac:inkMkLst>
            <pc:docMk/>
            <pc:sldMk cId="3201265486" sldId="347"/>
            <ac:inkMk id="10" creationId="{371B720D-0408-44FE-AF8A-1C4C541B12F1}"/>
          </ac:inkMkLst>
        </pc:inkChg>
        <pc:inkChg chg="add">
          <ac:chgData name="WESLEY.TBW" userId="S::wesley.tbw_gmail.com#ext#@risebcg.onmicrosoft.com::1034df62-ee6d-4b2f-8a56-03c4406a0a8a" providerId="AD" clId="Web-{0781AC2C-9B4D-48D3-8DAF-7A5A21AEF7CE}" dt="2022-01-08T12:51:05.112" v="109"/>
          <ac:inkMkLst>
            <pc:docMk/>
            <pc:sldMk cId="3201265486" sldId="347"/>
            <ac:inkMk id="11" creationId="{68D91E38-B19A-4C23-B821-9BFF4BAFEE9E}"/>
          </ac:inkMkLst>
        </pc:inkChg>
        <pc:inkChg chg="add">
          <ac:chgData name="WESLEY.TBW" userId="S::wesley.tbw_gmail.com#ext#@risebcg.onmicrosoft.com::1034df62-ee6d-4b2f-8a56-03c4406a0a8a" providerId="AD" clId="Web-{0781AC2C-9B4D-48D3-8DAF-7A5A21AEF7CE}" dt="2022-01-08T12:51:14.846" v="110"/>
          <ac:inkMkLst>
            <pc:docMk/>
            <pc:sldMk cId="3201265486" sldId="347"/>
            <ac:inkMk id="12" creationId="{5AF93DA5-1919-4375-802C-EBB97327B761}"/>
          </ac:inkMkLst>
        </pc:inkChg>
        <pc:inkChg chg="add">
          <ac:chgData name="WESLEY.TBW" userId="S::wesley.tbw_gmail.com#ext#@risebcg.onmicrosoft.com::1034df62-ee6d-4b2f-8a56-03c4406a0a8a" providerId="AD" clId="Web-{0781AC2C-9B4D-48D3-8DAF-7A5A21AEF7CE}" dt="2022-01-08T12:51:15.581" v="111"/>
          <ac:inkMkLst>
            <pc:docMk/>
            <pc:sldMk cId="3201265486" sldId="347"/>
            <ac:inkMk id="13" creationId="{2AE93BE0-FCF8-4080-B699-F35912D3C5B2}"/>
          </ac:inkMkLst>
        </pc:inkChg>
        <pc:inkChg chg="add">
          <ac:chgData name="WESLEY.TBW" userId="S::wesley.tbw_gmail.com#ext#@risebcg.onmicrosoft.com::1034df62-ee6d-4b2f-8a56-03c4406a0a8a" providerId="AD" clId="Web-{0781AC2C-9B4D-48D3-8DAF-7A5A21AEF7CE}" dt="2022-01-08T12:51:16.253" v="112"/>
          <ac:inkMkLst>
            <pc:docMk/>
            <pc:sldMk cId="3201265486" sldId="347"/>
            <ac:inkMk id="14" creationId="{89186AF9-D668-4847-8AEE-034C73692439}"/>
          </ac:inkMkLst>
        </pc:inkChg>
        <pc:inkChg chg="add">
          <ac:chgData name="WESLEY.TBW" userId="S::wesley.tbw_gmail.com#ext#@risebcg.onmicrosoft.com::1034df62-ee6d-4b2f-8a56-03c4406a0a8a" providerId="AD" clId="Web-{0781AC2C-9B4D-48D3-8DAF-7A5A21AEF7CE}" dt="2022-01-08T12:51:17.190" v="113"/>
          <ac:inkMkLst>
            <pc:docMk/>
            <pc:sldMk cId="3201265486" sldId="347"/>
            <ac:inkMk id="15" creationId="{F382744B-56DE-41B6-97BB-764A0F8CDBD6}"/>
          </ac:inkMkLst>
        </pc:inkChg>
        <pc:inkChg chg="add">
          <ac:chgData name="WESLEY.TBW" userId="S::wesley.tbw_gmail.com#ext#@risebcg.onmicrosoft.com::1034df62-ee6d-4b2f-8a56-03c4406a0a8a" providerId="AD" clId="Web-{0781AC2C-9B4D-48D3-8DAF-7A5A21AEF7CE}" dt="2022-01-08T12:51:17.190" v="114"/>
          <ac:inkMkLst>
            <pc:docMk/>
            <pc:sldMk cId="3201265486" sldId="347"/>
            <ac:inkMk id="16" creationId="{F8354AFF-04A6-4FBE-B7C8-06D0C57C8106}"/>
          </ac:inkMkLst>
        </pc:inkChg>
        <pc:inkChg chg="add">
          <ac:chgData name="WESLEY.TBW" userId="S::wesley.tbw_gmail.com#ext#@risebcg.onmicrosoft.com::1034df62-ee6d-4b2f-8a56-03c4406a0a8a" providerId="AD" clId="Web-{0781AC2C-9B4D-48D3-8DAF-7A5A21AEF7CE}" dt="2022-01-08T12:51:18.034" v="115"/>
          <ac:inkMkLst>
            <pc:docMk/>
            <pc:sldMk cId="3201265486" sldId="347"/>
            <ac:inkMk id="17" creationId="{1F7C0E6E-432F-4796-9E55-FBBE92338E38}"/>
          </ac:inkMkLst>
        </pc:inkChg>
        <pc:inkChg chg="add">
          <ac:chgData name="WESLEY.TBW" userId="S::wesley.tbw_gmail.com#ext#@risebcg.onmicrosoft.com::1034df62-ee6d-4b2f-8a56-03c4406a0a8a" providerId="AD" clId="Web-{0781AC2C-9B4D-48D3-8DAF-7A5A21AEF7CE}" dt="2022-01-08T12:51:18.034" v="116"/>
          <ac:inkMkLst>
            <pc:docMk/>
            <pc:sldMk cId="3201265486" sldId="347"/>
            <ac:inkMk id="18" creationId="{EBBB4658-1A4F-499C-9418-226B11E9EEC6}"/>
          </ac:inkMkLst>
        </pc:inkChg>
      </pc:sldChg>
      <pc:sldChg chg="new">
        <pc:chgData name="WESLEY.TBW" userId="S::wesley.tbw_gmail.com#ext#@risebcg.onmicrosoft.com::1034df62-ee6d-4b2f-8a56-03c4406a0a8a" providerId="AD" clId="Web-{0781AC2C-9B4D-48D3-8DAF-7A5A21AEF7CE}" dt="2022-01-08T13:46:55.427" v="614"/>
        <pc:sldMkLst>
          <pc:docMk/>
          <pc:sldMk cId="861222469" sldId="348"/>
        </pc:sldMkLst>
      </pc:sldChg>
      <pc:sldChg chg="addSp delSp modSp add replId">
        <pc:chgData name="WESLEY.TBW" userId="S::wesley.tbw_gmail.com#ext#@risebcg.onmicrosoft.com::1034df62-ee6d-4b2f-8a56-03c4406a0a8a" providerId="AD" clId="Web-{0781AC2C-9B4D-48D3-8DAF-7A5A21AEF7CE}" dt="2022-01-08T13:56:17.625" v="689" actId="14100"/>
        <pc:sldMkLst>
          <pc:docMk/>
          <pc:sldMk cId="2528704326" sldId="349"/>
        </pc:sldMkLst>
        <pc:spChg chg="mod">
          <ac:chgData name="WESLEY.TBW" userId="S::wesley.tbw_gmail.com#ext#@risebcg.onmicrosoft.com::1034df62-ee6d-4b2f-8a56-03c4406a0a8a" providerId="AD" clId="Web-{0781AC2C-9B4D-48D3-8DAF-7A5A21AEF7CE}" dt="2022-01-08T13:56:09.485" v="687" actId="14100"/>
          <ac:spMkLst>
            <pc:docMk/>
            <pc:sldMk cId="2528704326" sldId="349"/>
            <ac:spMk id="2" creationId="{539C9826-9E79-4999-9783-F530944DD31E}"/>
          </ac:spMkLst>
        </pc:spChg>
        <pc:grpChg chg="del">
          <ac:chgData name="WESLEY.TBW" userId="S::wesley.tbw_gmail.com#ext#@risebcg.onmicrosoft.com::1034df62-ee6d-4b2f-8a56-03c4406a0a8a" providerId="AD" clId="Web-{0781AC2C-9B4D-48D3-8DAF-7A5A21AEF7CE}" dt="2022-01-08T13:48:51.148" v="633"/>
          <ac:grpSpMkLst>
            <pc:docMk/>
            <pc:sldMk cId="2528704326" sldId="349"/>
            <ac:grpSpMk id="5" creationId="{0532B9A3-2CE8-47E6-92B2-6F465C10AF36}"/>
          </ac:grpSpMkLst>
        </pc:grpChg>
        <pc:picChg chg="add del mod">
          <ac:chgData name="WESLEY.TBW" userId="S::wesley.tbw_gmail.com#ext#@risebcg.onmicrosoft.com::1034df62-ee6d-4b2f-8a56-03c4406a0a8a" providerId="AD" clId="Web-{0781AC2C-9B4D-48D3-8DAF-7A5A21AEF7CE}" dt="2022-01-08T13:56:17.625" v="689" actId="14100"/>
          <ac:picMkLst>
            <pc:docMk/>
            <pc:sldMk cId="2528704326" sldId="349"/>
            <ac:picMk id="4" creationId="{5077707B-414C-42AA-B330-0167CEF42AD3}"/>
          </ac:picMkLst>
        </pc:picChg>
        <pc:picChg chg="del">
          <ac:chgData name="WESLEY.TBW" userId="S::wesley.tbw_gmail.com#ext#@risebcg.onmicrosoft.com::1034df62-ee6d-4b2f-8a56-03c4406a0a8a" providerId="AD" clId="Web-{0781AC2C-9B4D-48D3-8DAF-7A5A21AEF7CE}" dt="2022-01-08T13:48:51.148" v="632"/>
          <ac:picMkLst>
            <pc:docMk/>
            <pc:sldMk cId="2528704326" sldId="349"/>
            <ac:picMk id="6" creationId="{C0B12439-C614-4DBE-98E0-19638BA3CCB5}"/>
          </ac:picMkLst>
        </pc:picChg>
      </pc:sldChg>
      <pc:sldChg chg="addSp delSp modSp new">
        <pc:chgData name="WESLEY.TBW" userId="S::wesley.tbw_gmail.com#ext#@risebcg.onmicrosoft.com::1034df62-ee6d-4b2f-8a56-03c4406a0a8a" providerId="AD" clId="Web-{0781AC2C-9B4D-48D3-8DAF-7A5A21AEF7CE}" dt="2022-01-08T13:56:35.740" v="693" actId="1076"/>
        <pc:sldMkLst>
          <pc:docMk/>
          <pc:sldMk cId="3685283696" sldId="350"/>
        </pc:sldMkLst>
        <pc:spChg chg="del">
          <ac:chgData name="WESLEY.TBW" userId="S::wesley.tbw_gmail.com#ext#@risebcg.onmicrosoft.com::1034df62-ee6d-4b2f-8a56-03c4406a0a8a" providerId="AD" clId="Web-{0781AC2C-9B4D-48D3-8DAF-7A5A21AEF7CE}" dt="2022-01-08T13:49:24.227" v="641"/>
          <ac:spMkLst>
            <pc:docMk/>
            <pc:sldMk cId="3685283696" sldId="350"/>
            <ac:spMk id="2" creationId="{E782F4D1-DCDA-4CF4-B83D-4F17C6A30770}"/>
          </ac:spMkLst>
        </pc:spChg>
        <pc:spChg chg="del">
          <ac:chgData name="WESLEY.TBW" userId="S::wesley.tbw_gmail.com#ext#@risebcg.onmicrosoft.com::1034df62-ee6d-4b2f-8a56-03c4406a0a8a" providerId="AD" clId="Web-{0781AC2C-9B4D-48D3-8DAF-7A5A21AEF7CE}" dt="2022-01-08T13:49:11.008" v="636"/>
          <ac:spMkLst>
            <pc:docMk/>
            <pc:sldMk cId="3685283696" sldId="350"/>
            <ac:spMk id="3" creationId="{5C91E705-886E-4DA6-93E3-41961C77C8ED}"/>
          </ac:spMkLst>
        </pc:spChg>
        <pc:spChg chg="add">
          <ac:chgData name="WESLEY.TBW" userId="S::wesley.tbw_gmail.com#ext#@risebcg.onmicrosoft.com::1034df62-ee6d-4b2f-8a56-03c4406a0a8a" providerId="AD" clId="Web-{0781AC2C-9B4D-48D3-8DAF-7A5A21AEF7CE}" dt="2022-01-08T13:48:52.851" v="634"/>
          <ac:spMkLst>
            <pc:docMk/>
            <pc:sldMk cId="3685283696" sldId="350"/>
            <ac:spMk id="7" creationId="{448DCFB8-0BB7-4818-BFA7-52EE275AEB29}"/>
          </ac:spMkLst>
        </pc:spChg>
        <pc:spChg chg="add">
          <ac:chgData name="WESLEY.TBW" userId="S::wesley.tbw_gmail.com#ext#@risebcg.onmicrosoft.com::1034df62-ee6d-4b2f-8a56-03c4406a0a8a" providerId="AD" clId="Web-{0781AC2C-9B4D-48D3-8DAF-7A5A21AEF7CE}" dt="2022-01-08T13:48:52.851" v="634"/>
          <ac:spMkLst>
            <pc:docMk/>
            <pc:sldMk cId="3685283696" sldId="350"/>
            <ac:spMk id="8" creationId="{09412181-5062-449B-9180-7019A8119B2C}"/>
          </ac:spMkLst>
        </pc:spChg>
        <pc:spChg chg="add mod">
          <ac:chgData name="WESLEY.TBW" userId="S::wesley.tbw_gmail.com#ext#@risebcg.onmicrosoft.com::1034df62-ee6d-4b2f-8a56-03c4406a0a8a" providerId="AD" clId="Web-{0781AC2C-9B4D-48D3-8DAF-7A5A21AEF7CE}" dt="2022-01-08T13:56:26.563" v="690"/>
          <ac:spMkLst>
            <pc:docMk/>
            <pc:sldMk cId="3685283696" sldId="350"/>
            <ac:spMk id="10" creationId="{5867374F-5434-4E13-812F-03FB0E588491}"/>
          </ac:spMkLst>
        </pc:spChg>
        <pc:grpChg chg="add del mod">
          <ac:chgData name="WESLEY.TBW" userId="S::wesley.tbw_gmail.com#ext#@risebcg.onmicrosoft.com::1034df62-ee6d-4b2f-8a56-03c4406a0a8a" providerId="AD" clId="Web-{0781AC2C-9B4D-48D3-8DAF-7A5A21AEF7CE}" dt="2022-01-08T13:56:35.740" v="693" actId="1076"/>
          <ac:grpSpMkLst>
            <pc:docMk/>
            <pc:sldMk cId="3685283696" sldId="350"/>
            <ac:grpSpMk id="4" creationId="{94C6C106-B386-4A2E-81E6-1F3F086FEAC0}"/>
          </ac:grpSpMkLst>
        </pc:grpChg>
        <pc:picChg chg="add mod">
          <ac:chgData name="WESLEY.TBW" userId="S::wesley.tbw_gmail.com#ext#@risebcg.onmicrosoft.com::1034df62-ee6d-4b2f-8a56-03c4406a0a8a" providerId="AD" clId="Web-{0781AC2C-9B4D-48D3-8DAF-7A5A21AEF7CE}" dt="2022-01-08T13:56:33.423" v="692" actId="14100"/>
          <ac:picMkLst>
            <pc:docMk/>
            <pc:sldMk cId="3685283696" sldId="350"/>
            <ac:picMk id="5" creationId="{B95C723D-080B-423A-BEDF-8046FB191CAA}"/>
          </ac:picMkLst>
        </pc:picChg>
        <pc:picChg chg="add">
          <ac:chgData name="WESLEY.TBW" userId="S::wesley.tbw_gmail.com#ext#@risebcg.onmicrosoft.com::1034df62-ee6d-4b2f-8a56-03c4406a0a8a" providerId="AD" clId="Web-{0781AC2C-9B4D-48D3-8DAF-7A5A21AEF7CE}" dt="2022-01-08T13:48:52.851" v="634"/>
          <ac:picMkLst>
            <pc:docMk/>
            <pc:sldMk cId="3685283696" sldId="350"/>
            <ac:picMk id="6" creationId="{403F2A95-E655-4F3E-AA55-9C7C28F67C77}"/>
          </ac:picMkLst>
        </pc:picChg>
      </pc:sldChg>
      <pc:sldChg chg="addSp delSp modSp new">
        <pc:chgData name="WESLEY.TBW" userId="S::wesley.tbw_gmail.com#ext#@risebcg.onmicrosoft.com::1034df62-ee6d-4b2f-8a56-03c4406a0a8a" providerId="AD" clId="Web-{0781AC2C-9B4D-48D3-8DAF-7A5A21AEF7CE}" dt="2022-01-08T13:56:01.328" v="685" actId="1076"/>
        <pc:sldMkLst>
          <pc:docMk/>
          <pc:sldMk cId="1823296178" sldId="351"/>
        </pc:sldMkLst>
        <pc:spChg chg="del">
          <ac:chgData name="WESLEY.TBW" userId="S::wesley.tbw_gmail.com#ext#@risebcg.onmicrosoft.com::1034df62-ee6d-4b2f-8a56-03c4406a0a8a" providerId="AD" clId="Web-{0781AC2C-9B4D-48D3-8DAF-7A5A21AEF7CE}" dt="2022-01-08T13:53:01.606" v="660"/>
          <ac:spMkLst>
            <pc:docMk/>
            <pc:sldMk cId="1823296178" sldId="351"/>
            <ac:spMk id="2" creationId="{004DC5F3-DEC9-4374-94EB-F850FEC70A64}"/>
          </ac:spMkLst>
        </pc:spChg>
        <pc:spChg chg="del">
          <ac:chgData name="WESLEY.TBW" userId="S::wesley.tbw_gmail.com#ext#@risebcg.onmicrosoft.com::1034df62-ee6d-4b2f-8a56-03c4406a0a8a" providerId="AD" clId="Web-{0781AC2C-9B4D-48D3-8DAF-7A5A21AEF7CE}" dt="2022-01-08T13:53:00.262" v="659"/>
          <ac:spMkLst>
            <pc:docMk/>
            <pc:sldMk cId="1823296178" sldId="351"/>
            <ac:spMk id="3" creationId="{50036D6F-AF58-41CB-8D39-63EB8D9FC19A}"/>
          </ac:spMkLst>
        </pc:spChg>
        <pc:spChg chg="add mod">
          <ac:chgData name="WESLEY.TBW" userId="S::wesley.tbw_gmail.com#ext#@risebcg.onmicrosoft.com::1034df62-ee6d-4b2f-8a56-03c4406a0a8a" providerId="AD" clId="Web-{0781AC2C-9B4D-48D3-8DAF-7A5A21AEF7CE}" dt="2022-01-08T13:56:01.328" v="685" actId="1076"/>
          <ac:spMkLst>
            <pc:docMk/>
            <pc:sldMk cId="1823296178" sldId="351"/>
            <ac:spMk id="8" creationId="{38EF7586-1E62-49DF-BFC5-73CC01BB83D6}"/>
          </ac:spMkLst>
        </pc:spChg>
        <pc:picChg chg="add mod">
          <ac:chgData name="WESLEY.TBW" userId="S::wesley.tbw_gmail.com#ext#@risebcg.onmicrosoft.com::1034df62-ee6d-4b2f-8a56-03c4406a0a8a" providerId="AD" clId="Web-{0781AC2C-9B4D-48D3-8DAF-7A5A21AEF7CE}" dt="2022-01-08T13:55:53.500" v="683" actId="1076"/>
          <ac:picMkLst>
            <pc:docMk/>
            <pc:sldMk cId="1823296178" sldId="351"/>
            <ac:picMk id="4" creationId="{809C533A-AFC0-4A50-BB53-AD1A504EB8AA}"/>
          </ac:picMkLst>
        </pc:picChg>
        <pc:picChg chg="add del mod">
          <ac:chgData name="WESLEY.TBW" userId="S::wesley.tbw_gmail.com#ext#@risebcg.onmicrosoft.com::1034df62-ee6d-4b2f-8a56-03c4406a0a8a" providerId="AD" clId="Web-{0781AC2C-9B4D-48D3-8DAF-7A5A21AEF7CE}" dt="2022-01-08T13:54:28.264" v="668"/>
          <ac:picMkLst>
            <pc:docMk/>
            <pc:sldMk cId="1823296178" sldId="351"/>
            <ac:picMk id="5" creationId="{7F0C3A1F-2F60-48EA-8AC7-351A266EDF90}"/>
          </ac:picMkLst>
        </pc:picChg>
        <pc:picChg chg="add mod">
          <ac:chgData name="WESLEY.TBW" userId="S::wesley.tbw_gmail.com#ext#@risebcg.onmicrosoft.com::1034df62-ee6d-4b2f-8a56-03c4406a0a8a" providerId="AD" clId="Web-{0781AC2C-9B4D-48D3-8DAF-7A5A21AEF7CE}" dt="2022-01-08T13:55:56.703" v="684" actId="14100"/>
          <ac:picMkLst>
            <pc:docMk/>
            <pc:sldMk cId="1823296178" sldId="351"/>
            <ac:picMk id="6" creationId="{6A9FCBE7-1CC3-44E4-81F0-428DD3F70CFC}"/>
          </ac:picMkLst>
        </pc:picChg>
      </pc:sldChg>
      <pc:sldChg chg="addSp delSp modSp add ord replId">
        <pc:chgData name="WESLEY.TBW" userId="S::wesley.tbw_gmail.com#ext#@risebcg.onmicrosoft.com::1034df62-ee6d-4b2f-8a56-03c4406a0a8a" providerId="AD" clId="Web-{0781AC2C-9B4D-48D3-8DAF-7A5A21AEF7CE}" dt="2022-01-08T14:14:09.928" v="706" actId="1076"/>
        <pc:sldMkLst>
          <pc:docMk/>
          <pc:sldMk cId="1602317283" sldId="352"/>
        </pc:sldMkLst>
        <pc:picChg chg="add mod">
          <ac:chgData name="WESLEY.TBW" userId="S::wesley.tbw_gmail.com#ext#@risebcg.onmicrosoft.com::1034df62-ee6d-4b2f-8a56-03c4406a0a8a" providerId="AD" clId="Web-{0781AC2C-9B4D-48D3-8DAF-7A5A21AEF7CE}" dt="2022-01-08T14:14:08.349" v="705" actId="1076"/>
          <ac:picMkLst>
            <pc:docMk/>
            <pc:sldMk cId="1602317283" sldId="352"/>
            <ac:picMk id="3" creationId="{20B35CB3-36DD-49EE-954D-E122673D5070}"/>
          </ac:picMkLst>
        </pc:picChg>
        <pc:picChg chg="add mod">
          <ac:chgData name="WESLEY.TBW" userId="S::wesley.tbw_gmail.com#ext#@risebcg.onmicrosoft.com::1034df62-ee6d-4b2f-8a56-03c4406a0a8a" providerId="AD" clId="Web-{0781AC2C-9B4D-48D3-8DAF-7A5A21AEF7CE}" dt="2022-01-08T14:14:09.928" v="706" actId="1076"/>
          <ac:picMkLst>
            <pc:docMk/>
            <pc:sldMk cId="1602317283" sldId="352"/>
            <ac:picMk id="4" creationId="{77A06809-46E8-4104-8CC2-39B3E44D4271}"/>
          </ac:picMkLst>
        </pc:picChg>
        <pc:picChg chg="del">
          <ac:chgData name="WESLEY.TBW" userId="S::wesley.tbw_gmail.com#ext#@risebcg.onmicrosoft.com::1034df62-ee6d-4b2f-8a56-03c4406a0a8a" providerId="AD" clId="Web-{0781AC2C-9B4D-48D3-8DAF-7A5A21AEF7CE}" dt="2022-01-08T13:57:02.095" v="696"/>
          <ac:picMkLst>
            <pc:docMk/>
            <pc:sldMk cId="1602317283" sldId="352"/>
            <ac:picMk id="10" creationId="{676266AD-39DD-4C63-AC43-FBDA958C8BFA}"/>
          </ac:picMkLst>
        </pc:picChg>
      </pc:sldChg>
      <pc:sldChg chg="addSp delSp modSp add replId">
        <pc:chgData name="WESLEY.TBW" userId="S::wesley.tbw_gmail.com#ext#@risebcg.onmicrosoft.com::1034df62-ee6d-4b2f-8a56-03c4406a0a8a" providerId="AD" clId="Web-{0781AC2C-9B4D-48D3-8DAF-7A5A21AEF7CE}" dt="2022-01-08T14:14:38.116" v="715" actId="1076"/>
        <pc:sldMkLst>
          <pc:docMk/>
          <pc:sldMk cId="1042141491" sldId="353"/>
        </pc:sldMkLst>
        <pc:picChg chg="del">
          <ac:chgData name="WESLEY.TBW" userId="S::wesley.tbw_gmail.com#ext#@risebcg.onmicrosoft.com::1034df62-ee6d-4b2f-8a56-03c4406a0a8a" providerId="AD" clId="Web-{0781AC2C-9B4D-48D3-8DAF-7A5A21AEF7CE}" dt="2022-01-08T14:14:18.397" v="707"/>
          <ac:picMkLst>
            <pc:docMk/>
            <pc:sldMk cId="1042141491" sldId="353"/>
            <ac:picMk id="3" creationId="{20B35CB3-36DD-49EE-954D-E122673D5070}"/>
          </ac:picMkLst>
        </pc:picChg>
        <pc:picChg chg="add mod">
          <ac:chgData name="WESLEY.TBW" userId="S::wesley.tbw_gmail.com#ext#@risebcg.onmicrosoft.com::1034df62-ee6d-4b2f-8a56-03c4406a0a8a" providerId="AD" clId="Web-{0781AC2C-9B4D-48D3-8DAF-7A5A21AEF7CE}" dt="2022-01-08T14:14:38.116" v="715" actId="1076"/>
          <ac:picMkLst>
            <pc:docMk/>
            <pc:sldMk cId="1042141491" sldId="353"/>
            <ac:picMk id="4" creationId="{0633DDFD-C6E4-49AC-8FC0-3B3F14495A9E}"/>
          </ac:picMkLst>
        </pc:picChg>
        <pc:picChg chg="add mod">
          <ac:chgData name="WESLEY.TBW" userId="S::wesley.tbw_gmail.com#ext#@risebcg.onmicrosoft.com::1034df62-ee6d-4b2f-8a56-03c4406a0a8a" providerId="AD" clId="Web-{0781AC2C-9B4D-48D3-8DAF-7A5A21AEF7CE}" dt="2022-01-08T14:14:36.100" v="714" actId="1076"/>
          <ac:picMkLst>
            <pc:docMk/>
            <pc:sldMk cId="1042141491" sldId="353"/>
            <ac:picMk id="5" creationId="{3B6F7F7B-D3FB-4B64-A663-FE7B75E2A8B0}"/>
          </ac:picMkLst>
        </pc:picChg>
      </pc:sldChg>
    </pc:docChg>
  </pc:docChgLst>
  <pc:docChgLst>
    <pc:chgData name="wei yuan" userId="S::pwy_92_hotmail.com#ext#@risebcg.onmicrosoft.com::ca38e7f8-9ace-4d94-b37a-86e65e91f2b0" providerId="AD" clId="Web-{2EA7E1D5-AE21-44E4-92AE-69268DACCF94}"/>
    <pc:docChg chg="modSld">
      <pc:chgData name="wei yuan" userId="S::pwy_92_hotmail.com#ext#@risebcg.onmicrosoft.com::ca38e7f8-9ace-4d94-b37a-86e65e91f2b0" providerId="AD" clId="Web-{2EA7E1D5-AE21-44E4-92AE-69268DACCF94}" dt="2022-01-10T15:02:02.024" v="88"/>
      <pc:docMkLst>
        <pc:docMk/>
      </pc:docMkLst>
      <pc:sldChg chg="addSp delSp modSp modTransition addAnim delAnim modNotes">
        <pc:chgData name="wei yuan" userId="S::pwy_92_hotmail.com#ext#@risebcg.onmicrosoft.com::ca38e7f8-9ace-4d94-b37a-86e65e91f2b0" providerId="AD" clId="Web-{2EA7E1D5-AE21-44E4-92AE-69268DACCF94}" dt="2022-01-10T15:02:02.024" v="88"/>
        <pc:sldMkLst>
          <pc:docMk/>
          <pc:sldMk cId="1894441827" sldId="358"/>
        </pc:sldMkLst>
        <pc:spChg chg="add del mod">
          <ac:chgData name="wei yuan" userId="S::pwy_92_hotmail.com#ext#@risebcg.onmicrosoft.com::ca38e7f8-9ace-4d94-b37a-86e65e91f2b0" providerId="AD" clId="Web-{2EA7E1D5-AE21-44E4-92AE-69268DACCF94}" dt="2022-01-10T15:01:55.992" v="87" actId="1076"/>
          <ac:spMkLst>
            <pc:docMk/>
            <pc:sldMk cId="1894441827" sldId="358"/>
            <ac:spMk id="4" creationId="{BDB31FE2-9758-4877-B34F-461A9AC9F934}"/>
          </ac:spMkLst>
        </pc:spChg>
        <pc:spChg chg="add del mod">
          <ac:chgData name="wei yuan" userId="S::pwy_92_hotmail.com#ext#@risebcg.onmicrosoft.com::ca38e7f8-9ace-4d94-b37a-86e65e91f2b0" providerId="AD" clId="Web-{2EA7E1D5-AE21-44E4-92AE-69268DACCF94}" dt="2022-01-10T15:01:47.664" v="85"/>
          <ac:spMkLst>
            <pc:docMk/>
            <pc:sldMk cId="1894441827" sldId="358"/>
            <ac:spMk id="5" creationId="{95E18D23-4CC9-436B-AF75-363065E87885}"/>
          </ac:spMkLst>
        </pc:spChg>
      </pc:sldChg>
    </pc:docChg>
  </pc:docChgLst>
  <pc:docChgLst>
    <pc:chgData name="COSMOSFREN" userId="S::cosmosfren_yahoo.com#ext#@risebcg.onmicrosoft.com::5462f5f4-f618-47aa-abd8-fd504e002570" providerId="AD" clId="Web-{66309B90-B0C0-4F8C-8157-2D5E7497EB64}"/>
    <pc:docChg chg="modSld">
      <pc:chgData name="COSMOSFREN" userId="S::cosmosfren_yahoo.com#ext#@risebcg.onmicrosoft.com::5462f5f4-f618-47aa-abd8-fd504e002570" providerId="AD" clId="Web-{66309B90-B0C0-4F8C-8157-2D5E7497EB64}" dt="2022-01-11T05:28:47.309" v="43" actId="20577"/>
      <pc:docMkLst>
        <pc:docMk/>
      </pc:docMkLst>
      <pc:sldChg chg="modNotes">
        <pc:chgData name="COSMOSFREN" userId="S::cosmosfren_yahoo.com#ext#@risebcg.onmicrosoft.com::5462f5f4-f618-47aa-abd8-fd504e002570" providerId="AD" clId="Web-{66309B90-B0C0-4F8C-8157-2D5E7497EB64}" dt="2022-01-11T05:28:10.276" v="41"/>
        <pc:sldMkLst>
          <pc:docMk/>
          <pc:sldMk cId="2256265757" sldId="315"/>
        </pc:sldMkLst>
      </pc:sldChg>
      <pc:sldChg chg="modNotes">
        <pc:chgData name="COSMOSFREN" userId="S::cosmosfren_yahoo.com#ext#@risebcg.onmicrosoft.com::5462f5f4-f618-47aa-abd8-fd504e002570" providerId="AD" clId="Web-{66309B90-B0C0-4F8C-8157-2D5E7497EB64}" dt="2022-01-11T05:27:35.307" v="35"/>
        <pc:sldMkLst>
          <pc:docMk/>
          <pc:sldMk cId="2316358039" sldId="325"/>
        </pc:sldMkLst>
      </pc:sldChg>
      <pc:sldChg chg="modNotes">
        <pc:chgData name="COSMOSFREN" userId="S::cosmosfren_yahoo.com#ext#@risebcg.onmicrosoft.com::5462f5f4-f618-47aa-abd8-fd504e002570" providerId="AD" clId="Web-{66309B90-B0C0-4F8C-8157-2D5E7497EB64}" dt="2022-01-11T05:27:59.905" v="38"/>
        <pc:sldMkLst>
          <pc:docMk/>
          <pc:sldMk cId="1894441827" sldId="358"/>
        </pc:sldMkLst>
      </pc:sldChg>
      <pc:sldChg chg="modNotes">
        <pc:chgData name="COSMOSFREN" userId="S::cosmosfren_yahoo.com#ext#@risebcg.onmicrosoft.com::5462f5f4-f618-47aa-abd8-fd504e002570" providerId="AD" clId="Web-{66309B90-B0C0-4F8C-8157-2D5E7497EB64}" dt="2022-01-11T05:27:08.572" v="31"/>
        <pc:sldMkLst>
          <pc:docMk/>
          <pc:sldMk cId="531825606" sldId="383"/>
        </pc:sldMkLst>
      </pc:sldChg>
      <pc:sldChg chg="modSp">
        <pc:chgData name="COSMOSFREN" userId="S::cosmosfren_yahoo.com#ext#@risebcg.onmicrosoft.com::5462f5f4-f618-47aa-abd8-fd504e002570" providerId="AD" clId="Web-{66309B90-B0C0-4F8C-8157-2D5E7497EB64}" dt="2022-01-11T05:28:47.309" v="43" actId="20577"/>
        <pc:sldMkLst>
          <pc:docMk/>
          <pc:sldMk cId="3911111002" sldId="389"/>
        </pc:sldMkLst>
        <pc:spChg chg="mod">
          <ac:chgData name="COSMOSFREN" userId="S::cosmosfren_yahoo.com#ext#@risebcg.onmicrosoft.com::5462f5f4-f618-47aa-abd8-fd504e002570" providerId="AD" clId="Web-{66309B90-B0C0-4F8C-8157-2D5E7497EB64}" dt="2022-01-11T05:28:47.309" v="43" actId="20577"/>
          <ac:spMkLst>
            <pc:docMk/>
            <pc:sldMk cId="3911111002" sldId="389"/>
            <ac:spMk id="4" creationId="{B5093534-E4E0-4265-83EB-A4FA8D3A8C7C}"/>
          </ac:spMkLst>
        </pc:spChg>
      </pc:sldChg>
    </pc:docChg>
  </pc:docChgLst>
  <pc:docChgLst>
    <pc:chgData name="EVELYNSM.YONG" userId="S::evelynsm.yong_gmail.com#ext#@risebcg.onmicrosoft.com::67a27a72-2420-4d38-b745-316a53f4b99a" providerId="AD" clId="Web-{7DF5718C-B0A5-4DCF-ADE1-C0C81A436B81}"/>
    <pc:docChg chg="modSld">
      <pc:chgData name="EVELYNSM.YONG" userId="S::evelynsm.yong_gmail.com#ext#@risebcg.onmicrosoft.com::67a27a72-2420-4d38-b745-316a53f4b99a" providerId="AD" clId="Web-{7DF5718C-B0A5-4DCF-ADE1-C0C81A436B81}" dt="2022-01-12T07:01:01.063" v="58" actId="20577"/>
      <pc:docMkLst>
        <pc:docMk/>
      </pc:docMkLst>
      <pc:sldChg chg="modSp">
        <pc:chgData name="EVELYNSM.YONG" userId="S::evelynsm.yong_gmail.com#ext#@risebcg.onmicrosoft.com::67a27a72-2420-4d38-b745-316a53f4b99a" providerId="AD" clId="Web-{7DF5718C-B0A5-4DCF-ADE1-C0C81A436B81}" dt="2022-01-12T07:01:01.063" v="58" actId="20577"/>
        <pc:sldMkLst>
          <pc:docMk/>
          <pc:sldMk cId="3391215681" sldId="339"/>
        </pc:sldMkLst>
        <pc:spChg chg="mod">
          <ac:chgData name="EVELYNSM.YONG" userId="S::evelynsm.yong_gmail.com#ext#@risebcg.onmicrosoft.com::67a27a72-2420-4d38-b745-316a53f4b99a" providerId="AD" clId="Web-{7DF5718C-B0A5-4DCF-ADE1-C0C81A436B81}" dt="2022-01-12T06:57:02.354" v="0" actId="1076"/>
          <ac:spMkLst>
            <pc:docMk/>
            <pc:sldMk cId="3391215681" sldId="339"/>
            <ac:spMk id="49" creationId="{1A40ECD8-EC71-4C0D-A629-C5042C9FBE1B}"/>
          </ac:spMkLst>
        </pc:spChg>
        <pc:graphicFrameChg chg="modGraphic">
          <ac:chgData name="EVELYNSM.YONG" userId="S::evelynsm.yong_gmail.com#ext#@risebcg.onmicrosoft.com::67a27a72-2420-4d38-b745-316a53f4b99a" providerId="AD" clId="Web-{7DF5718C-B0A5-4DCF-ADE1-C0C81A436B81}" dt="2022-01-12T07:01:01.063" v="58" actId="20577"/>
          <ac:graphicFrameMkLst>
            <pc:docMk/>
            <pc:sldMk cId="3391215681" sldId="339"/>
            <ac:graphicFrameMk id="28" creationId="{9D58B7B4-DE29-4DDF-BB8A-729D2B705659}"/>
          </ac:graphicFrameMkLst>
        </pc:graphicFrameChg>
        <pc:picChg chg="mod">
          <ac:chgData name="EVELYNSM.YONG" userId="S::evelynsm.yong_gmail.com#ext#@risebcg.onmicrosoft.com::67a27a72-2420-4d38-b745-316a53f4b99a" providerId="AD" clId="Web-{7DF5718C-B0A5-4DCF-ADE1-C0C81A436B81}" dt="2022-01-12T06:57:04.182" v="1" actId="1076"/>
          <ac:picMkLst>
            <pc:docMk/>
            <pc:sldMk cId="3391215681" sldId="339"/>
            <ac:picMk id="1727" creationId="{4F4925B4-226E-4CE5-9A48-DF473BE5B5F7}"/>
          </ac:picMkLst>
        </pc:picChg>
        <pc:picChg chg="mod">
          <ac:chgData name="EVELYNSM.YONG" userId="S::evelynsm.yong_gmail.com#ext#@risebcg.onmicrosoft.com::67a27a72-2420-4d38-b745-316a53f4b99a" providerId="AD" clId="Web-{7DF5718C-B0A5-4DCF-ADE1-C0C81A436B81}" dt="2022-01-12T07:00:29.843" v="50" actId="1076"/>
          <ac:picMkLst>
            <pc:docMk/>
            <pc:sldMk cId="3391215681" sldId="339"/>
            <ac:picMk id="5328" creationId="{79187648-B5C6-4EDC-88C1-489201FB6DA0}"/>
          </ac:picMkLst>
        </pc:picChg>
      </pc:sldChg>
    </pc:docChg>
  </pc:docChgLst>
  <pc:docChgLst>
    <pc:chgData name="WONGYONGLIN91" userId="S::wongyonglin91_gmail.com#ext#@risebcg.onmicrosoft.com::b2d94f93-e580-4f0d-9dda-2138509d25ae" providerId="AD" clId="Web-{6EB46F44-B0FD-4B27-AAB4-3E778D6F97F8}"/>
    <pc:docChg chg="modSld">
      <pc:chgData name="WONGYONGLIN91" userId="S::wongyonglin91_gmail.com#ext#@risebcg.onmicrosoft.com::b2d94f93-e580-4f0d-9dda-2138509d25ae" providerId="AD" clId="Web-{6EB46F44-B0FD-4B27-AAB4-3E778D6F97F8}" dt="2022-01-13T04:18:50.341" v="8" actId="1076"/>
      <pc:docMkLst>
        <pc:docMk/>
      </pc:docMkLst>
      <pc:sldChg chg="modSp">
        <pc:chgData name="WONGYONGLIN91" userId="S::wongyonglin91_gmail.com#ext#@risebcg.onmicrosoft.com::b2d94f93-e580-4f0d-9dda-2138509d25ae" providerId="AD" clId="Web-{6EB46F44-B0FD-4B27-AAB4-3E778D6F97F8}" dt="2022-01-13T04:18:50.341" v="8" actId="1076"/>
        <pc:sldMkLst>
          <pc:docMk/>
          <pc:sldMk cId="3581566203" sldId="396"/>
        </pc:sldMkLst>
        <pc:spChg chg="mod">
          <ac:chgData name="WONGYONGLIN91" userId="S::wongyonglin91_gmail.com#ext#@risebcg.onmicrosoft.com::b2d94f93-e580-4f0d-9dda-2138509d25ae" providerId="AD" clId="Web-{6EB46F44-B0FD-4B27-AAB4-3E778D6F97F8}" dt="2022-01-13T04:18:39.451" v="5" actId="20577"/>
          <ac:spMkLst>
            <pc:docMk/>
            <pc:sldMk cId="3581566203" sldId="396"/>
            <ac:spMk id="10" creationId="{C7E09FAF-0290-407B-B54A-2BF23284E185}"/>
          </ac:spMkLst>
        </pc:spChg>
        <pc:spChg chg="mod">
          <ac:chgData name="WONGYONGLIN91" userId="S::wongyonglin91_gmail.com#ext#@risebcg.onmicrosoft.com::b2d94f93-e580-4f0d-9dda-2138509d25ae" providerId="AD" clId="Web-{6EB46F44-B0FD-4B27-AAB4-3E778D6F97F8}" dt="2022-01-13T04:17:42.512" v="0" actId="20577"/>
          <ac:spMkLst>
            <pc:docMk/>
            <pc:sldMk cId="3581566203" sldId="396"/>
            <ac:spMk id="12" creationId="{F05B709A-466D-402E-A9B4-4A89DE56E885}"/>
          </ac:spMkLst>
        </pc:spChg>
        <pc:spChg chg="mod">
          <ac:chgData name="WONGYONGLIN91" userId="S::wongyonglin91_gmail.com#ext#@risebcg.onmicrosoft.com::b2d94f93-e580-4f0d-9dda-2138509d25ae" providerId="AD" clId="Web-{6EB46F44-B0FD-4B27-AAB4-3E778D6F97F8}" dt="2022-01-13T04:18:44.966" v="7" actId="20577"/>
          <ac:spMkLst>
            <pc:docMk/>
            <pc:sldMk cId="3581566203" sldId="396"/>
            <ac:spMk id="13" creationId="{30AA57D7-C548-4A67-A676-80F9FD59520F}"/>
          </ac:spMkLst>
        </pc:spChg>
        <pc:picChg chg="mod">
          <ac:chgData name="WONGYONGLIN91" userId="S::wongyonglin91_gmail.com#ext#@risebcg.onmicrosoft.com::b2d94f93-e580-4f0d-9dda-2138509d25ae" providerId="AD" clId="Web-{6EB46F44-B0FD-4B27-AAB4-3E778D6F97F8}" dt="2022-01-13T04:18:50.341" v="8" actId="1076"/>
          <ac:picMkLst>
            <pc:docMk/>
            <pc:sldMk cId="3581566203" sldId="396"/>
            <ac:picMk id="2" creationId="{6BBE8389-1D25-4379-BF1C-7067429B2BEC}"/>
          </ac:picMkLst>
        </pc:picChg>
      </pc:sldChg>
    </pc:docChg>
  </pc:docChgLst>
  <pc:docChgLst>
    <pc:chgData name="wei yuan" userId="S::pwy_92_hotmail.com#ext#@risebcg.onmicrosoft.com::ca38e7f8-9ace-4d94-b37a-86e65e91f2b0" providerId="AD" clId="Web-{2A4D5C64-2682-48CF-8B48-69721A761C2C}"/>
    <pc:docChg chg="modSld">
      <pc:chgData name="wei yuan" userId="S::pwy_92_hotmail.com#ext#@risebcg.onmicrosoft.com::ca38e7f8-9ace-4d94-b37a-86e65e91f2b0" providerId="AD" clId="Web-{2A4D5C64-2682-48CF-8B48-69721A761C2C}" dt="2022-01-12T09:24:06.043" v="0"/>
      <pc:docMkLst>
        <pc:docMk/>
      </pc:docMkLst>
      <pc:sldChg chg="delSp">
        <pc:chgData name="wei yuan" userId="S::pwy_92_hotmail.com#ext#@risebcg.onmicrosoft.com::ca38e7f8-9ace-4d94-b37a-86e65e91f2b0" providerId="AD" clId="Web-{2A4D5C64-2682-48CF-8B48-69721A761C2C}" dt="2022-01-12T09:24:06.043" v="0"/>
        <pc:sldMkLst>
          <pc:docMk/>
          <pc:sldMk cId="3391215681" sldId="339"/>
        </pc:sldMkLst>
        <pc:spChg chg="del">
          <ac:chgData name="wei yuan" userId="S::pwy_92_hotmail.com#ext#@risebcg.onmicrosoft.com::ca38e7f8-9ace-4d94-b37a-86e65e91f2b0" providerId="AD" clId="Web-{2A4D5C64-2682-48CF-8B48-69721A761C2C}" dt="2022-01-12T09:24:06.043" v="0"/>
          <ac:spMkLst>
            <pc:docMk/>
            <pc:sldMk cId="3391215681" sldId="339"/>
            <ac:spMk id="19671" creationId="{172CA225-522F-4833-8F8C-990A80BD8259}"/>
          </ac:spMkLst>
        </pc:spChg>
      </pc:sldChg>
    </pc:docChg>
  </pc:docChgLst>
  <pc:docChgLst>
    <pc:chgData name="COSMOSFREN" userId="S::cosmosfren_yahoo.com#ext#@risebcg.onmicrosoft.com::5462f5f4-f618-47aa-abd8-fd504e002570" providerId="AD" clId="Web-{B2367C32-F6D3-4B00-AB58-61F5BF24A91B}"/>
    <pc:docChg chg="modSld">
      <pc:chgData name="COSMOSFREN" userId="S::cosmosfren_yahoo.com#ext#@risebcg.onmicrosoft.com::5462f5f4-f618-47aa-abd8-fd504e002570" providerId="AD" clId="Web-{B2367C32-F6D3-4B00-AB58-61F5BF24A91B}" dt="2022-01-11T03:58:41.334" v="116"/>
      <pc:docMkLst>
        <pc:docMk/>
      </pc:docMkLst>
      <pc:sldChg chg="modNotes">
        <pc:chgData name="COSMOSFREN" userId="S::cosmosfren_yahoo.com#ext#@risebcg.onmicrosoft.com::5462f5f4-f618-47aa-abd8-fd504e002570" providerId="AD" clId="Web-{B2367C32-F6D3-4B00-AB58-61F5BF24A91B}" dt="2022-01-11T03:27:04.710" v="6"/>
        <pc:sldMkLst>
          <pc:docMk/>
          <pc:sldMk cId="2067521295" sldId="323"/>
        </pc:sldMkLst>
      </pc:sldChg>
      <pc:sldChg chg="modNotes">
        <pc:chgData name="COSMOSFREN" userId="S::cosmosfren_yahoo.com#ext#@risebcg.onmicrosoft.com::5462f5f4-f618-47aa-abd8-fd504e002570" providerId="AD" clId="Web-{B2367C32-F6D3-4B00-AB58-61F5BF24A91B}" dt="2022-01-11T03:31:22.639" v="44"/>
        <pc:sldMkLst>
          <pc:docMk/>
          <pc:sldMk cId="3666302761" sldId="324"/>
        </pc:sldMkLst>
      </pc:sldChg>
      <pc:sldChg chg="modNotes">
        <pc:chgData name="COSMOSFREN" userId="S::cosmosfren_yahoo.com#ext#@risebcg.onmicrosoft.com::5462f5f4-f618-47aa-abd8-fd504e002570" providerId="AD" clId="Web-{B2367C32-F6D3-4B00-AB58-61F5BF24A91B}" dt="2022-01-11T03:58:41.334" v="116"/>
        <pc:sldMkLst>
          <pc:docMk/>
          <pc:sldMk cId="416007632" sldId="327"/>
        </pc:sldMkLst>
      </pc:sldChg>
      <pc:sldChg chg="modNotes">
        <pc:chgData name="COSMOSFREN" userId="S::cosmosfren_yahoo.com#ext#@risebcg.onmicrosoft.com::5462f5f4-f618-47aa-abd8-fd504e002570" providerId="AD" clId="Web-{B2367C32-F6D3-4B00-AB58-61F5BF24A91B}" dt="2022-01-11T03:39:49.604" v="88"/>
        <pc:sldMkLst>
          <pc:docMk/>
          <pc:sldMk cId="1894441827" sldId="358"/>
        </pc:sldMkLst>
      </pc:sldChg>
      <pc:sldChg chg="modNotes">
        <pc:chgData name="COSMOSFREN" userId="S::cosmosfren_yahoo.com#ext#@risebcg.onmicrosoft.com::5462f5f4-f618-47aa-abd8-fd504e002570" providerId="AD" clId="Web-{B2367C32-F6D3-4B00-AB58-61F5BF24A91B}" dt="2022-01-11T03:27:35.758" v="36"/>
        <pc:sldMkLst>
          <pc:docMk/>
          <pc:sldMk cId="531825606" sldId="383"/>
        </pc:sldMkLst>
      </pc:sldChg>
    </pc:docChg>
  </pc:docChgLst>
  <pc:docChgLst>
    <pc:chgData name="WESLEY.TBW" userId="S::wesley.tbw_gmail.com#ext#@risebcg.onmicrosoft.com::1034df62-ee6d-4b2f-8a56-03c4406a0a8a" providerId="AD" clId="Web-{160C156C-165D-46D5-8041-D672FCE99AA0}"/>
    <pc:docChg chg="modSld">
      <pc:chgData name="WESLEY.TBW" userId="S::wesley.tbw_gmail.com#ext#@risebcg.onmicrosoft.com::1034df62-ee6d-4b2f-8a56-03c4406a0a8a" providerId="AD" clId="Web-{160C156C-165D-46D5-8041-D672FCE99AA0}" dt="2022-01-11T05:28:17.588" v="12"/>
      <pc:docMkLst>
        <pc:docMk/>
      </pc:docMkLst>
      <pc:sldChg chg="modNotes">
        <pc:chgData name="WESLEY.TBW" userId="S::wesley.tbw_gmail.com#ext#@risebcg.onmicrosoft.com::1034df62-ee6d-4b2f-8a56-03c4406a0a8a" providerId="AD" clId="Web-{160C156C-165D-46D5-8041-D672FCE99AA0}" dt="2022-01-11T05:27:16.492" v="3"/>
        <pc:sldMkLst>
          <pc:docMk/>
          <pc:sldMk cId="2256265757" sldId="315"/>
        </pc:sldMkLst>
      </pc:sldChg>
      <pc:sldChg chg="modNotes">
        <pc:chgData name="WESLEY.TBW" userId="S::wesley.tbw_gmail.com#ext#@risebcg.onmicrosoft.com::1034df62-ee6d-4b2f-8a56-03c4406a0a8a" providerId="AD" clId="Web-{160C156C-165D-46D5-8041-D672FCE99AA0}" dt="2022-01-11T05:27:31.915" v="7"/>
        <pc:sldMkLst>
          <pc:docMk/>
          <pc:sldMk cId="4084366951" sldId="318"/>
        </pc:sldMkLst>
      </pc:sldChg>
      <pc:sldChg chg="modNotes">
        <pc:chgData name="WESLEY.TBW" userId="S::wesley.tbw_gmail.com#ext#@risebcg.onmicrosoft.com::1034df62-ee6d-4b2f-8a56-03c4406a0a8a" providerId="AD" clId="Web-{160C156C-165D-46D5-8041-D672FCE99AA0}" dt="2022-01-11T05:27:47.103" v="10"/>
        <pc:sldMkLst>
          <pc:docMk/>
          <pc:sldMk cId="1249418479" sldId="334"/>
        </pc:sldMkLst>
      </pc:sldChg>
      <pc:sldChg chg="modNotes">
        <pc:chgData name="WESLEY.TBW" userId="S::wesley.tbw_gmail.com#ext#@risebcg.onmicrosoft.com::1034df62-ee6d-4b2f-8a56-03c4406a0a8a" providerId="AD" clId="Web-{160C156C-165D-46D5-8041-D672FCE99AA0}" dt="2022-01-11T05:28:17.588" v="12"/>
        <pc:sldMkLst>
          <pc:docMk/>
          <pc:sldMk cId="4159389698" sldId="342"/>
        </pc:sldMkLst>
      </pc:sldChg>
    </pc:docChg>
  </pc:docChgLst>
  <pc:docChgLst>
    <pc:chgData name="WONGYONGLIN91" userId="S::wongyonglin91_gmail.com#ext#@risebcg.onmicrosoft.com::b2d94f93-e580-4f0d-9dda-2138509d25ae" providerId="AD" clId="Web-{C33F27BD-53F8-452E-B99E-C56CD20FCBF6}"/>
    <pc:docChg chg="modSld">
      <pc:chgData name="WONGYONGLIN91" userId="S::wongyonglin91_gmail.com#ext#@risebcg.onmicrosoft.com::b2d94f93-e580-4f0d-9dda-2138509d25ae" providerId="AD" clId="Web-{C33F27BD-53F8-452E-B99E-C56CD20FCBF6}" dt="2022-01-12T09:17:57.320" v="87" actId="20577"/>
      <pc:docMkLst>
        <pc:docMk/>
      </pc:docMkLst>
      <pc:sldChg chg="modSp modNotes">
        <pc:chgData name="WONGYONGLIN91" userId="S::wongyonglin91_gmail.com#ext#@risebcg.onmicrosoft.com::b2d94f93-e580-4f0d-9dda-2138509d25ae" providerId="AD" clId="Web-{C33F27BD-53F8-452E-B99E-C56CD20FCBF6}" dt="2022-01-12T08:26:27.480" v="70" actId="20577"/>
        <pc:sldMkLst>
          <pc:docMk/>
          <pc:sldMk cId="416007632" sldId="327"/>
        </pc:sldMkLst>
        <pc:spChg chg="mod">
          <ac:chgData name="WONGYONGLIN91" userId="S::wongyonglin91_gmail.com#ext#@risebcg.onmicrosoft.com::b2d94f93-e580-4f0d-9dda-2138509d25ae" providerId="AD" clId="Web-{C33F27BD-53F8-452E-B99E-C56CD20FCBF6}" dt="2022-01-12T08:26:27.480" v="70" actId="20577"/>
          <ac:spMkLst>
            <pc:docMk/>
            <pc:sldMk cId="416007632" sldId="327"/>
            <ac:spMk id="37" creationId="{1AA86EF9-D1F2-488E-902B-9C25FAEFDD52}"/>
          </ac:spMkLst>
        </pc:spChg>
      </pc:sldChg>
      <pc:sldChg chg="modSp">
        <pc:chgData name="WONGYONGLIN91" userId="S::wongyonglin91_gmail.com#ext#@risebcg.onmicrosoft.com::b2d94f93-e580-4f0d-9dda-2138509d25ae" providerId="AD" clId="Web-{C33F27BD-53F8-452E-B99E-C56CD20FCBF6}" dt="2022-01-12T09:17:57.320" v="87" actId="20577"/>
        <pc:sldMkLst>
          <pc:docMk/>
          <pc:sldMk cId="3391215681" sldId="339"/>
        </pc:sldMkLst>
        <pc:graphicFrameChg chg="modGraphic">
          <ac:chgData name="WONGYONGLIN91" userId="S::wongyonglin91_gmail.com#ext#@risebcg.onmicrosoft.com::b2d94f93-e580-4f0d-9dda-2138509d25ae" providerId="AD" clId="Web-{C33F27BD-53F8-452E-B99E-C56CD20FCBF6}" dt="2022-01-12T09:17:57.320" v="87" actId="20577"/>
          <ac:graphicFrameMkLst>
            <pc:docMk/>
            <pc:sldMk cId="3391215681" sldId="339"/>
            <ac:graphicFrameMk id="28" creationId="{9D58B7B4-DE29-4DDF-BB8A-729D2B705659}"/>
          </ac:graphicFrameMkLst>
        </pc:graphicFrameChg>
      </pc:sldChg>
      <pc:sldChg chg="modNotes">
        <pc:chgData name="WONGYONGLIN91" userId="S::wongyonglin91_gmail.com#ext#@risebcg.onmicrosoft.com::b2d94f93-e580-4f0d-9dda-2138509d25ae" providerId="AD" clId="Web-{C33F27BD-53F8-452E-B99E-C56CD20FCBF6}" dt="2022-01-12T08:53:05.526" v="72"/>
        <pc:sldMkLst>
          <pc:docMk/>
          <pc:sldMk cId="1894441827" sldId="358"/>
        </pc:sldMkLst>
      </pc:sldChg>
    </pc:docChg>
  </pc:docChgLst>
  <pc:docChgLst>
    <pc:chgData name="wei yuan" userId="S::pwy_92_hotmail.com#ext#@risebcg.onmicrosoft.com::ca38e7f8-9ace-4d94-b37a-86e65e91f2b0" providerId="AD" clId="Web-{7463F86D-6C44-401E-8A00-13B6FBFAE0BB}"/>
    <pc:docChg chg="modSld">
      <pc:chgData name="wei yuan" userId="S::pwy_92_hotmail.com#ext#@risebcg.onmicrosoft.com::ca38e7f8-9ace-4d94-b37a-86e65e91f2b0" providerId="AD" clId="Web-{7463F86D-6C44-401E-8A00-13B6FBFAE0BB}" dt="2022-01-10T07:37:02.071" v="233"/>
      <pc:docMkLst>
        <pc:docMk/>
      </pc:docMkLst>
      <pc:sldChg chg="delSp modNotes">
        <pc:chgData name="wei yuan" userId="S::pwy_92_hotmail.com#ext#@risebcg.onmicrosoft.com::ca38e7f8-9ace-4d94-b37a-86e65e91f2b0" providerId="AD" clId="Web-{7463F86D-6C44-401E-8A00-13B6FBFAE0BB}" dt="2022-01-10T07:37:02.071" v="233"/>
        <pc:sldMkLst>
          <pc:docMk/>
          <pc:sldMk cId="1894441827" sldId="358"/>
        </pc:sldMkLst>
        <pc:spChg chg="del">
          <ac:chgData name="wei yuan" userId="S::pwy_92_hotmail.com#ext#@risebcg.onmicrosoft.com::ca38e7f8-9ace-4d94-b37a-86e65e91f2b0" providerId="AD" clId="Web-{7463F86D-6C44-401E-8A00-13B6FBFAE0BB}" dt="2022-01-10T05:43:08.519" v="61"/>
          <ac:spMkLst>
            <pc:docMk/>
            <pc:sldMk cId="1894441827" sldId="358"/>
            <ac:spMk id="13" creationId="{E2455A5F-294A-4EA7-8956-A3DA20378328}"/>
          </ac:spMkLst>
        </pc:spChg>
      </pc:sldChg>
    </pc:docChg>
  </pc:docChgLst>
  <pc:docChgLst>
    <pc:chgData name="WONGYONGLIN91" userId="S::wongyonglin91_gmail.com#ext#@risebcg.onmicrosoft.com::b2d94f93-e580-4f0d-9dda-2138509d25ae" providerId="AD" clId="Web-{E21110DE-A6D2-4EC2-AB30-DB5F59C2FA47}"/>
    <pc:docChg chg="modSld">
      <pc:chgData name="WONGYONGLIN91" userId="S::wongyonglin91_gmail.com#ext#@risebcg.onmicrosoft.com::b2d94f93-e580-4f0d-9dda-2138509d25ae" providerId="AD" clId="Web-{E21110DE-A6D2-4EC2-AB30-DB5F59C2FA47}" dt="2022-01-12T09:29:58.366" v="21"/>
      <pc:docMkLst>
        <pc:docMk/>
      </pc:docMkLst>
      <pc:sldChg chg="modSp modNotes">
        <pc:chgData name="WONGYONGLIN91" userId="S::wongyonglin91_gmail.com#ext#@risebcg.onmicrosoft.com::b2d94f93-e580-4f0d-9dda-2138509d25ae" providerId="AD" clId="Web-{E21110DE-A6D2-4EC2-AB30-DB5F59C2FA47}" dt="2022-01-12T09:29:58.366" v="21"/>
        <pc:sldMkLst>
          <pc:docMk/>
          <pc:sldMk cId="3391215681" sldId="339"/>
        </pc:sldMkLst>
        <pc:graphicFrameChg chg="mod modGraphic">
          <ac:chgData name="WONGYONGLIN91" userId="S::wongyonglin91_gmail.com#ext#@risebcg.onmicrosoft.com::b2d94f93-e580-4f0d-9dda-2138509d25ae" providerId="AD" clId="Web-{E21110DE-A6D2-4EC2-AB30-DB5F59C2FA47}" dt="2022-01-12T09:29:26.787" v="13" actId="1076"/>
          <ac:graphicFrameMkLst>
            <pc:docMk/>
            <pc:sldMk cId="3391215681" sldId="339"/>
            <ac:graphicFrameMk id="28" creationId="{9D58B7B4-DE29-4DDF-BB8A-729D2B705659}"/>
          </ac:graphicFrameMkLst>
        </pc:graphicFrameChg>
      </pc:sldChg>
    </pc:docChg>
  </pc:docChgLst>
  <pc:docChgLst>
    <pc:chgData name="EVELYNSM.YONG" userId="S::evelynsm.yong_gmail.com#ext#@risebcg.onmicrosoft.com::67a27a72-2420-4d38-b745-316a53f4b99a" providerId="AD" clId="Web-{0883F417-7066-4F8C-84B9-A30A3FA59957}"/>
    <pc:docChg chg="addSld modSld">
      <pc:chgData name="EVELYNSM.YONG" userId="S::evelynsm.yong_gmail.com#ext#@risebcg.onmicrosoft.com::67a27a72-2420-4d38-b745-316a53f4b99a" providerId="AD" clId="Web-{0883F417-7066-4F8C-84B9-A30A3FA59957}" dt="2022-01-11T03:43:26.715" v="119"/>
      <pc:docMkLst>
        <pc:docMk/>
      </pc:docMkLst>
      <pc:sldChg chg="modNotes">
        <pc:chgData name="EVELYNSM.YONG" userId="S::evelynsm.yong_gmail.com#ext#@risebcg.onmicrosoft.com::67a27a72-2420-4d38-b745-316a53f4b99a" providerId="AD" clId="Web-{0883F417-7066-4F8C-84B9-A30A3FA59957}" dt="2022-01-11T03:43:26.715" v="119"/>
        <pc:sldMkLst>
          <pc:docMk/>
          <pc:sldMk cId="3391215681" sldId="339"/>
        </pc:sldMkLst>
      </pc:sldChg>
      <pc:sldChg chg="addSp delSp modSp new">
        <pc:chgData name="EVELYNSM.YONG" userId="S::evelynsm.yong_gmail.com#ext#@risebcg.onmicrosoft.com::67a27a72-2420-4d38-b745-316a53f4b99a" providerId="AD" clId="Web-{0883F417-7066-4F8C-84B9-A30A3FA59957}" dt="2022-01-11T03:40:58.195" v="73" actId="20577"/>
        <pc:sldMkLst>
          <pc:docMk/>
          <pc:sldMk cId="3911111002" sldId="389"/>
        </pc:sldMkLst>
        <pc:spChg chg="add del mod">
          <ac:chgData name="EVELYNSM.YONG" userId="S::evelynsm.yong_gmail.com#ext#@risebcg.onmicrosoft.com::67a27a72-2420-4d38-b745-316a53f4b99a" providerId="AD" clId="Web-{0883F417-7066-4F8C-84B9-A30A3FA59957}" dt="2022-01-11T03:39:11.910" v="20"/>
          <ac:spMkLst>
            <pc:docMk/>
            <pc:sldMk cId="3911111002" sldId="389"/>
            <ac:spMk id="2" creationId="{00C81369-4D05-442F-937D-7DCA1AED9FFD}"/>
          </ac:spMkLst>
        </pc:spChg>
        <pc:spChg chg="add mod">
          <ac:chgData name="EVELYNSM.YONG" userId="S::evelynsm.yong_gmail.com#ext#@risebcg.onmicrosoft.com::67a27a72-2420-4d38-b745-316a53f4b99a" providerId="AD" clId="Web-{0883F417-7066-4F8C-84B9-A30A3FA59957}" dt="2022-01-11T03:40:58.195" v="73" actId="20577"/>
          <ac:spMkLst>
            <pc:docMk/>
            <pc:sldMk cId="3911111002" sldId="389"/>
            <ac:spMk id="4" creationId="{B5093534-E4E0-4265-83EB-A4FA8D3A8C7C}"/>
          </ac:spMkLst>
        </pc:spChg>
        <pc:spChg chg="add del mod">
          <ac:chgData name="EVELYNSM.YONG" userId="S::evelynsm.yong_gmail.com#ext#@risebcg.onmicrosoft.com::67a27a72-2420-4d38-b745-316a53f4b99a" providerId="AD" clId="Web-{0883F417-7066-4F8C-84B9-A30A3FA59957}" dt="2022-01-11T03:40:43.429" v="71"/>
          <ac:spMkLst>
            <pc:docMk/>
            <pc:sldMk cId="3911111002" sldId="389"/>
            <ac:spMk id="5" creationId="{393E44E9-95A9-4CF7-9BAB-6394FF59121F}"/>
          </ac:spMkLst>
        </pc:spChg>
      </pc:sldChg>
    </pc:docChg>
  </pc:docChgLst>
  <pc:docChgLst>
    <pc:chgData name="COSMOSFREN" userId="S::cosmosfren_yahoo.com#ext#@risebcg.onmicrosoft.com::5462f5f4-f618-47aa-abd8-fd504e002570" providerId="AD" clId="Web-{3EB0FAEB-12AC-4A2E-B9FA-FADDBCDDECE3}"/>
    <pc:docChg chg="modSld sldOrd">
      <pc:chgData name="COSMOSFREN" userId="S::cosmosfren_yahoo.com#ext#@risebcg.onmicrosoft.com::5462f5f4-f618-47aa-abd8-fd504e002570" providerId="AD" clId="Web-{3EB0FAEB-12AC-4A2E-B9FA-FADDBCDDECE3}" dt="2022-01-09T08:51:53.917" v="1782"/>
      <pc:docMkLst>
        <pc:docMk/>
      </pc:docMkLst>
      <pc:sldChg chg="modSp modNotes">
        <pc:chgData name="COSMOSFREN" userId="S::cosmosfren_yahoo.com#ext#@risebcg.onmicrosoft.com::5462f5f4-f618-47aa-abd8-fd504e002570" providerId="AD" clId="Web-{3EB0FAEB-12AC-4A2E-B9FA-FADDBCDDECE3}" dt="2022-01-09T08:41:08.778" v="1044"/>
        <pc:sldMkLst>
          <pc:docMk/>
          <pc:sldMk cId="1960038968" sldId="302"/>
        </pc:sldMkLst>
        <pc:spChg chg="mod">
          <ac:chgData name="COSMOSFREN" userId="S::cosmosfren_yahoo.com#ext#@risebcg.onmicrosoft.com::5462f5f4-f618-47aa-abd8-fd504e002570" providerId="AD" clId="Web-{3EB0FAEB-12AC-4A2E-B9FA-FADDBCDDECE3}" dt="2022-01-09T08:40:12.011" v="1037" actId="20577"/>
          <ac:spMkLst>
            <pc:docMk/>
            <pc:sldMk cId="1960038968" sldId="302"/>
            <ac:spMk id="3" creationId="{24EA6045-D161-499A-99D8-27A9B2007106}"/>
          </ac:spMkLst>
        </pc:spChg>
        <pc:spChg chg="mod">
          <ac:chgData name="COSMOSFREN" userId="S::cosmosfren_yahoo.com#ext#@risebcg.onmicrosoft.com::5462f5f4-f618-47aa-abd8-fd504e002570" providerId="AD" clId="Web-{3EB0FAEB-12AC-4A2E-B9FA-FADDBCDDECE3}" dt="2022-01-09T07:41:10.303" v="673" actId="1076"/>
          <ac:spMkLst>
            <pc:docMk/>
            <pc:sldMk cId="1960038968" sldId="302"/>
            <ac:spMk id="5" creationId="{22119D13-7FBA-40D8-9A7E-FC8FC5756573}"/>
          </ac:spMkLst>
        </pc:spChg>
      </pc:sldChg>
      <pc:sldChg chg="modNotes">
        <pc:chgData name="COSMOSFREN" userId="S::cosmosfren_yahoo.com#ext#@risebcg.onmicrosoft.com::5462f5f4-f618-47aa-abd8-fd504e002570" providerId="AD" clId="Web-{3EB0FAEB-12AC-4A2E-B9FA-FADDBCDDECE3}" dt="2022-01-09T08:42:26.186" v="1198"/>
        <pc:sldMkLst>
          <pc:docMk/>
          <pc:sldMk cId="2067521295" sldId="323"/>
        </pc:sldMkLst>
      </pc:sldChg>
      <pc:sldChg chg="modNotes">
        <pc:chgData name="COSMOSFREN" userId="S::cosmosfren_yahoo.com#ext#@risebcg.onmicrosoft.com::5462f5f4-f618-47aa-abd8-fd504e002570" providerId="AD" clId="Web-{3EB0FAEB-12AC-4A2E-B9FA-FADDBCDDECE3}" dt="2022-01-09T08:51:53.917" v="1782"/>
        <pc:sldMkLst>
          <pc:docMk/>
          <pc:sldMk cId="416007632" sldId="327"/>
        </pc:sldMkLst>
      </pc:sldChg>
      <pc:sldChg chg="modSp ord">
        <pc:chgData name="COSMOSFREN" userId="S::cosmosfren_yahoo.com#ext#@risebcg.onmicrosoft.com::5462f5f4-f618-47aa-abd8-fd504e002570" providerId="AD" clId="Web-{3EB0FAEB-12AC-4A2E-B9FA-FADDBCDDECE3}" dt="2022-01-09T07:30:45.118" v="625"/>
        <pc:sldMkLst>
          <pc:docMk/>
          <pc:sldMk cId="2652119032" sldId="335"/>
        </pc:sldMkLst>
        <pc:spChg chg="mod">
          <ac:chgData name="COSMOSFREN" userId="S::cosmosfren_yahoo.com#ext#@risebcg.onmicrosoft.com::5462f5f4-f618-47aa-abd8-fd504e002570" providerId="AD" clId="Web-{3EB0FAEB-12AC-4A2E-B9FA-FADDBCDDECE3}" dt="2022-01-09T07:08:05.239" v="1" actId="20577"/>
          <ac:spMkLst>
            <pc:docMk/>
            <pc:sldMk cId="2652119032" sldId="335"/>
            <ac:spMk id="4" creationId="{7BCAFA08-4D06-4459-BDE0-CAB790C8CB40}"/>
          </ac:spMkLst>
        </pc:spChg>
        <pc:spChg chg="mod">
          <ac:chgData name="COSMOSFREN" userId="S::cosmosfren_yahoo.com#ext#@risebcg.onmicrosoft.com::5462f5f4-f618-47aa-abd8-fd504e002570" providerId="AD" clId="Web-{3EB0FAEB-12AC-4A2E-B9FA-FADDBCDDECE3}" dt="2022-01-09T07:08:16.380" v="3" actId="20577"/>
          <ac:spMkLst>
            <pc:docMk/>
            <pc:sldMk cId="2652119032" sldId="335"/>
            <ac:spMk id="10" creationId="{5B136050-0C52-4973-B00A-9438EBC773F2}"/>
          </ac:spMkLst>
        </pc:spChg>
      </pc:sldChg>
      <pc:sldChg chg="ord">
        <pc:chgData name="COSMOSFREN" userId="S::cosmosfren_yahoo.com#ext#@risebcg.onmicrosoft.com::5462f5f4-f618-47aa-abd8-fd504e002570" providerId="AD" clId="Web-{3EB0FAEB-12AC-4A2E-B9FA-FADDBCDDECE3}" dt="2022-01-09T07:59:20.975" v="819"/>
        <pc:sldMkLst>
          <pc:docMk/>
          <pc:sldMk cId="2538826858" sldId="336"/>
        </pc:sldMkLst>
      </pc:sldChg>
      <pc:sldChg chg="modSp">
        <pc:chgData name="COSMOSFREN" userId="S::cosmosfren_yahoo.com#ext#@risebcg.onmicrosoft.com::5462f5f4-f618-47aa-abd8-fd504e002570" providerId="AD" clId="Web-{3EB0FAEB-12AC-4A2E-B9FA-FADDBCDDECE3}" dt="2022-01-09T08:19:49.157" v="832" actId="20577"/>
        <pc:sldMkLst>
          <pc:docMk/>
          <pc:sldMk cId="3391215681" sldId="339"/>
        </pc:sldMkLst>
        <pc:spChg chg="mod">
          <ac:chgData name="COSMOSFREN" userId="S::cosmosfren_yahoo.com#ext#@risebcg.onmicrosoft.com::5462f5f4-f618-47aa-abd8-fd504e002570" providerId="AD" clId="Web-{3EB0FAEB-12AC-4A2E-B9FA-FADDBCDDECE3}" dt="2022-01-09T08:19:49.157" v="832" actId="20577"/>
          <ac:spMkLst>
            <pc:docMk/>
            <pc:sldMk cId="3391215681" sldId="339"/>
            <ac:spMk id="160" creationId="{129EBF9C-3DCE-40EC-8CFB-1CB201B252BE}"/>
          </ac:spMkLst>
        </pc:spChg>
      </pc:sldChg>
      <pc:sldChg chg="modSp">
        <pc:chgData name="COSMOSFREN" userId="S::cosmosfren_yahoo.com#ext#@risebcg.onmicrosoft.com::5462f5f4-f618-47aa-abd8-fd504e002570" providerId="AD" clId="Web-{3EB0FAEB-12AC-4A2E-B9FA-FADDBCDDECE3}" dt="2022-01-09T07:59:13.802" v="818" actId="1076"/>
        <pc:sldMkLst>
          <pc:docMk/>
          <pc:sldMk cId="4159389698" sldId="342"/>
        </pc:sldMkLst>
        <pc:spChg chg="mod">
          <ac:chgData name="COSMOSFREN" userId="S::cosmosfren_yahoo.com#ext#@risebcg.onmicrosoft.com::5462f5f4-f618-47aa-abd8-fd504e002570" providerId="AD" clId="Web-{3EB0FAEB-12AC-4A2E-B9FA-FADDBCDDECE3}" dt="2022-01-09T07:51:53.606" v="815" actId="20577"/>
          <ac:spMkLst>
            <pc:docMk/>
            <pc:sldMk cId="4159389698" sldId="342"/>
            <ac:spMk id="2" creationId="{080435EA-AD4F-4934-83BC-D5D53AFD93E9}"/>
          </ac:spMkLst>
        </pc:spChg>
        <pc:picChg chg="mod">
          <ac:chgData name="COSMOSFREN" userId="S::cosmosfren_yahoo.com#ext#@risebcg.onmicrosoft.com::5462f5f4-f618-47aa-abd8-fd504e002570" providerId="AD" clId="Web-{3EB0FAEB-12AC-4A2E-B9FA-FADDBCDDECE3}" dt="2022-01-09T07:59:13.802" v="818" actId="1076"/>
          <ac:picMkLst>
            <pc:docMk/>
            <pc:sldMk cId="4159389698" sldId="342"/>
            <ac:picMk id="8" creationId="{6B01C6A5-3C80-4889-B1DA-40342676F95C}"/>
          </ac:picMkLst>
        </pc:picChg>
      </pc:sldChg>
      <pc:sldChg chg="modSp">
        <pc:chgData name="COSMOSFREN" userId="S::cosmosfren_yahoo.com#ext#@risebcg.onmicrosoft.com::5462f5f4-f618-47aa-abd8-fd504e002570" providerId="AD" clId="Web-{3EB0FAEB-12AC-4A2E-B9FA-FADDBCDDECE3}" dt="2022-01-09T07:19:59.101" v="550" actId="1076"/>
        <pc:sldMkLst>
          <pc:docMk/>
          <pc:sldMk cId="1894441827" sldId="358"/>
        </pc:sldMkLst>
        <pc:spChg chg="mod">
          <ac:chgData name="COSMOSFREN" userId="S::cosmosfren_yahoo.com#ext#@risebcg.onmicrosoft.com::5462f5f4-f618-47aa-abd8-fd504e002570" providerId="AD" clId="Web-{3EB0FAEB-12AC-4A2E-B9FA-FADDBCDDECE3}" dt="2022-01-09T07:18:48.365" v="541" actId="1076"/>
          <ac:spMkLst>
            <pc:docMk/>
            <pc:sldMk cId="1894441827" sldId="358"/>
            <ac:spMk id="3" creationId="{2321500F-B116-49E9-B713-1C89E59A92D6}"/>
          </ac:spMkLst>
        </pc:spChg>
        <pc:spChg chg="mod">
          <ac:chgData name="COSMOSFREN" userId="S::cosmosfren_yahoo.com#ext#@risebcg.onmicrosoft.com::5462f5f4-f618-47aa-abd8-fd504e002570" providerId="AD" clId="Web-{3EB0FAEB-12AC-4A2E-B9FA-FADDBCDDECE3}" dt="2022-01-09T07:19:00.443" v="545" actId="1076"/>
          <ac:spMkLst>
            <pc:docMk/>
            <pc:sldMk cId="1894441827" sldId="358"/>
            <ac:spMk id="12" creationId="{95E46411-4A0C-41AA-9250-790D71323EA7}"/>
          </ac:spMkLst>
        </pc:spChg>
        <pc:spChg chg="mod">
          <ac:chgData name="COSMOSFREN" userId="S::cosmosfren_yahoo.com#ext#@risebcg.onmicrosoft.com::5462f5f4-f618-47aa-abd8-fd504e002570" providerId="AD" clId="Web-{3EB0FAEB-12AC-4A2E-B9FA-FADDBCDDECE3}" dt="2022-01-09T07:19:11.881" v="548" actId="1076"/>
          <ac:spMkLst>
            <pc:docMk/>
            <pc:sldMk cId="1894441827" sldId="358"/>
            <ac:spMk id="17" creationId="{815F3179-193A-4F5E-A1A9-12297C608458}"/>
          </ac:spMkLst>
        </pc:spChg>
        <pc:picChg chg="mod">
          <ac:chgData name="COSMOSFREN" userId="S::cosmosfren_yahoo.com#ext#@risebcg.onmicrosoft.com::5462f5f4-f618-47aa-abd8-fd504e002570" providerId="AD" clId="Web-{3EB0FAEB-12AC-4A2E-B9FA-FADDBCDDECE3}" dt="2022-01-09T07:18:53.599" v="543" actId="1076"/>
          <ac:picMkLst>
            <pc:docMk/>
            <pc:sldMk cId="1894441827" sldId="358"/>
            <ac:picMk id="4" creationId="{BA22EAA2-4B47-4688-9DD6-1B3E79191AAF}"/>
          </ac:picMkLst>
        </pc:picChg>
        <pc:picChg chg="mod">
          <ac:chgData name="COSMOSFREN" userId="S::cosmosfren_yahoo.com#ext#@risebcg.onmicrosoft.com::5462f5f4-f618-47aa-abd8-fd504e002570" providerId="AD" clId="Web-{3EB0FAEB-12AC-4A2E-B9FA-FADDBCDDECE3}" dt="2022-01-09T07:19:06.428" v="547" actId="1076"/>
          <ac:picMkLst>
            <pc:docMk/>
            <pc:sldMk cId="1894441827" sldId="358"/>
            <ac:picMk id="6" creationId="{5F5024CD-EB7B-49D0-9E4B-B6BFDC4F5683}"/>
          </ac:picMkLst>
        </pc:picChg>
        <pc:picChg chg="mod">
          <ac:chgData name="COSMOSFREN" userId="S::cosmosfren_yahoo.com#ext#@risebcg.onmicrosoft.com::5462f5f4-f618-47aa-abd8-fd504e002570" providerId="AD" clId="Web-{3EB0FAEB-12AC-4A2E-B9FA-FADDBCDDECE3}" dt="2022-01-09T07:19:04.303" v="546" actId="1076"/>
          <ac:picMkLst>
            <pc:docMk/>
            <pc:sldMk cId="1894441827" sldId="358"/>
            <ac:picMk id="8" creationId="{80090A9D-A882-4EB8-927C-696FEDD289AC}"/>
          </ac:picMkLst>
        </pc:picChg>
        <pc:picChg chg="mod">
          <ac:chgData name="COSMOSFREN" userId="S::cosmosfren_yahoo.com#ext#@risebcg.onmicrosoft.com::5462f5f4-f618-47aa-abd8-fd504e002570" providerId="AD" clId="Web-{3EB0FAEB-12AC-4A2E-B9FA-FADDBCDDECE3}" dt="2022-01-09T07:18:51.287" v="542" actId="1076"/>
          <ac:picMkLst>
            <pc:docMk/>
            <pc:sldMk cId="1894441827" sldId="358"/>
            <ac:picMk id="11" creationId="{BCAB455B-1F72-43F9-AE57-6EC5913938BF}"/>
          </ac:picMkLst>
        </pc:picChg>
        <pc:cxnChg chg="mod">
          <ac:chgData name="COSMOSFREN" userId="S::cosmosfren_yahoo.com#ext#@risebcg.onmicrosoft.com::5462f5f4-f618-47aa-abd8-fd504e002570" providerId="AD" clId="Web-{3EB0FAEB-12AC-4A2E-B9FA-FADDBCDDECE3}" dt="2022-01-09T07:19:59.101" v="550" actId="1076"/>
          <ac:cxnSpMkLst>
            <pc:docMk/>
            <pc:sldMk cId="1894441827" sldId="358"/>
            <ac:cxnSpMk id="5" creationId="{7650244C-E06B-41BA-A77C-2D20639EA927}"/>
          </ac:cxnSpMkLst>
        </pc:cxnChg>
      </pc:sldChg>
      <pc:sldChg chg="modSp">
        <pc:chgData name="COSMOSFREN" userId="S::cosmosfren_yahoo.com#ext#@risebcg.onmicrosoft.com::5462f5f4-f618-47aa-abd8-fd504e002570" providerId="AD" clId="Web-{3EB0FAEB-12AC-4A2E-B9FA-FADDBCDDECE3}" dt="2022-01-09T08:29:35.076" v="884" actId="20577"/>
        <pc:sldMkLst>
          <pc:docMk/>
          <pc:sldMk cId="3531645893" sldId="360"/>
        </pc:sldMkLst>
        <pc:spChg chg="mod">
          <ac:chgData name="COSMOSFREN" userId="S::cosmosfren_yahoo.com#ext#@risebcg.onmicrosoft.com::5462f5f4-f618-47aa-abd8-fd504e002570" providerId="AD" clId="Web-{3EB0FAEB-12AC-4A2E-B9FA-FADDBCDDECE3}" dt="2022-01-09T08:29:35.076" v="884" actId="20577"/>
          <ac:spMkLst>
            <pc:docMk/>
            <pc:sldMk cId="3531645893" sldId="360"/>
            <ac:spMk id="15" creationId="{EA512C5C-B61E-4EDE-A2CD-308BFA2920DA}"/>
          </ac:spMkLst>
        </pc:spChg>
      </pc:sldChg>
    </pc:docChg>
  </pc:docChgLst>
  <pc:docChgLst>
    <pc:chgData name="WESLEY.TBW" userId="S::wesley.tbw_gmail.com#ext#@risebcg.onmicrosoft.com::1034df62-ee6d-4b2f-8a56-03c4406a0a8a" providerId="AD" clId="Web-{C17ABDC1-3A95-4347-ABD6-D23CA761376E}"/>
    <pc:docChg chg="modSld">
      <pc:chgData name="WESLEY.TBW" userId="S::wesley.tbw_gmail.com#ext#@risebcg.onmicrosoft.com::1034df62-ee6d-4b2f-8a56-03c4406a0a8a" providerId="AD" clId="Web-{C17ABDC1-3A95-4347-ABD6-D23CA761376E}" dt="2022-01-10T04:10:28.089" v="18"/>
      <pc:docMkLst>
        <pc:docMk/>
      </pc:docMkLst>
      <pc:sldChg chg="addSp delSp addAnim delAnim modAnim modNotes">
        <pc:chgData name="WESLEY.TBW" userId="S::wesley.tbw_gmail.com#ext#@risebcg.onmicrosoft.com::1034df62-ee6d-4b2f-8a56-03c4406a0a8a" providerId="AD" clId="Web-{C17ABDC1-3A95-4347-ABD6-D23CA761376E}" dt="2022-01-10T04:10:28.089" v="18"/>
        <pc:sldMkLst>
          <pc:docMk/>
          <pc:sldMk cId="4159389698" sldId="342"/>
        </pc:sldMkLst>
        <pc:spChg chg="topLvl">
          <ac:chgData name="WESLEY.TBW" userId="S::wesley.tbw_gmail.com#ext#@risebcg.onmicrosoft.com::1034df62-ee6d-4b2f-8a56-03c4406a0a8a" providerId="AD" clId="Web-{C17ABDC1-3A95-4347-ABD6-D23CA761376E}" dt="2022-01-10T04:09:06.225" v="0"/>
          <ac:spMkLst>
            <pc:docMk/>
            <pc:sldMk cId="4159389698" sldId="342"/>
            <ac:spMk id="17" creationId="{6FDF350C-C97C-400B-B87D-6901DDEB82E0}"/>
          </ac:spMkLst>
        </pc:spChg>
        <pc:spChg chg="topLvl">
          <ac:chgData name="WESLEY.TBW" userId="S::wesley.tbw_gmail.com#ext#@risebcg.onmicrosoft.com::1034df62-ee6d-4b2f-8a56-03c4406a0a8a" providerId="AD" clId="Web-{C17ABDC1-3A95-4347-ABD6-D23CA761376E}" dt="2022-01-10T04:09:06.225" v="0"/>
          <ac:spMkLst>
            <pc:docMk/>
            <pc:sldMk cId="4159389698" sldId="342"/>
            <ac:spMk id="18" creationId="{3C4A1E42-C144-4D19-AD56-DC9E3BC28DA6}"/>
          </ac:spMkLst>
        </pc:spChg>
        <pc:spChg chg="topLvl">
          <ac:chgData name="WESLEY.TBW" userId="S::wesley.tbw_gmail.com#ext#@risebcg.onmicrosoft.com::1034df62-ee6d-4b2f-8a56-03c4406a0a8a" providerId="AD" clId="Web-{C17ABDC1-3A95-4347-ABD6-D23CA761376E}" dt="2022-01-10T04:09:06.225" v="0"/>
          <ac:spMkLst>
            <pc:docMk/>
            <pc:sldMk cId="4159389698" sldId="342"/>
            <ac:spMk id="23" creationId="{41AFB02C-DB44-4F3C-812B-7D52A88090A6}"/>
          </ac:spMkLst>
        </pc:spChg>
        <pc:spChg chg="topLvl">
          <ac:chgData name="WESLEY.TBW" userId="S::wesley.tbw_gmail.com#ext#@risebcg.onmicrosoft.com::1034df62-ee6d-4b2f-8a56-03c4406a0a8a" providerId="AD" clId="Web-{C17ABDC1-3A95-4347-ABD6-D23CA761376E}" dt="2022-01-10T04:09:06.225" v="0"/>
          <ac:spMkLst>
            <pc:docMk/>
            <pc:sldMk cId="4159389698" sldId="342"/>
            <ac:spMk id="24" creationId="{C02F7E63-1F01-4B53-821F-57BEDFD3D2A7}"/>
          </ac:spMkLst>
        </pc:spChg>
        <pc:spChg chg="topLvl">
          <ac:chgData name="WESLEY.TBW" userId="S::wesley.tbw_gmail.com#ext#@risebcg.onmicrosoft.com::1034df62-ee6d-4b2f-8a56-03c4406a0a8a" providerId="AD" clId="Web-{C17ABDC1-3A95-4347-ABD6-D23CA761376E}" dt="2022-01-10T04:09:06.225" v="0"/>
          <ac:spMkLst>
            <pc:docMk/>
            <pc:sldMk cId="4159389698" sldId="342"/>
            <ac:spMk id="27" creationId="{DCFD4D3C-02DB-4109-AE1E-9B21315DB83D}"/>
          </ac:spMkLst>
        </pc:spChg>
        <pc:grpChg chg="add">
          <ac:chgData name="WESLEY.TBW" userId="S::wesley.tbw_gmail.com#ext#@risebcg.onmicrosoft.com::1034df62-ee6d-4b2f-8a56-03c4406a0a8a" providerId="AD" clId="Web-{C17ABDC1-3A95-4347-ABD6-D23CA761376E}" dt="2022-01-10T04:09:22.570" v="1"/>
          <ac:grpSpMkLst>
            <pc:docMk/>
            <pc:sldMk cId="4159389698" sldId="342"/>
            <ac:grpSpMk id="3" creationId="{3C647BC6-D86E-4327-A9F1-DF57F60FD454}"/>
          </ac:grpSpMkLst>
        </pc:grpChg>
        <pc:grpChg chg="add">
          <ac:chgData name="WESLEY.TBW" userId="S::wesley.tbw_gmail.com#ext#@risebcg.onmicrosoft.com::1034df62-ee6d-4b2f-8a56-03c4406a0a8a" providerId="AD" clId="Web-{C17ABDC1-3A95-4347-ABD6-D23CA761376E}" dt="2022-01-10T04:09:36.242" v="2"/>
          <ac:grpSpMkLst>
            <pc:docMk/>
            <pc:sldMk cId="4159389698" sldId="342"/>
            <ac:grpSpMk id="6" creationId="{59B1B3B7-FA33-4D9C-A1BA-AA07B2AE00BB}"/>
          </ac:grpSpMkLst>
        </pc:grpChg>
        <pc:grpChg chg="del">
          <ac:chgData name="WESLEY.TBW" userId="S::wesley.tbw_gmail.com#ext#@risebcg.onmicrosoft.com::1034df62-ee6d-4b2f-8a56-03c4406a0a8a" providerId="AD" clId="Web-{C17ABDC1-3A95-4347-ABD6-D23CA761376E}" dt="2022-01-10T04:09:06.225" v="0"/>
          <ac:grpSpMkLst>
            <pc:docMk/>
            <pc:sldMk cId="4159389698" sldId="342"/>
            <ac:grpSpMk id="31" creationId="{76E18740-F22D-4963-BCB7-3EF1ECF50B99}"/>
          </ac:grpSpMkLst>
        </pc:grpChg>
        <pc:cxnChg chg="topLvl">
          <ac:chgData name="WESLEY.TBW" userId="S::wesley.tbw_gmail.com#ext#@risebcg.onmicrosoft.com::1034df62-ee6d-4b2f-8a56-03c4406a0a8a" providerId="AD" clId="Web-{C17ABDC1-3A95-4347-ABD6-D23CA761376E}" dt="2022-01-10T04:09:06.225" v="0"/>
          <ac:cxnSpMkLst>
            <pc:docMk/>
            <pc:sldMk cId="4159389698" sldId="342"/>
            <ac:cxnSpMk id="5" creationId="{42CC447C-FCA3-4440-AFAC-074CA9387369}"/>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11" creationId="{B100C871-1F8E-44FA-9A22-E49497F4DD19}"/>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13" creationId="{CFBA535F-E821-437D-8FB9-B7C83F0FE8CA}"/>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14" creationId="{93D321C6-8EC7-46E9-B13D-F842EC617678}"/>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15" creationId="{0F061DD2-0F3A-4495-B4F4-9E94EF93F1CE}"/>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25" creationId="{86C75B88-0208-4015-B9DF-BF70E495BB7A}"/>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26" creationId="{4264CA08-D5C3-4CB2-AD5C-F07158DF5983}"/>
          </ac:cxnSpMkLst>
        </pc:cxnChg>
      </pc:sldChg>
    </pc:docChg>
  </pc:docChgLst>
  <pc:docChgLst>
    <pc:chgData name="wei yuan" userId="S::pwy_92_hotmail.com#ext#@risebcg.onmicrosoft.com::ca38e7f8-9ace-4d94-b37a-86e65e91f2b0" providerId="AD" clId="Web-{819C4CA1-6F1E-40FB-B176-D0B36B393917}"/>
    <pc:docChg chg="modSld">
      <pc:chgData name="wei yuan" userId="S::pwy_92_hotmail.com#ext#@risebcg.onmicrosoft.com::ca38e7f8-9ace-4d94-b37a-86e65e91f2b0" providerId="AD" clId="Web-{819C4CA1-6F1E-40FB-B176-D0B36B393917}" dt="2022-01-08T12:35:43.368" v="714" actId="20577"/>
      <pc:docMkLst>
        <pc:docMk/>
      </pc:docMkLst>
      <pc:sldChg chg="addSp delSp modSp">
        <pc:chgData name="wei yuan" userId="S::pwy_92_hotmail.com#ext#@risebcg.onmicrosoft.com::ca38e7f8-9ace-4d94-b37a-86e65e91f2b0" providerId="AD" clId="Web-{819C4CA1-6F1E-40FB-B176-D0B36B393917}" dt="2022-01-08T12:35:43.368" v="714" actId="20577"/>
        <pc:sldMkLst>
          <pc:docMk/>
          <pc:sldMk cId="2316358039" sldId="325"/>
        </pc:sldMkLst>
        <pc:spChg chg="mod">
          <ac:chgData name="wei yuan" userId="S::pwy_92_hotmail.com#ext#@risebcg.onmicrosoft.com::ca38e7f8-9ace-4d94-b37a-86e65e91f2b0" providerId="AD" clId="Web-{819C4CA1-6F1E-40FB-B176-D0B36B393917}" dt="2022-01-08T12:35:43.368" v="714" actId="20577"/>
          <ac:spMkLst>
            <pc:docMk/>
            <pc:sldMk cId="2316358039" sldId="325"/>
            <ac:spMk id="9" creationId="{CE26EE87-2792-4EC3-8D5C-A7F50F434726}"/>
          </ac:spMkLst>
        </pc:spChg>
        <pc:spChg chg="add mod">
          <ac:chgData name="wei yuan" userId="S::pwy_92_hotmail.com#ext#@risebcg.onmicrosoft.com::ca38e7f8-9ace-4d94-b37a-86e65e91f2b0" providerId="AD" clId="Web-{819C4CA1-6F1E-40FB-B176-D0B36B393917}" dt="2022-01-08T12:35:19.336" v="708" actId="1076"/>
          <ac:spMkLst>
            <pc:docMk/>
            <pc:sldMk cId="2316358039" sldId="325"/>
            <ac:spMk id="11" creationId="{2EFF56F4-3D9E-4EE7-83BA-042A94F63CC3}"/>
          </ac:spMkLst>
        </pc:spChg>
        <pc:spChg chg="mod">
          <ac:chgData name="wei yuan" userId="S::pwy_92_hotmail.com#ext#@risebcg.onmicrosoft.com::ca38e7f8-9ace-4d94-b37a-86e65e91f2b0" providerId="AD" clId="Web-{819C4CA1-6F1E-40FB-B176-D0B36B393917}" dt="2022-01-08T12:35:16.555" v="707" actId="20577"/>
          <ac:spMkLst>
            <pc:docMk/>
            <pc:sldMk cId="2316358039" sldId="325"/>
            <ac:spMk id="21" creationId="{E9143E79-0358-464A-ACC6-31293226C369}"/>
          </ac:spMkLst>
        </pc:spChg>
        <pc:picChg chg="add del mod">
          <ac:chgData name="wei yuan" userId="S::pwy_92_hotmail.com#ext#@risebcg.onmicrosoft.com::ca38e7f8-9ace-4d94-b37a-86e65e91f2b0" providerId="AD" clId="Web-{819C4CA1-6F1E-40FB-B176-D0B36B393917}" dt="2022-01-08T12:30:14.659" v="362"/>
          <ac:picMkLst>
            <pc:docMk/>
            <pc:sldMk cId="2316358039" sldId="325"/>
            <ac:picMk id="4" creationId="{1EE6AA77-FDB0-48D1-BC00-D3BEA9A54F91}"/>
          </ac:picMkLst>
        </pc:picChg>
      </pc:sldChg>
      <pc:sldChg chg="addSp modSp">
        <pc:chgData name="wei yuan" userId="S::pwy_92_hotmail.com#ext#@risebcg.onmicrosoft.com::ca38e7f8-9ace-4d94-b37a-86e65e91f2b0" providerId="AD" clId="Web-{819C4CA1-6F1E-40FB-B176-D0B36B393917}" dt="2022-01-08T12:26:08.217" v="358" actId="20577"/>
        <pc:sldMkLst>
          <pc:docMk/>
          <pc:sldMk cId="2160415509" sldId="326"/>
        </pc:sldMkLst>
        <pc:spChg chg="mod">
          <ac:chgData name="wei yuan" userId="S::pwy_92_hotmail.com#ext#@risebcg.onmicrosoft.com::ca38e7f8-9ace-4d94-b37a-86e65e91f2b0" providerId="AD" clId="Web-{819C4CA1-6F1E-40FB-B176-D0B36B393917}" dt="2022-01-08T12:26:08.217" v="358" actId="20577"/>
          <ac:spMkLst>
            <pc:docMk/>
            <pc:sldMk cId="2160415509" sldId="326"/>
            <ac:spMk id="4" creationId="{215644EC-E1A2-4B5F-BA53-79EB189605EC}"/>
          </ac:spMkLst>
        </pc:spChg>
        <pc:picChg chg="add mod">
          <ac:chgData name="wei yuan" userId="S::pwy_92_hotmail.com#ext#@risebcg.onmicrosoft.com::ca38e7f8-9ace-4d94-b37a-86e65e91f2b0" providerId="AD" clId="Web-{819C4CA1-6F1E-40FB-B176-D0B36B393917}" dt="2022-01-08T12:08:05.289" v="4" actId="1076"/>
          <ac:picMkLst>
            <pc:docMk/>
            <pc:sldMk cId="2160415509" sldId="326"/>
            <ac:picMk id="5" creationId="{8D9C3E5E-0B98-4B88-BFAE-486A9BD232FA}"/>
          </ac:picMkLst>
        </pc:picChg>
      </pc:sldChg>
    </pc:docChg>
  </pc:docChgLst>
  <pc:docChgLst>
    <pc:chgData name="COSMOSFREN" userId="S::cosmosfren_yahoo.com#ext#@risebcg.onmicrosoft.com::5462f5f4-f618-47aa-abd8-fd504e002570" providerId="AD" clId="Web-{0F310872-6C40-484D-8F55-0878AF0EC2A4}"/>
    <pc:docChg chg="modSld">
      <pc:chgData name="COSMOSFREN" userId="S::cosmosfren_yahoo.com#ext#@risebcg.onmicrosoft.com::5462f5f4-f618-47aa-abd8-fd504e002570" providerId="AD" clId="Web-{0F310872-6C40-484D-8F55-0878AF0EC2A4}" dt="2022-01-13T04:03:20.865" v="443"/>
      <pc:docMkLst>
        <pc:docMk/>
      </pc:docMkLst>
      <pc:sldChg chg="modNotes">
        <pc:chgData name="COSMOSFREN" userId="S::cosmosfren_yahoo.com#ext#@risebcg.onmicrosoft.com::5462f5f4-f618-47aa-abd8-fd504e002570" providerId="AD" clId="Web-{0F310872-6C40-484D-8F55-0878AF0EC2A4}" dt="2022-01-13T03:52:17.731" v="197"/>
        <pc:sldMkLst>
          <pc:docMk/>
          <pc:sldMk cId="416007632" sldId="327"/>
        </pc:sldMkLst>
      </pc:sldChg>
      <pc:sldChg chg="modSp modNotes">
        <pc:chgData name="COSMOSFREN" userId="S::cosmosfren_yahoo.com#ext#@risebcg.onmicrosoft.com::5462f5f4-f618-47aa-abd8-fd504e002570" providerId="AD" clId="Web-{0F310872-6C40-484D-8F55-0878AF0EC2A4}" dt="2022-01-13T04:00:54.513" v="303"/>
        <pc:sldMkLst>
          <pc:docMk/>
          <pc:sldMk cId="59737257" sldId="391"/>
        </pc:sldMkLst>
        <pc:spChg chg="mod">
          <ac:chgData name="COSMOSFREN" userId="S::cosmosfren_yahoo.com#ext#@risebcg.onmicrosoft.com::5462f5f4-f618-47aa-abd8-fd504e002570" providerId="AD" clId="Web-{0F310872-6C40-484D-8F55-0878AF0EC2A4}" dt="2022-01-13T04:00:50.700" v="302" actId="20577"/>
          <ac:spMkLst>
            <pc:docMk/>
            <pc:sldMk cId="59737257" sldId="391"/>
            <ac:spMk id="160" creationId="{129EBF9C-3DCE-40EC-8CFB-1CB201B252BE}"/>
          </ac:spMkLst>
        </pc:spChg>
      </pc:sldChg>
      <pc:sldChg chg="modNotes">
        <pc:chgData name="COSMOSFREN" userId="S::cosmosfren_yahoo.com#ext#@risebcg.onmicrosoft.com::5462f5f4-f618-47aa-abd8-fd504e002570" providerId="AD" clId="Web-{0F310872-6C40-484D-8F55-0878AF0EC2A4}" dt="2022-01-13T04:03:20.865" v="443"/>
        <pc:sldMkLst>
          <pc:docMk/>
          <pc:sldMk cId="3581566203" sldId="396"/>
        </pc:sldMkLst>
      </pc:sldChg>
    </pc:docChg>
  </pc:docChgLst>
  <pc:docChgLst>
    <pc:chgData name="COSMOSFREN" userId="S::cosmosfren_yahoo.com#ext#@risebcg.onmicrosoft.com::5462f5f4-f618-47aa-abd8-fd504e002570" providerId="AD" clId="Web-{22FB8DB7-6371-41EB-A551-BB3DDECDAE5A}"/>
    <pc:docChg chg="addSld modSld sldOrd">
      <pc:chgData name="COSMOSFREN" userId="S::cosmosfren_yahoo.com#ext#@risebcg.onmicrosoft.com::5462f5f4-f618-47aa-abd8-fd504e002570" providerId="AD" clId="Web-{22FB8DB7-6371-41EB-A551-BB3DDECDAE5A}" dt="2022-01-07T15:42:26.089" v="134" actId="20577"/>
      <pc:docMkLst>
        <pc:docMk/>
      </pc:docMkLst>
      <pc:sldChg chg="modSp">
        <pc:chgData name="COSMOSFREN" userId="S::cosmosfren_yahoo.com#ext#@risebcg.onmicrosoft.com::5462f5f4-f618-47aa-abd8-fd504e002570" providerId="AD" clId="Web-{22FB8DB7-6371-41EB-A551-BB3DDECDAE5A}" dt="2022-01-07T15:38:45.160" v="9" actId="20577"/>
        <pc:sldMkLst>
          <pc:docMk/>
          <pc:sldMk cId="1249418479" sldId="334"/>
        </pc:sldMkLst>
        <pc:spChg chg="mod">
          <ac:chgData name="COSMOSFREN" userId="S::cosmosfren_yahoo.com#ext#@risebcg.onmicrosoft.com::5462f5f4-f618-47aa-abd8-fd504e002570" providerId="AD" clId="Web-{22FB8DB7-6371-41EB-A551-BB3DDECDAE5A}" dt="2022-01-07T15:38:45.160" v="9" actId="20577"/>
          <ac:spMkLst>
            <pc:docMk/>
            <pc:sldMk cId="1249418479" sldId="334"/>
            <ac:spMk id="11" creationId="{662CF00E-7074-47A1-AC23-D8720DE006B4}"/>
          </ac:spMkLst>
        </pc:spChg>
      </pc:sldChg>
      <pc:sldChg chg="addSp delSp modSp new ord">
        <pc:chgData name="COSMOSFREN" userId="S::cosmosfren_yahoo.com#ext#@risebcg.onmicrosoft.com::5462f5f4-f618-47aa-abd8-fd504e002570" providerId="AD" clId="Web-{22FB8DB7-6371-41EB-A551-BB3DDECDAE5A}" dt="2022-01-07T15:41:24.446" v="114"/>
        <pc:sldMkLst>
          <pc:docMk/>
          <pc:sldMk cId="4159389698" sldId="342"/>
        </pc:sldMkLst>
        <pc:spChg chg="mod">
          <ac:chgData name="COSMOSFREN" userId="S::cosmosfren_yahoo.com#ext#@risebcg.onmicrosoft.com::5462f5f4-f618-47aa-abd8-fd504e002570" providerId="AD" clId="Web-{22FB8DB7-6371-41EB-A551-BB3DDECDAE5A}" dt="2022-01-07T15:39:24.865" v="14" actId="20577"/>
          <ac:spMkLst>
            <pc:docMk/>
            <pc:sldMk cId="4159389698" sldId="342"/>
            <ac:spMk id="2" creationId="{080435EA-AD4F-4934-83BC-D5D53AFD93E9}"/>
          </ac:spMkLst>
        </pc:spChg>
        <pc:spChg chg="mod">
          <ac:chgData name="COSMOSFREN" userId="S::cosmosfren_yahoo.com#ext#@risebcg.onmicrosoft.com::5462f5f4-f618-47aa-abd8-fd504e002570" providerId="AD" clId="Web-{22FB8DB7-6371-41EB-A551-BB3DDECDAE5A}" dt="2022-01-07T15:41:16.290" v="113" actId="20577"/>
          <ac:spMkLst>
            <pc:docMk/>
            <pc:sldMk cId="4159389698" sldId="342"/>
            <ac:spMk id="3" creationId="{1EADC3E2-9A88-4CFF-8CDC-C7B034C116B1}"/>
          </ac:spMkLst>
        </pc:spChg>
        <pc:spChg chg="add del">
          <ac:chgData name="COSMOSFREN" userId="S::cosmosfren_yahoo.com#ext#@risebcg.onmicrosoft.com::5462f5f4-f618-47aa-abd8-fd504e002570" providerId="AD" clId="Web-{22FB8DB7-6371-41EB-A551-BB3DDECDAE5A}" dt="2022-01-07T15:41:24.446" v="114"/>
          <ac:spMkLst>
            <pc:docMk/>
            <pc:sldMk cId="4159389698" sldId="342"/>
            <ac:spMk id="4" creationId="{76C2D367-C66D-4724-8430-00E419E461DF}"/>
          </ac:spMkLst>
        </pc:spChg>
      </pc:sldChg>
      <pc:sldChg chg="modSp new">
        <pc:chgData name="COSMOSFREN" userId="S::cosmosfren_yahoo.com#ext#@risebcg.onmicrosoft.com::5462f5f4-f618-47aa-abd8-fd504e002570" providerId="AD" clId="Web-{22FB8DB7-6371-41EB-A551-BB3DDECDAE5A}" dt="2022-01-07T15:42:26.089" v="134" actId="20577"/>
        <pc:sldMkLst>
          <pc:docMk/>
          <pc:sldMk cId="2403985300" sldId="343"/>
        </pc:sldMkLst>
        <pc:spChg chg="mod">
          <ac:chgData name="COSMOSFREN" userId="S::cosmosfren_yahoo.com#ext#@risebcg.onmicrosoft.com::5462f5f4-f618-47aa-abd8-fd504e002570" providerId="AD" clId="Web-{22FB8DB7-6371-41EB-A551-BB3DDECDAE5A}" dt="2022-01-07T15:42:26.089" v="134" actId="20577"/>
          <ac:spMkLst>
            <pc:docMk/>
            <pc:sldMk cId="2403985300" sldId="343"/>
            <ac:spMk id="2" creationId="{53DDB4C4-01BA-4E62-BA0A-56A56EB4019B}"/>
          </ac:spMkLst>
        </pc:spChg>
      </pc:sldChg>
    </pc:docChg>
  </pc:docChgLst>
  <pc:docChgLst>
    <pc:chgData name="wei yuan" userId="S::pwy_92_hotmail.com#ext#@risebcg.onmicrosoft.com::ca38e7f8-9ace-4d94-b37a-86e65e91f2b0" providerId="AD" clId="Web-{DFDD5CEE-4220-4D97-8780-A131383F4A54}"/>
    <pc:docChg chg="modSld">
      <pc:chgData name="wei yuan" userId="S::pwy_92_hotmail.com#ext#@risebcg.onmicrosoft.com::ca38e7f8-9ace-4d94-b37a-86e65e91f2b0" providerId="AD" clId="Web-{DFDD5CEE-4220-4D97-8780-A131383F4A54}" dt="2022-01-08T11:59:46.481" v="703" actId="20577"/>
      <pc:docMkLst>
        <pc:docMk/>
      </pc:docMkLst>
      <pc:sldChg chg="addSp modSp">
        <pc:chgData name="wei yuan" userId="S::pwy_92_hotmail.com#ext#@risebcg.onmicrosoft.com::ca38e7f8-9ace-4d94-b37a-86e65e91f2b0" providerId="AD" clId="Web-{DFDD5CEE-4220-4D97-8780-A131383F4A54}" dt="2022-01-08T11:59:46.481" v="703" actId="20577"/>
        <pc:sldMkLst>
          <pc:docMk/>
          <pc:sldMk cId="2316358039" sldId="325"/>
        </pc:sldMkLst>
        <pc:spChg chg="mod">
          <ac:chgData name="wei yuan" userId="S::pwy_92_hotmail.com#ext#@risebcg.onmicrosoft.com::ca38e7f8-9ace-4d94-b37a-86e65e91f2b0" providerId="AD" clId="Web-{DFDD5CEE-4220-4D97-8780-A131383F4A54}" dt="2022-01-08T11:59:12.746" v="699" actId="1076"/>
          <ac:spMkLst>
            <pc:docMk/>
            <pc:sldMk cId="2316358039" sldId="325"/>
            <ac:spMk id="3" creationId="{424AF61A-30BE-4BE9-9F56-D2497C21C355}"/>
          </ac:spMkLst>
        </pc:spChg>
        <pc:spChg chg="add mod">
          <ac:chgData name="wei yuan" userId="S::pwy_92_hotmail.com#ext#@risebcg.onmicrosoft.com::ca38e7f8-9ace-4d94-b37a-86e65e91f2b0" providerId="AD" clId="Web-{DFDD5CEE-4220-4D97-8780-A131383F4A54}" dt="2022-01-08T11:59:46.481" v="703" actId="20577"/>
          <ac:spMkLst>
            <pc:docMk/>
            <pc:sldMk cId="2316358039" sldId="325"/>
            <ac:spMk id="9" creationId="{CE26EE87-2792-4EC3-8D5C-A7F50F434726}"/>
          </ac:spMkLst>
        </pc:spChg>
        <pc:spChg chg="mod">
          <ac:chgData name="wei yuan" userId="S::pwy_92_hotmail.com#ext#@risebcg.onmicrosoft.com::ca38e7f8-9ace-4d94-b37a-86e65e91f2b0" providerId="AD" clId="Web-{DFDD5CEE-4220-4D97-8780-A131383F4A54}" dt="2022-01-08T11:58:00.260" v="694" actId="1076"/>
          <ac:spMkLst>
            <pc:docMk/>
            <pc:sldMk cId="2316358039" sldId="325"/>
            <ac:spMk id="14" creationId="{3C1C8EDA-91F1-403C-A371-164289F5FB16}"/>
          </ac:spMkLst>
        </pc:spChg>
        <pc:picChg chg="mod">
          <ac:chgData name="wei yuan" userId="S::pwy_92_hotmail.com#ext#@risebcg.onmicrosoft.com::ca38e7f8-9ace-4d94-b37a-86e65e91f2b0" providerId="AD" clId="Web-{DFDD5CEE-4220-4D97-8780-A131383F4A54}" dt="2022-01-08T11:57:29.056" v="688" actId="1076"/>
          <ac:picMkLst>
            <pc:docMk/>
            <pc:sldMk cId="2316358039" sldId="325"/>
            <ac:picMk id="2" creationId="{69CF128B-0B09-4BF1-B2CA-1BA877B1F78B}"/>
          </ac:picMkLst>
        </pc:picChg>
      </pc:sldChg>
    </pc:docChg>
  </pc:docChgLst>
  <pc:docChgLst>
    <pc:chgData name="EVELYNSM.YONG" userId="S::evelynsm.yong_gmail.com#ext#@risebcg.onmicrosoft.com::67a27a72-2420-4d38-b745-316a53f4b99a" providerId="AD" clId="Web-{01D17A1B-BAE4-4F53-935B-B69E11F8410A}"/>
    <pc:docChg chg="delSld modSld">
      <pc:chgData name="EVELYNSM.YONG" userId="S::evelynsm.yong_gmail.com#ext#@risebcg.onmicrosoft.com::67a27a72-2420-4d38-b745-316a53f4b99a" providerId="AD" clId="Web-{01D17A1B-BAE4-4F53-935B-B69E11F8410A}" dt="2022-01-10T14:05:22.531" v="351"/>
      <pc:docMkLst>
        <pc:docMk/>
      </pc:docMkLst>
      <pc:sldChg chg="modSp">
        <pc:chgData name="EVELYNSM.YONG" userId="S::evelynsm.yong_gmail.com#ext#@risebcg.onmicrosoft.com::67a27a72-2420-4d38-b745-316a53f4b99a" providerId="AD" clId="Web-{01D17A1B-BAE4-4F53-935B-B69E11F8410A}" dt="2022-01-10T13:34:33.121" v="45" actId="20577"/>
        <pc:sldMkLst>
          <pc:docMk/>
          <pc:sldMk cId="2256265757" sldId="315"/>
        </pc:sldMkLst>
        <pc:graphicFrameChg chg="mod modGraphic">
          <ac:chgData name="EVELYNSM.YONG" userId="S::evelynsm.yong_gmail.com#ext#@risebcg.onmicrosoft.com::67a27a72-2420-4d38-b745-316a53f4b99a" providerId="AD" clId="Web-{01D17A1B-BAE4-4F53-935B-B69E11F8410A}" dt="2022-01-10T13:34:33.121" v="45" actId="20577"/>
          <ac:graphicFrameMkLst>
            <pc:docMk/>
            <pc:sldMk cId="2256265757" sldId="315"/>
            <ac:graphicFrameMk id="38" creationId="{2DAB4BA8-57FC-486D-A609-66F3FDCD540C}"/>
          </ac:graphicFrameMkLst>
        </pc:graphicFrameChg>
      </pc:sldChg>
      <pc:sldChg chg="modSp">
        <pc:chgData name="EVELYNSM.YONG" userId="S::evelynsm.yong_gmail.com#ext#@risebcg.onmicrosoft.com::67a27a72-2420-4d38-b745-316a53f4b99a" providerId="AD" clId="Web-{01D17A1B-BAE4-4F53-935B-B69E11F8410A}" dt="2022-01-10T13:41:47.274" v="79"/>
        <pc:sldMkLst>
          <pc:docMk/>
          <pc:sldMk cId="4084366951" sldId="318"/>
        </pc:sldMkLst>
        <pc:picChg chg="mod">
          <ac:chgData name="EVELYNSM.YONG" userId="S::evelynsm.yong_gmail.com#ext#@risebcg.onmicrosoft.com::67a27a72-2420-4d38-b745-316a53f4b99a" providerId="AD" clId="Web-{01D17A1B-BAE4-4F53-935B-B69E11F8410A}" dt="2022-01-10T13:41:47.274" v="79"/>
          <ac:picMkLst>
            <pc:docMk/>
            <pc:sldMk cId="4084366951" sldId="318"/>
            <ac:picMk id="2" creationId="{A614BDB2-A87C-4D6E-B961-198BF7854FE2}"/>
          </ac:picMkLst>
        </pc:picChg>
        <pc:picChg chg="mod">
          <ac:chgData name="EVELYNSM.YONG" userId="S::evelynsm.yong_gmail.com#ext#@risebcg.onmicrosoft.com::67a27a72-2420-4d38-b745-316a53f4b99a" providerId="AD" clId="Web-{01D17A1B-BAE4-4F53-935B-B69E11F8410A}" dt="2022-01-10T13:40:28.225" v="72"/>
          <ac:picMkLst>
            <pc:docMk/>
            <pc:sldMk cId="4084366951" sldId="318"/>
            <ac:picMk id="18" creationId="{01844450-929B-4C6F-8685-6FF3118F02E2}"/>
          </ac:picMkLst>
        </pc:picChg>
      </pc:sldChg>
      <pc:sldChg chg="modSp">
        <pc:chgData name="EVELYNSM.YONG" userId="S::evelynsm.yong_gmail.com#ext#@risebcg.onmicrosoft.com::67a27a72-2420-4d38-b745-316a53f4b99a" providerId="AD" clId="Web-{01D17A1B-BAE4-4F53-935B-B69E11F8410A}" dt="2022-01-10T13:39:16.660" v="58"/>
        <pc:sldMkLst>
          <pc:docMk/>
          <pc:sldMk cId="3666302761" sldId="324"/>
        </pc:sldMkLst>
        <pc:picChg chg="mod">
          <ac:chgData name="EVELYNSM.YONG" userId="S::evelynsm.yong_gmail.com#ext#@risebcg.onmicrosoft.com::67a27a72-2420-4d38-b745-316a53f4b99a" providerId="AD" clId="Web-{01D17A1B-BAE4-4F53-935B-B69E11F8410A}" dt="2022-01-10T13:39:16.660" v="58"/>
          <ac:picMkLst>
            <pc:docMk/>
            <pc:sldMk cId="3666302761" sldId="324"/>
            <ac:picMk id="15" creationId="{5D59DB1C-172C-47ED-95FD-1E3F001466CE}"/>
          </ac:picMkLst>
        </pc:picChg>
      </pc:sldChg>
      <pc:sldChg chg="modSp">
        <pc:chgData name="EVELYNSM.YONG" userId="S::evelynsm.yong_gmail.com#ext#@risebcg.onmicrosoft.com::67a27a72-2420-4d38-b745-316a53f4b99a" providerId="AD" clId="Web-{01D17A1B-BAE4-4F53-935B-B69E11F8410A}" dt="2022-01-10T13:39:46.052" v="68"/>
        <pc:sldMkLst>
          <pc:docMk/>
          <pc:sldMk cId="2316358039" sldId="325"/>
        </pc:sldMkLst>
        <pc:picChg chg="mod">
          <ac:chgData name="EVELYNSM.YONG" userId="S::evelynsm.yong_gmail.com#ext#@risebcg.onmicrosoft.com::67a27a72-2420-4d38-b745-316a53f4b99a" providerId="AD" clId="Web-{01D17A1B-BAE4-4F53-935B-B69E11F8410A}" dt="2022-01-10T13:39:46.052" v="68"/>
          <ac:picMkLst>
            <pc:docMk/>
            <pc:sldMk cId="2316358039" sldId="325"/>
            <ac:picMk id="2" creationId="{69CF128B-0B09-4BF1-B2CA-1BA877B1F78B}"/>
          </ac:picMkLst>
        </pc:picChg>
      </pc:sldChg>
      <pc:sldChg chg="modSp">
        <pc:chgData name="EVELYNSM.YONG" userId="S::evelynsm.yong_gmail.com#ext#@risebcg.onmicrosoft.com::67a27a72-2420-4d38-b745-316a53f4b99a" providerId="AD" clId="Web-{01D17A1B-BAE4-4F53-935B-B69E11F8410A}" dt="2022-01-10T13:39:37.630" v="67" actId="1076"/>
        <pc:sldMkLst>
          <pc:docMk/>
          <pc:sldMk cId="2160415509" sldId="326"/>
        </pc:sldMkLst>
        <pc:spChg chg="mod">
          <ac:chgData name="EVELYNSM.YONG" userId="S::evelynsm.yong_gmail.com#ext#@risebcg.onmicrosoft.com::67a27a72-2420-4d38-b745-316a53f4b99a" providerId="AD" clId="Web-{01D17A1B-BAE4-4F53-935B-B69E11F8410A}" dt="2022-01-10T13:39:34.223" v="64" actId="1076"/>
          <ac:spMkLst>
            <pc:docMk/>
            <pc:sldMk cId="2160415509" sldId="326"/>
            <ac:spMk id="3" creationId="{A06E2C6C-AA2D-4DBA-B448-457815C4CAD3}"/>
          </ac:spMkLst>
        </pc:spChg>
        <pc:spChg chg="mod">
          <ac:chgData name="EVELYNSM.YONG" userId="S::evelynsm.yong_gmail.com#ext#@risebcg.onmicrosoft.com::67a27a72-2420-4d38-b745-316a53f4b99a" providerId="AD" clId="Web-{01D17A1B-BAE4-4F53-935B-B69E11F8410A}" dt="2022-01-10T13:39:37.630" v="67" actId="1076"/>
          <ac:spMkLst>
            <pc:docMk/>
            <pc:sldMk cId="2160415509" sldId="326"/>
            <ac:spMk id="4" creationId="{215644EC-E1A2-4B5F-BA53-79EB189605EC}"/>
          </ac:spMkLst>
        </pc:spChg>
        <pc:spChg chg="mod">
          <ac:chgData name="EVELYNSM.YONG" userId="S::evelynsm.yong_gmail.com#ext#@risebcg.onmicrosoft.com::67a27a72-2420-4d38-b745-316a53f4b99a" providerId="AD" clId="Web-{01D17A1B-BAE4-4F53-935B-B69E11F8410A}" dt="2022-01-10T13:39:34.208" v="63" actId="1076"/>
          <ac:spMkLst>
            <pc:docMk/>
            <pc:sldMk cId="2160415509" sldId="326"/>
            <ac:spMk id="7" creationId="{EE72E06D-8EAE-4242-B1FE-DB5A60BCC68C}"/>
          </ac:spMkLst>
        </pc:spChg>
        <pc:spChg chg="mod">
          <ac:chgData name="EVELYNSM.YONG" userId="S::evelynsm.yong_gmail.com#ext#@risebcg.onmicrosoft.com::67a27a72-2420-4d38-b745-316a53f4b99a" providerId="AD" clId="Web-{01D17A1B-BAE4-4F53-935B-B69E11F8410A}" dt="2022-01-10T13:39:34.223" v="65" actId="1076"/>
          <ac:spMkLst>
            <pc:docMk/>
            <pc:sldMk cId="2160415509" sldId="326"/>
            <ac:spMk id="10" creationId="{F403E5AA-CAF9-429E-AF8A-D6CAE94AE104}"/>
          </ac:spMkLst>
        </pc:spChg>
        <pc:spChg chg="mod">
          <ac:chgData name="EVELYNSM.YONG" userId="S::evelynsm.yong_gmail.com#ext#@risebcg.onmicrosoft.com::67a27a72-2420-4d38-b745-316a53f4b99a" providerId="AD" clId="Web-{01D17A1B-BAE4-4F53-935B-B69E11F8410A}" dt="2022-01-10T13:39:34.239" v="66" actId="1076"/>
          <ac:spMkLst>
            <pc:docMk/>
            <pc:sldMk cId="2160415509" sldId="326"/>
            <ac:spMk id="12" creationId="{E8C9A459-A11F-4DB3-BC61-E14A0DC903CB}"/>
          </ac:spMkLst>
        </pc:spChg>
        <pc:picChg chg="mod">
          <ac:chgData name="EVELYNSM.YONG" userId="S::evelynsm.yong_gmail.com#ext#@risebcg.onmicrosoft.com::67a27a72-2420-4d38-b745-316a53f4b99a" providerId="AD" clId="Web-{01D17A1B-BAE4-4F53-935B-B69E11F8410A}" dt="2022-01-10T13:39:34.192" v="62" actId="1076"/>
          <ac:picMkLst>
            <pc:docMk/>
            <pc:sldMk cId="2160415509" sldId="326"/>
            <ac:picMk id="6" creationId="{BFC712DB-8FC7-4ACB-AF6D-D3D38470A4A2}"/>
          </ac:picMkLst>
        </pc:picChg>
      </pc:sldChg>
      <pc:sldChg chg="addSp delSp modSp delAnim">
        <pc:chgData name="EVELYNSM.YONG" userId="S::evelynsm.yong_gmail.com#ext#@risebcg.onmicrosoft.com::67a27a72-2420-4d38-b745-316a53f4b99a" providerId="AD" clId="Web-{01D17A1B-BAE4-4F53-935B-B69E11F8410A}" dt="2022-01-10T14:00:31.960" v="331" actId="1076"/>
        <pc:sldMkLst>
          <pc:docMk/>
          <pc:sldMk cId="416007632" sldId="327"/>
        </pc:sldMkLst>
        <pc:spChg chg="del">
          <ac:chgData name="EVELYNSM.YONG" userId="S::evelynsm.yong_gmail.com#ext#@risebcg.onmicrosoft.com::67a27a72-2420-4d38-b745-316a53f4b99a" providerId="AD" clId="Web-{01D17A1B-BAE4-4F53-935B-B69E11F8410A}" dt="2022-01-10T13:56:40.266" v="245"/>
          <ac:spMkLst>
            <pc:docMk/>
            <pc:sldMk cId="416007632" sldId="327"/>
            <ac:spMk id="3" creationId="{D007FF1E-895C-4A21-8D3B-FDC1BD41CEEA}"/>
          </ac:spMkLst>
        </pc:spChg>
        <pc:spChg chg="mod">
          <ac:chgData name="EVELYNSM.YONG" userId="S::evelynsm.yong_gmail.com#ext#@risebcg.onmicrosoft.com::67a27a72-2420-4d38-b745-316a53f4b99a" providerId="AD" clId="Web-{01D17A1B-BAE4-4F53-935B-B69E11F8410A}" dt="2022-01-10T13:59:43.381" v="305" actId="1076"/>
          <ac:spMkLst>
            <pc:docMk/>
            <pc:sldMk cId="416007632" sldId="327"/>
            <ac:spMk id="4" creationId="{F2781DB5-90E2-4089-BA07-2F83778C3F07}"/>
          </ac:spMkLst>
        </pc:spChg>
        <pc:spChg chg="mod">
          <ac:chgData name="EVELYNSM.YONG" userId="S::evelynsm.yong_gmail.com#ext#@risebcg.onmicrosoft.com::67a27a72-2420-4d38-b745-316a53f4b99a" providerId="AD" clId="Web-{01D17A1B-BAE4-4F53-935B-B69E11F8410A}" dt="2022-01-10T13:59:43.412" v="306" actId="1076"/>
          <ac:spMkLst>
            <pc:docMk/>
            <pc:sldMk cId="416007632" sldId="327"/>
            <ac:spMk id="5" creationId="{AA1B9715-B961-42AF-90C9-79A87F13D1B8}"/>
          </ac:spMkLst>
        </pc:spChg>
        <pc:spChg chg="add mod">
          <ac:chgData name="EVELYNSM.YONG" userId="S::evelynsm.yong_gmail.com#ext#@risebcg.onmicrosoft.com::67a27a72-2420-4d38-b745-316a53f4b99a" providerId="AD" clId="Web-{01D17A1B-BAE4-4F53-935B-B69E11F8410A}" dt="2022-01-10T14:00:31.960" v="331" actId="1076"/>
          <ac:spMkLst>
            <pc:docMk/>
            <pc:sldMk cId="416007632" sldId="327"/>
            <ac:spMk id="6" creationId="{6CA25206-3BE3-4E79-8C96-46DAFD7B69D2}"/>
          </ac:spMkLst>
        </pc:spChg>
        <pc:spChg chg="mod">
          <ac:chgData name="EVELYNSM.YONG" userId="S::evelynsm.yong_gmail.com#ext#@risebcg.onmicrosoft.com::67a27a72-2420-4d38-b745-316a53f4b99a" providerId="AD" clId="Web-{01D17A1B-BAE4-4F53-935B-B69E11F8410A}" dt="2022-01-10T13:59:43.459" v="309" actId="1076"/>
          <ac:spMkLst>
            <pc:docMk/>
            <pc:sldMk cId="416007632" sldId="327"/>
            <ac:spMk id="10" creationId="{6903E9BF-EB5F-4900-A7C3-8046B86C2485}"/>
          </ac:spMkLst>
        </pc:spChg>
        <pc:spChg chg="mod">
          <ac:chgData name="EVELYNSM.YONG" userId="S::evelynsm.yong_gmail.com#ext#@risebcg.onmicrosoft.com::67a27a72-2420-4d38-b745-316a53f4b99a" providerId="AD" clId="Web-{01D17A1B-BAE4-4F53-935B-B69E11F8410A}" dt="2022-01-10T13:59:43.490" v="310" actId="1076"/>
          <ac:spMkLst>
            <pc:docMk/>
            <pc:sldMk cId="416007632" sldId="327"/>
            <ac:spMk id="11" creationId="{41409821-5DD4-4CE8-8A23-90E7022670FB}"/>
          </ac:spMkLst>
        </pc:spChg>
        <pc:spChg chg="mod">
          <ac:chgData name="EVELYNSM.YONG" userId="S::evelynsm.yong_gmail.com#ext#@risebcg.onmicrosoft.com::67a27a72-2420-4d38-b745-316a53f4b99a" providerId="AD" clId="Web-{01D17A1B-BAE4-4F53-935B-B69E11F8410A}" dt="2022-01-10T13:59:43.537" v="312" actId="1076"/>
          <ac:spMkLst>
            <pc:docMk/>
            <pc:sldMk cId="416007632" sldId="327"/>
            <ac:spMk id="17" creationId="{A342E76F-CBEB-45ED-8735-A83C6AD5D2B1}"/>
          </ac:spMkLst>
        </pc:spChg>
        <pc:spChg chg="add mod">
          <ac:chgData name="EVELYNSM.YONG" userId="S::evelynsm.yong_gmail.com#ext#@risebcg.onmicrosoft.com::67a27a72-2420-4d38-b745-316a53f4b99a" providerId="AD" clId="Web-{01D17A1B-BAE4-4F53-935B-B69E11F8410A}" dt="2022-01-10T14:00:31.898" v="328" actId="1076"/>
          <ac:spMkLst>
            <pc:docMk/>
            <pc:sldMk cId="416007632" sldId="327"/>
            <ac:spMk id="22" creationId="{87580016-E389-450C-958C-6E89567535CD}"/>
          </ac:spMkLst>
        </pc:spChg>
        <pc:spChg chg="add del">
          <ac:chgData name="EVELYNSM.YONG" userId="S::evelynsm.yong_gmail.com#ext#@risebcg.onmicrosoft.com::67a27a72-2420-4d38-b745-316a53f4b99a" providerId="AD" clId="Web-{01D17A1B-BAE4-4F53-935B-B69E11F8410A}" dt="2022-01-10T13:57:24.299" v="263"/>
          <ac:spMkLst>
            <pc:docMk/>
            <pc:sldMk cId="416007632" sldId="327"/>
            <ac:spMk id="24" creationId="{4D417E66-6DDF-4441-AB5C-6FA7F87F95A4}"/>
          </ac:spMkLst>
        </pc:spChg>
        <pc:spChg chg="add mod">
          <ac:chgData name="EVELYNSM.YONG" userId="S::evelynsm.yong_gmail.com#ext#@risebcg.onmicrosoft.com::67a27a72-2420-4d38-b745-316a53f4b99a" providerId="AD" clId="Web-{01D17A1B-BAE4-4F53-935B-B69E11F8410A}" dt="2022-01-10T14:00:31.945" v="330" actId="1076"/>
          <ac:spMkLst>
            <pc:docMk/>
            <pc:sldMk cId="416007632" sldId="327"/>
            <ac:spMk id="25" creationId="{4F00FEED-ACFF-47D3-8E58-F08ED7F24610}"/>
          </ac:spMkLst>
        </pc:spChg>
        <pc:spChg chg="add mod">
          <ac:chgData name="EVELYNSM.YONG" userId="S::evelynsm.yong_gmail.com#ext#@risebcg.onmicrosoft.com::67a27a72-2420-4d38-b745-316a53f4b99a" providerId="AD" clId="Web-{01D17A1B-BAE4-4F53-935B-B69E11F8410A}" dt="2022-01-10T14:00:31.913" v="329" actId="1076"/>
          <ac:spMkLst>
            <pc:docMk/>
            <pc:sldMk cId="416007632" sldId="327"/>
            <ac:spMk id="26" creationId="{F04C1B96-7F9F-4AB4-AD9F-542885D1602E}"/>
          </ac:spMkLst>
        </pc:spChg>
        <pc:spChg chg="add mod">
          <ac:chgData name="EVELYNSM.YONG" userId="S::evelynsm.yong_gmail.com#ext#@risebcg.onmicrosoft.com::67a27a72-2420-4d38-b745-316a53f4b99a" providerId="AD" clId="Web-{01D17A1B-BAE4-4F53-935B-B69E11F8410A}" dt="2022-01-10T14:00:31.882" v="327" actId="1076"/>
          <ac:spMkLst>
            <pc:docMk/>
            <pc:sldMk cId="416007632" sldId="327"/>
            <ac:spMk id="27" creationId="{577D7F9D-08BA-4DFF-A12D-161776ED3231}"/>
          </ac:spMkLst>
        </pc:spChg>
        <pc:spChg chg="mod">
          <ac:chgData name="EVELYNSM.YONG" userId="S::evelynsm.yong_gmail.com#ext#@risebcg.onmicrosoft.com::67a27a72-2420-4d38-b745-316a53f4b99a" providerId="AD" clId="Web-{01D17A1B-BAE4-4F53-935B-B69E11F8410A}" dt="2022-01-10T14:00:17.507" v="322" actId="1076"/>
          <ac:spMkLst>
            <pc:docMk/>
            <pc:sldMk cId="416007632" sldId="327"/>
            <ac:spMk id="32" creationId="{19924F50-9976-41A7-88C1-641F1509CEE0}"/>
          </ac:spMkLst>
        </pc:spChg>
        <pc:spChg chg="mod">
          <ac:chgData name="EVELYNSM.YONG" userId="S::evelynsm.yong_gmail.com#ext#@risebcg.onmicrosoft.com::67a27a72-2420-4d38-b745-316a53f4b99a" providerId="AD" clId="Web-{01D17A1B-BAE4-4F53-935B-B69E11F8410A}" dt="2022-01-10T14:00:17.538" v="323" actId="1076"/>
          <ac:spMkLst>
            <pc:docMk/>
            <pc:sldMk cId="416007632" sldId="327"/>
            <ac:spMk id="33" creationId="{C9B7F08E-D629-47BA-B28C-40CF22219379}"/>
          </ac:spMkLst>
        </pc:spChg>
        <pc:spChg chg="mod">
          <ac:chgData name="EVELYNSM.YONG" userId="S::evelynsm.yong_gmail.com#ext#@risebcg.onmicrosoft.com::67a27a72-2420-4d38-b745-316a53f4b99a" providerId="AD" clId="Web-{01D17A1B-BAE4-4F53-935B-B69E11F8410A}" dt="2022-01-10T14:00:17.554" v="324" actId="1076"/>
          <ac:spMkLst>
            <pc:docMk/>
            <pc:sldMk cId="416007632" sldId="327"/>
            <ac:spMk id="34" creationId="{06D19D76-F677-4AAA-AA6A-7CA4B9DAF436}"/>
          </ac:spMkLst>
        </pc:spChg>
        <pc:spChg chg="mod">
          <ac:chgData name="EVELYNSM.YONG" userId="S::evelynsm.yong_gmail.com#ext#@risebcg.onmicrosoft.com::67a27a72-2420-4d38-b745-316a53f4b99a" providerId="AD" clId="Web-{01D17A1B-BAE4-4F53-935B-B69E11F8410A}" dt="2022-01-10T14:00:17.585" v="325" actId="1076"/>
          <ac:spMkLst>
            <pc:docMk/>
            <pc:sldMk cId="416007632" sldId="327"/>
            <ac:spMk id="35" creationId="{E20AAA99-395B-4009-AF86-AC6B211B7758}"/>
          </ac:spMkLst>
        </pc:spChg>
        <pc:spChg chg="mod">
          <ac:chgData name="EVELYNSM.YONG" userId="S::evelynsm.yong_gmail.com#ext#@risebcg.onmicrosoft.com::67a27a72-2420-4d38-b745-316a53f4b99a" providerId="AD" clId="Web-{01D17A1B-BAE4-4F53-935B-B69E11F8410A}" dt="2022-01-10T14:00:17.600" v="326" actId="1076"/>
          <ac:spMkLst>
            <pc:docMk/>
            <pc:sldMk cId="416007632" sldId="327"/>
            <ac:spMk id="37" creationId="{1AA86EF9-D1F2-488E-902B-9C25FAEFDD52}"/>
          </ac:spMkLst>
        </pc:spChg>
        <pc:picChg chg="mod">
          <ac:chgData name="EVELYNSM.YONG" userId="S::evelynsm.yong_gmail.com#ext#@risebcg.onmicrosoft.com::67a27a72-2420-4d38-b745-316a53f4b99a" providerId="AD" clId="Web-{01D17A1B-BAE4-4F53-935B-B69E11F8410A}" dt="2022-01-10T13:59:43.428" v="307" actId="1076"/>
          <ac:picMkLst>
            <pc:docMk/>
            <pc:sldMk cId="416007632" sldId="327"/>
            <ac:picMk id="7" creationId="{52098F02-F658-4E94-9501-A14F3E2D33CE}"/>
          </ac:picMkLst>
        </pc:picChg>
        <pc:picChg chg="mod">
          <ac:chgData name="EVELYNSM.YONG" userId="S::evelynsm.yong_gmail.com#ext#@risebcg.onmicrosoft.com::67a27a72-2420-4d38-b745-316a53f4b99a" providerId="AD" clId="Web-{01D17A1B-BAE4-4F53-935B-B69E11F8410A}" dt="2022-01-10T13:59:43.443" v="308" actId="1076"/>
          <ac:picMkLst>
            <pc:docMk/>
            <pc:sldMk cId="416007632" sldId="327"/>
            <ac:picMk id="9" creationId="{A7D42D63-B632-4192-9AF9-4120DFBDAFF3}"/>
          </ac:picMkLst>
        </pc:picChg>
        <pc:picChg chg="mod">
          <ac:chgData name="EVELYNSM.YONG" userId="S::evelynsm.yong_gmail.com#ext#@risebcg.onmicrosoft.com::67a27a72-2420-4d38-b745-316a53f4b99a" providerId="AD" clId="Web-{01D17A1B-BAE4-4F53-935B-B69E11F8410A}" dt="2022-01-10T13:59:43.506" v="311"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01D17A1B-BAE4-4F53-935B-B69E11F8410A}" dt="2022-01-10T13:59:43.553" v="313" actId="1076"/>
          <ac:picMkLst>
            <pc:docMk/>
            <pc:sldMk cId="416007632" sldId="327"/>
            <ac:picMk id="21" creationId="{270AFCE7-EE99-4D66-AE35-2E7503A46115}"/>
          </ac:picMkLst>
        </pc:picChg>
        <pc:picChg chg="mod">
          <ac:chgData name="EVELYNSM.YONG" userId="S::evelynsm.yong_gmail.com#ext#@risebcg.onmicrosoft.com::67a27a72-2420-4d38-b745-316a53f4b99a" providerId="AD" clId="Web-{01D17A1B-BAE4-4F53-935B-B69E11F8410A}" dt="2022-01-10T13:59:43.568" v="314" actId="1076"/>
          <ac:picMkLst>
            <pc:docMk/>
            <pc:sldMk cId="416007632" sldId="327"/>
            <ac:picMk id="23" creationId="{AEC9587C-3F93-4045-ACEB-A1A4AFB0FC11}"/>
          </ac:picMkLst>
        </pc:picChg>
        <pc:picChg chg="mod">
          <ac:chgData name="EVELYNSM.YONG" userId="S::evelynsm.yong_gmail.com#ext#@risebcg.onmicrosoft.com::67a27a72-2420-4d38-b745-316a53f4b99a" providerId="AD" clId="Web-{01D17A1B-BAE4-4F53-935B-B69E11F8410A}" dt="2022-01-10T13:59:43.584" v="315" actId="1076"/>
          <ac:picMkLst>
            <pc:docMk/>
            <pc:sldMk cId="416007632" sldId="327"/>
            <ac:picMk id="29" creationId="{4F6899D5-3109-4938-82DA-041DEA46D7EF}"/>
          </ac:picMkLst>
        </pc:picChg>
      </pc:sldChg>
      <pc:sldChg chg="modSp">
        <pc:chgData name="EVELYNSM.YONG" userId="S::evelynsm.yong_gmail.com#ext#@risebcg.onmicrosoft.com::67a27a72-2420-4d38-b745-316a53f4b99a" providerId="AD" clId="Web-{01D17A1B-BAE4-4F53-935B-B69E11F8410A}" dt="2022-01-10T13:40:59.913" v="77" actId="14100"/>
        <pc:sldMkLst>
          <pc:docMk/>
          <pc:sldMk cId="1249418479" sldId="334"/>
        </pc:sldMkLst>
        <pc:spChg chg="mod">
          <ac:chgData name="EVELYNSM.YONG" userId="S::evelynsm.yong_gmail.com#ext#@risebcg.onmicrosoft.com::67a27a72-2420-4d38-b745-316a53f4b99a" providerId="AD" clId="Web-{01D17A1B-BAE4-4F53-935B-B69E11F8410A}" dt="2022-01-10T13:40:59.913" v="77" actId="14100"/>
          <ac:spMkLst>
            <pc:docMk/>
            <pc:sldMk cId="1249418479" sldId="334"/>
            <ac:spMk id="13" creationId="{FBC020E8-35CC-4608-825A-F2C3D7F17A69}"/>
          </ac:spMkLst>
        </pc:spChg>
        <pc:picChg chg="mod">
          <ac:chgData name="EVELYNSM.YONG" userId="S::evelynsm.yong_gmail.com#ext#@risebcg.onmicrosoft.com::67a27a72-2420-4d38-b745-316a53f4b99a" providerId="AD" clId="Web-{01D17A1B-BAE4-4F53-935B-B69E11F8410A}" dt="2022-01-10T13:40:36.006" v="73"/>
          <ac:picMkLst>
            <pc:docMk/>
            <pc:sldMk cId="1249418479" sldId="334"/>
            <ac:picMk id="3" creationId="{BB0FEA3F-D819-4B77-A827-0CADCE750344}"/>
          </ac:picMkLst>
        </pc:picChg>
        <pc:picChg chg="mod">
          <ac:chgData name="EVELYNSM.YONG" userId="S::evelynsm.yong_gmail.com#ext#@risebcg.onmicrosoft.com::67a27a72-2420-4d38-b745-316a53f4b99a" providerId="AD" clId="Web-{01D17A1B-BAE4-4F53-935B-B69E11F8410A}" dt="2022-01-10T13:40:54.007" v="76" actId="14100"/>
          <ac:picMkLst>
            <pc:docMk/>
            <pc:sldMk cId="1249418479" sldId="334"/>
            <ac:picMk id="9" creationId="{4808EF87-719E-4DC9-AB3F-F94B7F635A80}"/>
          </ac:picMkLst>
        </pc:picChg>
      </pc:sldChg>
      <pc:sldChg chg="del modNotes">
        <pc:chgData name="EVELYNSM.YONG" userId="S::evelynsm.yong_gmail.com#ext#@risebcg.onmicrosoft.com::67a27a72-2420-4d38-b745-316a53f4b99a" providerId="AD" clId="Web-{01D17A1B-BAE4-4F53-935B-B69E11F8410A}" dt="2022-01-10T13:35:21.201" v="57"/>
        <pc:sldMkLst>
          <pc:docMk/>
          <pc:sldMk cId="2652119032" sldId="335"/>
        </pc:sldMkLst>
      </pc:sldChg>
      <pc:sldChg chg="modNotes">
        <pc:chgData name="EVELYNSM.YONG" userId="S::evelynsm.yong_gmail.com#ext#@risebcg.onmicrosoft.com::67a27a72-2420-4d38-b745-316a53f4b99a" providerId="AD" clId="Web-{01D17A1B-BAE4-4F53-935B-B69E11F8410A}" dt="2022-01-10T13:53:31.543" v="244"/>
        <pc:sldMkLst>
          <pc:docMk/>
          <pc:sldMk cId="3391215681" sldId="339"/>
        </pc:sldMkLst>
      </pc:sldChg>
      <pc:sldChg chg="modSp">
        <pc:chgData name="EVELYNSM.YONG" userId="S::evelynsm.yong_gmail.com#ext#@risebcg.onmicrosoft.com::67a27a72-2420-4d38-b745-316a53f4b99a" providerId="AD" clId="Web-{01D17A1B-BAE4-4F53-935B-B69E11F8410A}" dt="2022-01-10T13:41:07.132" v="78"/>
        <pc:sldMkLst>
          <pc:docMk/>
          <pc:sldMk cId="4159389698" sldId="342"/>
        </pc:sldMkLst>
        <pc:picChg chg="mod">
          <ac:chgData name="EVELYNSM.YONG" userId="S::evelynsm.yong_gmail.com#ext#@risebcg.onmicrosoft.com::67a27a72-2420-4d38-b745-316a53f4b99a" providerId="AD" clId="Web-{01D17A1B-BAE4-4F53-935B-B69E11F8410A}" dt="2022-01-10T13:41:07.132" v="78"/>
          <ac:picMkLst>
            <pc:docMk/>
            <pc:sldMk cId="4159389698" sldId="342"/>
            <ac:picMk id="4" creationId="{A250FD57-6309-4718-A617-85A0EA99B27E}"/>
          </ac:picMkLst>
        </pc:picChg>
      </pc:sldChg>
      <pc:sldChg chg="modSp">
        <pc:chgData name="EVELYNSM.YONG" userId="S::evelynsm.yong_gmail.com#ext#@risebcg.onmicrosoft.com::67a27a72-2420-4d38-b745-316a53f4b99a" providerId="AD" clId="Web-{01D17A1B-BAE4-4F53-935B-B69E11F8410A}" dt="2022-01-10T13:40:01.083" v="70"/>
        <pc:sldMkLst>
          <pc:docMk/>
          <pc:sldMk cId="1894441827" sldId="358"/>
        </pc:sldMkLst>
        <pc:picChg chg="mod">
          <ac:chgData name="EVELYNSM.YONG" userId="S::evelynsm.yong_gmail.com#ext#@risebcg.onmicrosoft.com::67a27a72-2420-4d38-b745-316a53f4b99a" providerId="AD" clId="Web-{01D17A1B-BAE4-4F53-935B-B69E11F8410A}" dt="2022-01-10T13:40:01.083" v="70"/>
          <ac:picMkLst>
            <pc:docMk/>
            <pc:sldMk cId="1894441827" sldId="358"/>
            <ac:picMk id="7" creationId="{39EBC9D3-EE2E-4A60-B21B-2E3F051B1C2C}"/>
          </ac:picMkLst>
        </pc:picChg>
      </pc:sldChg>
      <pc:sldChg chg="modNotes">
        <pc:chgData name="EVELYNSM.YONG" userId="S::evelynsm.yong_gmail.com#ext#@risebcg.onmicrosoft.com::67a27a72-2420-4d38-b745-316a53f4b99a" providerId="AD" clId="Web-{01D17A1B-BAE4-4F53-935B-B69E11F8410A}" dt="2022-01-10T14:05:22.531" v="351"/>
        <pc:sldMkLst>
          <pc:docMk/>
          <pc:sldMk cId="3531645893" sldId="360"/>
        </pc:sldMkLst>
      </pc:sldChg>
    </pc:docChg>
  </pc:docChgLst>
  <pc:docChgLst>
    <pc:chgData name="COSMOSFREN" userId="S::cosmosfren_yahoo.com#ext#@risebcg.onmicrosoft.com::5462f5f4-f618-47aa-abd8-fd504e002570" providerId="AD" clId="Web-{43953E80-5B2B-46E6-A951-E42E370C5F36}"/>
    <pc:docChg chg="modSld">
      <pc:chgData name="COSMOSFREN" userId="S::cosmosfren_yahoo.com#ext#@risebcg.onmicrosoft.com::5462f5f4-f618-47aa-abd8-fd504e002570" providerId="AD" clId="Web-{43953E80-5B2B-46E6-A951-E42E370C5F36}" dt="2022-01-12T17:13:08.679" v="572"/>
      <pc:docMkLst>
        <pc:docMk/>
      </pc:docMkLst>
      <pc:sldChg chg="modNotes">
        <pc:chgData name="COSMOSFREN" userId="S::cosmosfren_yahoo.com#ext#@risebcg.onmicrosoft.com::5462f5f4-f618-47aa-abd8-fd504e002570" providerId="AD" clId="Web-{43953E80-5B2B-46E6-A951-E42E370C5F36}" dt="2022-01-12T17:08:51.220" v="468"/>
        <pc:sldMkLst>
          <pc:docMk/>
          <pc:sldMk cId="416007632" sldId="327"/>
        </pc:sldMkLst>
      </pc:sldChg>
      <pc:sldChg chg="modNotes">
        <pc:chgData name="COSMOSFREN" userId="S::cosmosfren_yahoo.com#ext#@risebcg.onmicrosoft.com::5462f5f4-f618-47aa-abd8-fd504e002570" providerId="AD" clId="Web-{43953E80-5B2B-46E6-A951-E42E370C5F36}" dt="2022-01-12T17:07:33.187" v="436"/>
        <pc:sldMkLst>
          <pc:docMk/>
          <pc:sldMk cId="531825606" sldId="383"/>
        </pc:sldMkLst>
      </pc:sldChg>
      <pc:sldChg chg="modNotes">
        <pc:chgData name="COSMOSFREN" userId="S::cosmosfren_yahoo.com#ext#@risebcg.onmicrosoft.com::5462f5f4-f618-47aa-abd8-fd504e002570" providerId="AD" clId="Web-{43953E80-5B2B-46E6-A951-E42E370C5F36}" dt="2022-01-12T17:13:08.679" v="572"/>
        <pc:sldMkLst>
          <pc:docMk/>
          <pc:sldMk cId="59737257" sldId="391"/>
        </pc:sldMkLst>
      </pc:sldChg>
    </pc:docChg>
  </pc:docChgLst>
  <pc:docChgLst>
    <pc:chgData name="WESLEY.TBW" userId="S::wesley.tbw_gmail.com#ext#@risebcg.onmicrosoft.com::1034df62-ee6d-4b2f-8a56-03c4406a0a8a" providerId="AD" clId="Web-{7B834104-0078-4227-8C49-9EB50D21A128}"/>
    <pc:docChg chg="modSld">
      <pc:chgData name="WESLEY.TBW" userId="S::wesley.tbw_gmail.com#ext#@risebcg.onmicrosoft.com::1034df62-ee6d-4b2f-8a56-03c4406a0a8a" providerId="AD" clId="Web-{7B834104-0078-4227-8C49-9EB50D21A128}" dt="2022-01-13T04:34:37.905" v="6"/>
      <pc:docMkLst>
        <pc:docMk/>
      </pc:docMkLst>
      <pc:sldChg chg="modNotes">
        <pc:chgData name="WESLEY.TBW" userId="S::wesley.tbw_gmail.com#ext#@risebcg.onmicrosoft.com::1034df62-ee6d-4b2f-8a56-03c4406a0a8a" providerId="AD" clId="Web-{7B834104-0078-4227-8C49-9EB50D21A128}" dt="2022-01-13T04:34:14.107" v="1"/>
        <pc:sldMkLst>
          <pc:docMk/>
          <pc:sldMk cId="2256265757" sldId="315"/>
        </pc:sldMkLst>
      </pc:sldChg>
      <pc:sldChg chg="modNotes">
        <pc:chgData name="WESLEY.TBW" userId="S::wesley.tbw_gmail.com#ext#@risebcg.onmicrosoft.com::1034df62-ee6d-4b2f-8a56-03c4406a0a8a" providerId="AD" clId="Web-{7B834104-0078-4227-8C49-9EB50D21A128}" dt="2022-01-13T04:34:20.904" v="3"/>
        <pc:sldMkLst>
          <pc:docMk/>
          <pc:sldMk cId="4084366951" sldId="318"/>
        </pc:sldMkLst>
      </pc:sldChg>
      <pc:sldChg chg="modNotes">
        <pc:chgData name="WESLEY.TBW" userId="S::wesley.tbw_gmail.com#ext#@risebcg.onmicrosoft.com::1034df62-ee6d-4b2f-8a56-03c4406a0a8a" providerId="AD" clId="Web-{7B834104-0078-4227-8C49-9EB50D21A128}" dt="2022-01-13T04:34:28.295" v="5"/>
        <pc:sldMkLst>
          <pc:docMk/>
          <pc:sldMk cId="1249418479" sldId="334"/>
        </pc:sldMkLst>
      </pc:sldChg>
      <pc:sldChg chg="modNotes">
        <pc:chgData name="WESLEY.TBW" userId="S::wesley.tbw_gmail.com#ext#@risebcg.onmicrosoft.com::1034df62-ee6d-4b2f-8a56-03c4406a0a8a" providerId="AD" clId="Web-{7B834104-0078-4227-8C49-9EB50D21A128}" dt="2022-01-13T04:34:37.905" v="6"/>
        <pc:sldMkLst>
          <pc:docMk/>
          <pc:sldMk cId="4159389698" sldId="342"/>
        </pc:sldMkLst>
      </pc:sldChg>
    </pc:docChg>
  </pc:docChgLst>
  <pc:docChgLst>
    <pc:chgData name="EVELYNSM.YONG" userId="S::evelynsm.yong_gmail.com#ext#@risebcg.onmicrosoft.com::67a27a72-2420-4d38-b745-316a53f4b99a" providerId="AD" clId="Web-{D87E7FF8-9009-404F-B3B4-E419E79AB32F}"/>
    <pc:docChg chg="modSld">
      <pc:chgData name="EVELYNSM.YONG" userId="S::evelynsm.yong_gmail.com#ext#@risebcg.onmicrosoft.com::67a27a72-2420-4d38-b745-316a53f4b99a" providerId="AD" clId="Web-{D87E7FF8-9009-404F-B3B4-E419E79AB32F}" dt="2022-01-10T06:29:07.212" v="255" actId="1076"/>
      <pc:docMkLst>
        <pc:docMk/>
      </pc:docMkLst>
      <pc:sldChg chg="modSp">
        <pc:chgData name="EVELYNSM.YONG" userId="S::evelynsm.yong_gmail.com#ext#@risebcg.onmicrosoft.com::67a27a72-2420-4d38-b745-316a53f4b99a" providerId="AD" clId="Web-{D87E7FF8-9009-404F-B3B4-E419E79AB32F}" dt="2022-01-10T06:14:32.022" v="237" actId="14100"/>
        <pc:sldMkLst>
          <pc:docMk/>
          <pc:sldMk cId="2316358039" sldId="325"/>
        </pc:sldMkLst>
        <pc:spChg chg="mod">
          <ac:chgData name="EVELYNSM.YONG" userId="S::evelynsm.yong_gmail.com#ext#@risebcg.onmicrosoft.com::67a27a72-2420-4d38-b745-316a53f4b99a" providerId="AD" clId="Web-{D87E7FF8-9009-404F-B3B4-E419E79AB32F}" dt="2022-01-10T06:14:32.022" v="237" actId="14100"/>
          <ac:spMkLst>
            <pc:docMk/>
            <pc:sldMk cId="2316358039" sldId="325"/>
            <ac:spMk id="6" creationId="{208993E5-B009-40A8-BC89-286E139EA12D}"/>
          </ac:spMkLst>
        </pc:spChg>
      </pc:sldChg>
      <pc:sldChg chg="modSp modNotes">
        <pc:chgData name="EVELYNSM.YONG" userId="S::evelynsm.yong_gmail.com#ext#@risebcg.onmicrosoft.com::67a27a72-2420-4d38-b745-316a53f4b99a" providerId="AD" clId="Web-{D87E7FF8-9009-404F-B3B4-E419E79AB32F}" dt="2022-01-10T06:23:45.799" v="254" actId="20577"/>
        <pc:sldMkLst>
          <pc:docMk/>
          <pc:sldMk cId="2652119032" sldId="335"/>
        </pc:sldMkLst>
        <pc:spChg chg="mod">
          <ac:chgData name="EVELYNSM.YONG" userId="S::evelynsm.yong_gmail.com#ext#@risebcg.onmicrosoft.com::67a27a72-2420-4d38-b745-316a53f4b99a" providerId="AD" clId="Web-{D87E7FF8-9009-404F-B3B4-E419E79AB32F}" dt="2022-01-10T06:23:45.799" v="254" actId="20577"/>
          <ac:spMkLst>
            <pc:docMk/>
            <pc:sldMk cId="2652119032" sldId="335"/>
            <ac:spMk id="28" creationId="{81280F0F-FE44-494C-A80A-92667A5E77F5}"/>
          </ac:spMkLst>
        </pc:spChg>
      </pc:sldChg>
      <pc:sldChg chg="modNotes">
        <pc:chgData name="EVELYNSM.YONG" userId="S::evelynsm.yong_gmail.com#ext#@risebcg.onmicrosoft.com::67a27a72-2420-4d38-b745-316a53f4b99a" providerId="AD" clId="Web-{D87E7FF8-9009-404F-B3B4-E419E79AB32F}" dt="2022-01-10T06:07:15.076" v="222"/>
        <pc:sldMkLst>
          <pc:docMk/>
          <pc:sldMk cId="3391215681" sldId="339"/>
        </pc:sldMkLst>
      </pc:sldChg>
      <pc:sldChg chg="modSp">
        <pc:chgData name="EVELYNSM.YONG" userId="S::evelynsm.yong_gmail.com#ext#@risebcg.onmicrosoft.com::67a27a72-2420-4d38-b745-316a53f4b99a" providerId="AD" clId="Web-{D87E7FF8-9009-404F-B3B4-E419E79AB32F}" dt="2022-01-10T06:29:07.212" v="255" actId="1076"/>
        <pc:sldMkLst>
          <pc:docMk/>
          <pc:sldMk cId="1894441827" sldId="358"/>
        </pc:sldMkLst>
        <pc:spChg chg="mod">
          <ac:chgData name="EVELYNSM.YONG" userId="S::evelynsm.yong_gmail.com#ext#@risebcg.onmicrosoft.com::67a27a72-2420-4d38-b745-316a53f4b99a" providerId="AD" clId="Web-{D87E7FF8-9009-404F-B3B4-E419E79AB32F}" dt="2022-01-10T06:29:07.212" v="255" actId="1076"/>
          <ac:spMkLst>
            <pc:docMk/>
            <pc:sldMk cId="1894441827" sldId="358"/>
            <ac:spMk id="15" creationId="{66ACABA1-7700-449A-A7C2-2D4C94CED2C7}"/>
          </ac:spMkLst>
        </pc:spChg>
      </pc:sldChg>
      <pc:sldChg chg="modSp modNotes">
        <pc:chgData name="EVELYNSM.YONG" userId="S::evelynsm.yong_gmail.com#ext#@risebcg.onmicrosoft.com::67a27a72-2420-4d38-b745-316a53f4b99a" providerId="AD" clId="Web-{D87E7FF8-9009-404F-B3B4-E419E79AB32F}" dt="2022-01-10T06:22:28.907" v="245"/>
        <pc:sldMkLst>
          <pc:docMk/>
          <pc:sldMk cId="3531645893" sldId="360"/>
        </pc:sldMkLst>
        <pc:spChg chg="mod">
          <ac:chgData name="EVELYNSM.YONG" userId="S::evelynsm.yong_gmail.com#ext#@risebcg.onmicrosoft.com::67a27a72-2420-4d38-b745-316a53f4b99a" providerId="AD" clId="Web-{D87E7FF8-9009-404F-B3B4-E419E79AB32F}" dt="2022-01-10T05:47:07.146" v="11" actId="20577"/>
          <ac:spMkLst>
            <pc:docMk/>
            <pc:sldMk cId="3531645893" sldId="360"/>
            <ac:spMk id="9" creationId="{E3C0B427-9E9D-47EC-AFD8-3D8F22D59FE9}"/>
          </ac:spMkLst>
        </pc:spChg>
      </pc:sldChg>
    </pc:docChg>
  </pc:docChgLst>
  <pc:docChgLst>
    <pc:chgData name="EVELYNSM.YONG" userId="S::evelynsm.yong_gmail.com#ext#@risebcg.onmicrosoft.com::67a27a72-2420-4d38-b745-316a53f4b99a" providerId="AD" clId="Web-{D9D9CDA3-6727-4953-8803-8E71B7B07B33}"/>
    <pc:docChg chg="addSld delSld modSld sldOrd">
      <pc:chgData name="EVELYNSM.YONG" userId="S::evelynsm.yong_gmail.com#ext#@risebcg.onmicrosoft.com::67a27a72-2420-4d38-b745-316a53f4b99a" providerId="AD" clId="Web-{D9D9CDA3-6727-4953-8803-8E71B7B07B33}" dt="2022-01-07T13:56:36.878" v="982" actId="20577"/>
      <pc:docMkLst>
        <pc:docMk/>
      </pc:docMkLst>
      <pc:sldChg chg="addSp delSp modSp ord">
        <pc:chgData name="EVELYNSM.YONG" userId="S::evelynsm.yong_gmail.com#ext#@risebcg.onmicrosoft.com::67a27a72-2420-4d38-b745-316a53f4b99a" providerId="AD" clId="Web-{D9D9CDA3-6727-4953-8803-8E71B7B07B33}" dt="2022-01-07T13:43:32.971" v="835" actId="1076"/>
        <pc:sldMkLst>
          <pc:docMk/>
          <pc:sldMk cId="2651815169" sldId="283"/>
        </pc:sldMkLst>
        <pc:spChg chg="add mod">
          <ac:chgData name="EVELYNSM.YONG" userId="S::evelynsm.yong_gmail.com#ext#@risebcg.onmicrosoft.com::67a27a72-2420-4d38-b745-316a53f4b99a" providerId="AD" clId="Web-{D9D9CDA3-6727-4953-8803-8E71B7B07B33}" dt="2022-01-07T13:39:35.223" v="834" actId="20577"/>
          <ac:spMkLst>
            <pc:docMk/>
            <pc:sldMk cId="2651815169" sldId="283"/>
            <ac:spMk id="2" creationId="{47297F00-E37C-4720-8E11-7D7D4CBEF7C0}"/>
          </ac:spMkLst>
        </pc:spChg>
        <pc:spChg chg="del mod">
          <ac:chgData name="EVELYNSM.YONG" userId="S::evelynsm.yong_gmail.com#ext#@risebcg.onmicrosoft.com::67a27a72-2420-4d38-b745-316a53f4b99a" providerId="AD" clId="Web-{D9D9CDA3-6727-4953-8803-8E71B7B07B33}" dt="2022-01-07T13:38:46.235" v="814"/>
          <ac:spMkLst>
            <pc:docMk/>
            <pc:sldMk cId="2651815169" sldId="283"/>
            <ac:spMk id="3" creationId="{D7658774-7C5D-470E-9611-D078B29F1C08}"/>
          </ac:spMkLst>
        </pc:spChg>
        <pc:spChg chg="mod">
          <ac:chgData name="EVELYNSM.YONG" userId="S::evelynsm.yong_gmail.com#ext#@risebcg.onmicrosoft.com::67a27a72-2420-4d38-b745-316a53f4b99a" providerId="AD" clId="Web-{D9D9CDA3-6727-4953-8803-8E71B7B07B33}" dt="2022-01-07T13:43:32.971" v="835" actId="1076"/>
          <ac:spMkLst>
            <pc:docMk/>
            <pc:sldMk cId="2651815169" sldId="283"/>
            <ac:spMk id="5" creationId="{860E882A-0BA4-44D6-AAB6-065F26C5A510}"/>
          </ac:spMkLst>
        </pc:spChg>
      </pc:sldChg>
      <pc:sldChg chg="addSp delSp modSp del ord modNotes">
        <pc:chgData name="EVELYNSM.YONG" userId="S::evelynsm.yong_gmail.com#ext#@risebcg.onmicrosoft.com::67a27a72-2420-4d38-b745-316a53f4b99a" providerId="AD" clId="Web-{D9D9CDA3-6727-4953-8803-8E71B7B07B33}" dt="2022-01-07T13:48:00.019" v="887"/>
        <pc:sldMkLst>
          <pc:docMk/>
          <pc:sldMk cId="2242905629" sldId="284"/>
        </pc:sldMkLst>
        <pc:spChg chg="del mod">
          <ac:chgData name="EVELYNSM.YONG" userId="S::evelynsm.yong_gmail.com#ext#@risebcg.onmicrosoft.com::67a27a72-2420-4d38-b745-316a53f4b99a" providerId="AD" clId="Web-{D9D9CDA3-6727-4953-8803-8E71B7B07B33}" dt="2022-01-07T13:27:13.694" v="676"/>
          <ac:spMkLst>
            <pc:docMk/>
            <pc:sldMk cId="2242905629" sldId="284"/>
            <ac:spMk id="2" creationId="{7A418B35-B1B1-4178-B33E-45DE9A785089}"/>
          </ac:spMkLst>
        </pc:spChg>
        <pc:spChg chg="del mod">
          <ac:chgData name="EVELYNSM.YONG" userId="S::evelynsm.yong_gmail.com#ext#@risebcg.onmicrosoft.com::67a27a72-2420-4d38-b745-316a53f4b99a" providerId="AD" clId="Web-{D9D9CDA3-6727-4953-8803-8E71B7B07B33}" dt="2022-01-07T13:32:25.712" v="786"/>
          <ac:spMkLst>
            <pc:docMk/>
            <pc:sldMk cId="2242905629" sldId="284"/>
            <ac:spMk id="8" creationId="{26ECF983-0664-4D23-88F0-C6200BDD3A45}"/>
          </ac:spMkLst>
        </pc:spChg>
        <pc:spChg chg="del mod">
          <ac:chgData name="EVELYNSM.YONG" userId="S::evelynsm.yong_gmail.com#ext#@risebcg.onmicrosoft.com::67a27a72-2420-4d38-b745-316a53f4b99a" providerId="AD" clId="Web-{D9D9CDA3-6727-4953-8803-8E71B7B07B33}" dt="2022-01-07T13:32:28.197" v="788"/>
          <ac:spMkLst>
            <pc:docMk/>
            <pc:sldMk cId="2242905629" sldId="284"/>
            <ac:spMk id="9" creationId="{983C5545-27E6-411E-837D-1A1AD02AAAAE}"/>
          </ac:spMkLst>
        </pc:spChg>
        <pc:spChg chg="del mod">
          <ac:chgData name="EVELYNSM.YONG" userId="S::evelynsm.yong_gmail.com#ext#@risebcg.onmicrosoft.com::67a27a72-2420-4d38-b745-316a53f4b99a" providerId="AD" clId="Web-{D9D9CDA3-6727-4953-8803-8E71B7B07B33}" dt="2022-01-07T13:32:48.886" v="796"/>
          <ac:spMkLst>
            <pc:docMk/>
            <pc:sldMk cId="2242905629" sldId="284"/>
            <ac:spMk id="10" creationId="{EF472C38-9AC1-437F-A731-5D0C67816315}"/>
          </ac:spMkLst>
        </pc:spChg>
        <pc:spChg chg="del mod">
          <ac:chgData name="EVELYNSM.YONG" userId="S::evelynsm.yong_gmail.com#ext#@risebcg.onmicrosoft.com::67a27a72-2420-4d38-b745-316a53f4b99a" providerId="AD" clId="Web-{D9D9CDA3-6727-4953-8803-8E71B7B07B33}" dt="2022-01-07T13:32:26.963" v="787"/>
          <ac:spMkLst>
            <pc:docMk/>
            <pc:sldMk cId="2242905629" sldId="284"/>
            <ac:spMk id="11" creationId="{950066AA-AD2F-4FE6-A21A-017A30F6DC6B}"/>
          </ac:spMkLst>
        </pc:spChg>
        <pc:spChg chg="del mod">
          <ac:chgData name="EVELYNSM.YONG" userId="S::evelynsm.yong_gmail.com#ext#@risebcg.onmicrosoft.com::67a27a72-2420-4d38-b745-316a53f4b99a" providerId="AD" clId="Web-{D9D9CDA3-6727-4953-8803-8E71B7B07B33}" dt="2022-01-07T13:31:33.756" v="770"/>
          <ac:spMkLst>
            <pc:docMk/>
            <pc:sldMk cId="2242905629" sldId="284"/>
            <ac:spMk id="12" creationId="{CD71BA09-C371-41DB-B31E-0517C8E6B02A}"/>
          </ac:spMkLst>
        </pc:spChg>
        <pc:spChg chg="mod">
          <ac:chgData name="EVELYNSM.YONG" userId="S::evelynsm.yong_gmail.com#ext#@risebcg.onmicrosoft.com::67a27a72-2420-4d38-b745-316a53f4b99a" providerId="AD" clId="Web-{D9D9CDA3-6727-4953-8803-8E71B7B07B33}" dt="2022-01-07T13:47:22.626" v="873" actId="1076"/>
          <ac:spMkLst>
            <pc:docMk/>
            <pc:sldMk cId="2242905629" sldId="284"/>
            <ac:spMk id="13" creationId="{91715464-7B02-4BC2-B8C3-B0971CB5F2E3}"/>
          </ac:spMkLst>
        </pc:spChg>
        <pc:spChg chg="add mod">
          <ac:chgData name="EVELYNSM.YONG" userId="S::evelynsm.yong_gmail.com#ext#@risebcg.onmicrosoft.com::67a27a72-2420-4d38-b745-316a53f4b99a" providerId="AD" clId="Web-{D9D9CDA3-6727-4953-8803-8E71B7B07B33}" dt="2022-01-07T13:47:22.626" v="872" actId="1076"/>
          <ac:spMkLst>
            <pc:docMk/>
            <pc:sldMk cId="2242905629" sldId="284"/>
            <ac:spMk id="81" creationId="{C4C7ACA8-A329-472F-98B7-667C6D450A36}"/>
          </ac:spMkLst>
        </pc:spChg>
        <pc:spChg chg="add del mod">
          <ac:chgData name="EVELYNSM.YONG" userId="S::evelynsm.yong_gmail.com#ext#@risebcg.onmicrosoft.com::67a27a72-2420-4d38-b745-316a53f4b99a" providerId="AD" clId="Web-{D9D9CDA3-6727-4953-8803-8E71B7B07B33}" dt="2022-01-07T13:27:31.007" v="679"/>
          <ac:spMkLst>
            <pc:docMk/>
            <pc:sldMk cId="2242905629" sldId="284"/>
            <ac:spMk id="3253" creationId="{4ADA512D-7D91-4294-9F00-CA90CF9DF5EC}"/>
          </ac:spMkLst>
        </pc:spChg>
        <pc:grpChg chg="del">
          <ac:chgData name="EVELYNSM.YONG" userId="S::evelynsm.yong_gmail.com#ext#@risebcg.onmicrosoft.com::67a27a72-2420-4d38-b745-316a53f4b99a" providerId="AD" clId="Web-{D9D9CDA3-6727-4953-8803-8E71B7B07B33}" dt="2022-01-07T13:32:39.885" v="792"/>
          <ac:grpSpMkLst>
            <pc:docMk/>
            <pc:sldMk cId="2242905629" sldId="284"/>
            <ac:grpSpMk id="27" creationId="{648B6F6E-4330-45D2-94C3-A69F291847C9}"/>
          </ac:grpSpMkLst>
        </pc:grpChg>
        <pc:graphicFrameChg chg="add mod ord modGraphic">
          <ac:chgData name="EVELYNSM.YONG" userId="S::evelynsm.yong_gmail.com#ext#@risebcg.onmicrosoft.com::67a27a72-2420-4d38-b745-316a53f4b99a" providerId="AD" clId="Web-{D9D9CDA3-6727-4953-8803-8E71B7B07B33}" dt="2022-01-07T13:47:22.626" v="874" actId="1076"/>
          <ac:graphicFrameMkLst>
            <pc:docMk/>
            <pc:sldMk cId="2242905629" sldId="284"/>
            <ac:graphicFrameMk id="3" creationId="{280DE572-D646-437F-9187-A27A725C3F0B}"/>
          </ac:graphicFrameMkLst>
        </pc:graphicFrameChg>
        <pc:cxnChg chg="del mod">
          <ac:chgData name="EVELYNSM.YONG" userId="S::evelynsm.yong_gmail.com#ext#@risebcg.onmicrosoft.com::67a27a72-2420-4d38-b745-316a53f4b99a" providerId="AD" clId="Web-{D9D9CDA3-6727-4953-8803-8E71B7B07B33}" dt="2022-01-07T13:32:34.057" v="789"/>
          <ac:cxnSpMkLst>
            <pc:docMk/>
            <pc:sldMk cId="2242905629" sldId="284"/>
            <ac:cxnSpMk id="14" creationId="{A9DBFB20-18CD-464B-8677-6CA7B98CC5F1}"/>
          </ac:cxnSpMkLst>
        </pc:cxnChg>
      </pc:sldChg>
      <pc:sldChg chg="ord">
        <pc:chgData name="EVELYNSM.YONG" userId="S::evelynsm.yong_gmail.com#ext#@risebcg.onmicrosoft.com::67a27a72-2420-4d38-b745-316a53f4b99a" providerId="AD" clId="Web-{D9D9CDA3-6727-4953-8803-8E71B7B07B33}" dt="2022-01-07T13:38:39.391" v="813"/>
        <pc:sldMkLst>
          <pc:docMk/>
          <pc:sldMk cId="2307665363" sldId="309"/>
        </pc:sldMkLst>
      </pc:sldChg>
      <pc:sldChg chg="addSp delSp modSp modNotes">
        <pc:chgData name="EVELYNSM.YONG" userId="S::evelynsm.yong_gmail.com#ext#@risebcg.onmicrosoft.com::67a27a72-2420-4d38-b745-316a53f4b99a" providerId="AD" clId="Web-{D9D9CDA3-6727-4953-8803-8E71B7B07B33}" dt="2022-01-07T13:34:59.206" v="805" actId="1076"/>
        <pc:sldMkLst>
          <pc:docMk/>
          <pc:sldMk cId="2256265757" sldId="315"/>
        </pc:sldMkLst>
        <pc:spChg chg="del mod">
          <ac:chgData name="EVELYNSM.YONG" userId="S::evelynsm.yong_gmail.com#ext#@risebcg.onmicrosoft.com::67a27a72-2420-4d38-b745-316a53f4b99a" providerId="AD" clId="Web-{D9D9CDA3-6727-4953-8803-8E71B7B07B33}" dt="2022-01-07T13:05:03.814" v="280"/>
          <ac:spMkLst>
            <pc:docMk/>
            <pc:sldMk cId="2256265757" sldId="315"/>
            <ac:spMk id="3" creationId="{3AAD55FA-63B7-4DBA-8DC0-293DEF7C309C}"/>
          </ac:spMkLst>
        </pc:spChg>
        <pc:spChg chg="mod">
          <ac:chgData name="EVELYNSM.YONG" userId="S::evelynsm.yong_gmail.com#ext#@risebcg.onmicrosoft.com::67a27a72-2420-4d38-b745-316a53f4b99a" providerId="AD" clId="Web-{D9D9CDA3-6727-4953-8803-8E71B7B07B33}" dt="2022-01-07T12:57:50.647" v="0" actId="14100"/>
          <ac:spMkLst>
            <pc:docMk/>
            <pc:sldMk cId="2256265757" sldId="315"/>
            <ac:spMk id="15" creationId="{16793C5A-1FE2-4545-A578-A16C2B6C45C4}"/>
          </ac:spMkLst>
        </pc:spChg>
        <pc:spChg chg="add del mod">
          <ac:chgData name="EVELYNSM.YONG" userId="S::evelynsm.yong_gmail.com#ext#@risebcg.onmicrosoft.com::67a27a72-2420-4d38-b745-316a53f4b99a" providerId="AD" clId="Web-{D9D9CDA3-6727-4953-8803-8E71B7B07B33}" dt="2022-01-07T13:05:08.111" v="281"/>
          <ac:spMkLst>
            <pc:docMk/>
            <pc:sldMk cId="2256265757" sldId="315"/>
            <ac:spMk id="4482" creationId="{B0377FEA-83EB-4E71-9DD5-2D6EF64F9F8F}"/>
          </ac:spMkLst>
        </pc:spChg>
        <pc:graphicFrameChg chg="mod modGraphic">
          <ac:chgData name="EVELYNSM.YONG" userId="S::evelynsm.yong_gmail.com#ext#@risebcg.onmicrosoft.com::67a27a72-2420-4d38-b745-316a53f4b99a" providerId="AD" clId="Web-{D9D9CDA3-6727-4953-8803-8E71B7B07B33}" dt="2022-01-07T13:34:59.206" v="805" actId="1076"/>
          <ac:graphicFrameMkLst>
            <pc:docMk/>
            <pc:sldMk cId="2256265757" sldId="315"/>
            <ac:graphicFrameMk id="18" creationId="{2289CFB1-4EE4-43EC-A8B5-4E5FC402B3C5}"/>
          </ac:graphicFrameMkLst>
        </pc:graphicFrameChg>
        <pc:picChg chg="mod">
          <ac:chgData name="EVELYNSM.YONG" userId="S::evelynsm.yong_gmail.com#ext#@risebcg.onmicrosoft.com::67a27a72-2420-4d38-b745-316a53f4b99a" providerId="AD" clId="Web-{D9D9CDA3-6727-4953-8803-8E71B7B07B33}" dt="2022-01-07T13:09:11.238" v="371" actId="1076"/>
          <ac:picMkLst>
            <pc:docMk/>
            <pc:sldMk cId="2256265757" sldId="315"/>
            <ac:picMk id="60" creationId="{30AA7644-B695-49AF-A4E1-C86E1691F805}"/>
          </ac:picMkLst>
        </pc:picChg>
      </pc:sldChg>
      <pc:sldChg chg="addSp delSp modSp">
        <pc:chgData name="EVELYNSM.YONG" userId="S::evelynsm.yong_gmail.com#ext#@risebcg.onmicrosoft.com::67a27a72-2420-4d38-b745-316a53f4b99a" providerId="AD" clId="Web-{D9D9CDA3-6727-4953-8803-8E71B7B07B33}" dt="2022-01-07T13:11:02.760" v="394" actId="1076"/>
        <pc:sldMkLst>
          <pc:docMk/>
          <pc:sldMk cId="4084366951" sldId="318"/>
        </pc:sldMkLst>
        <pc:spChg chg="mod">
          <ac:chgData name="EVELYNSM.YONG" userId="S::evelynsm.yong_gmail.com#ext#@risebcg.onmicrosoft.com::67a27a72-2420-4d38-b745-316a53f4b99a" providerId="AD" clId="Web-{D9D9CDA3-6727-4953-8803-8E71B7B07B33}" dt="2022-01-07T13:10:29.430" v="384" actId="20577"/>
          <ac:spMkLst>
            <pc:docMk/>
            <pc:sldMk cId="4084366951" sldId="318"/>
            <ac:spMk id="2" creationId="{1CAEE4F4-60D4-46CA-A79F-1CD22235EEA0}"/>
          </ac:spMkLst>
        </pc:spChg>
        <pc:spChg chg="del mod">
          <ac:chgData name="EVELYNSM.YONG" userId="S::evelynsm.yong_gmail.com#ext#@risebcg.onmicrosoft.com::67a27a72-2420-4d38-b745-316a53f4b99a" providerId="AD" clId="Web-{D9D9CDA3-6727-4953-8803-8E71B7B07B33}" dt="2022-01-07T13:10:48.025" v="388"/>
          <ac:spMkLst>
            <pc:docMk/>
            <pc:sldMk cId="4084366951" sldId="318"/>
            <ac:spMk id="3" creationId="{3AAD55FA-63B7-4DBA-8DC0-293DEF7C309C}"/>
          </ac:spMkLst>
        </pc:spChg>
        <pc:spChg chg="add mod">
          <ac:chgData name="EVELYNSM.YONG" userId="S::evelynsm.yong_gmail.com#ext#@risebcg.onmicrosoft.com::67a27a72-2420-4d38-b745-316a53f4b99a" providerId="AD" clId="Web-{D9D9CDA3-6727-4953-8803-8E71B7B07B33}" dt="2022-01-07T13:10:59.682" v="393" actId="1076"/>
          <ac:spMkLst>
            <pc:docMk/>
            <pc:sldMk cId="4084366951" sldId="318"/>
            <ac:spMk id="5" creationId="{78DD61BE-D1D7-401B-B576-C4CC8A01AA78}"/>
          </ac:spMkLst>
        </pc:spChg>
        <pc:picChg chg="mod">
          <ac:chgData name="EVELYNSM.YONG" userId="S::evelynsm.yong_gmail.com#ext#@risebcg.onmicrosoft.com::67a27a72-2420-4d38-b745-316a53f4b99a" providerId="AD" clId="Web-{D9D9CDA3-6727-4953-8803-8E71B7B07B33}" dt="2022-01-07T13:11:02.760" v="394" actId="1076"/>
          <ac:picMkLst>
            <pc:docMk/>
            <pc:sldMk cId="4084366951" sldId="318"/>
            <ac:picMk id="4" creationId="{E637BE80-4027-4B69-9D4B-56D59ADC9A3A}"/>
          </ac:picMkLst>
        </pc:picChg>
      </pc:sldChg>
      <pc:sldChg chg="modSp">
        <pc:chgData name="EVELYNSM.YONG" userId="S::evelynsm.yong_gmail.com#ext#@risebcg.onmicrosoft.com::67a27a72-2420-4d38-b745-316a53f4b99a" providerId="AD" clId="Web-{D9D9CDA3-6727-4953-8803-8E71B7B07B33}" dt="2022-01-07T13:45:14.477" v="854" actId="14100"/>
        <pc:sldMkLst>
          <pc:docMk/>
          <pc:sldMk cId="3666302761" sldId="324"/>
        </pc:sldMkLst>
        <pc:spChg chg="mod">
          <ac:chgData name="EVELYNSM.YONG" userId="S::evelynsm.yong_gmail.com#ext#@risebcg.onmicrosoft.com::67a27a72-2420-4d38-b745-316a53f4b99a" providerId="AD" clId="Web-{D9D9CDA3-6727-4953-8803-8E71B7B07B33}" dt="2022-01-07T13:45:14.477" v="854" actId="14100"/>
          <ac:spMkLst>
            <pc:docMk/>
            <pc:sldMk cId="3666302761" sldId="324"/>
            <ac:spMk id="25" creationId="{A72C66DB-3DFA-4DD0-BB16-94A4A31F5E94}"/>
          </ac:spMkLst>
        </pc:spChg>
      </pc:sldChg>
      <pc:sldChg chg="modSp">
        <pc:chgData name="EVELYNSM.YONG" userId="S::evelynsm.yong_gmail.com#ext#@risebcg.onmicrosoft.com::67a27a72-2420-4d38-b745-316a53f4b99a" providerId="AD" clId="Web-{D9D9CDA3-6727-4953-8803-8E71B7B07B33}" dt="2022-01-07T13:44:41.257" v="852"/>
        <pc:sldMkLst>
          <pc:docMk/>
          <pc:sldMk cId="2316358039" sldId="325"/>
        </pc:sldMkLst>
        <pc:spChg chg="mod">
          <ac:chgData name="EVELYNSM.YONG" userId="S::evelynsm.yong_gmail.com#ext#@risebcg.onmicrosoft.com::67a27a72-2420-4d38-b745-316a53f4b99a" providerId="AD" clId="Web-{D9D9CDA3-6727-4953-8803-8E71B7B07B33}" dt="2022-01-07T13:44:41.257" v="852"/>
          <ac:spMkLst>
            <pc:docMk/>
            <pc:sldMk cId="2316358039" sldId="325"/>
            <ac:spMk id="14" creationId="{3C1C8EDA-91F1-403C-A371-164289F5FB16}"/>
          </ac:spMkLst>
        </pc:spChg>
      </pc:sldChg>
      <pc:sldChg chg="modSp">
        <pc:chgData name="EVELYNSM.YONG" userId="S::evelynsm.yong_gmail.com#ext#@risebcg.onmicrosoft.com::67a27a72-2420-4d38-b745-316a53f4b99a" providerId="AD" clId="Web-{D9D9CDA3-6727-4953-8803-8E71B7B07B33}" dt="2022-01-07T13:44:34.319" v="849"/>
        <pc:sldMkLst>
          <pc:docMk/>
          <pc:sldMk cId="2160415509" sldId="326"/>
        </pc:sldMkLst>
        <pc:spChg chg="mod">
          <ac:chgData name="EVELYNSM.YONG" userId="S::evelynsm.yong_gmail.com#ext#@risebcg.onmicrosoft.com::67a27a72-2420-4d38-b745-316a53f4b99a" providerId="AD" clId="Web-{D9D9CDA3-6727-4953-8803-8E71B7B07B33}" dt="2022-01-07T13:44:34.319" v="849"/>
          <ac:spMkLst>
            <pc:docMk/>
            <pc:sldMk cId="2160415509" sldId="326"/>
            <ac:spMk id="4" creationId="{215644EC-E1A2-4B5F-BA53-79EB189605EC}"/>
          </ac:spMkLst>
        </pc:spChg>
      </pc:sldChg>
      <pc:sldChg chg="modSp">
        <pc:chgData name="EVELYNSM.YONG" userId="S::evelynsm.yong_gmail.com#ext#@risebcg.onmicrosoft.com::67a27a72-2420-4d38-b745-316a53f4b99a" providerId="AD" clId="Web-{D9D9CDA3-6727-4953-8803-8E71B7B07B33}" dt="2022-01-07T13:44:30.725" v="848"/>
        <pc:sldMkLst>
          <pc:docMk/>
          <pc:sldMk cId="4276505800" sldId="329"/>
        </pc:sldMkLst>
        <pc:spChg chg="mod">
          <ac:chgData name="EVELYNSM.YONG" userId="S::evelynsm.yong_gmail.com#ext#@risebcg.onmicrosoft.com::67a27a72-2420-4d38-b745-316a53f4b99a" providerId="AD" clId="Web-{D9D9CDA3-6727-4953-8803-8E71B7B07B33}" dt="2022-01-07T13:44:30.725" v="848"/>
          <ac:spMkLst>
            <pc:docMk/>
            <pc:sldMk cId="4276505800" sldId="329"/>
            <ac:spMk id="3" creationId="{FA363FAE-9C13-49DF-A86A-6D93D63F5439}"/>
          </ac:spMkLst>
        </pc:spChg>
      </pc:sldChg>
      <pc:sldChg chg="modSp">
        <pc:chgData name="EVELYNSM.YONG" userId="S::evelynsm.yong_gmail.com#ext#@risebcg.onmicrosoft.com::67a27a72-2420-4d38-b745-316a53f4b99a" providerId="AD" clId="Web-{D9D9CDA3-6727-4953-8803-8E71B7B07B33}" dt="2022-01-07T13:44:27.631" v="847"/>
        <pc:sldMkLst>
          <pc:docMk/>
          <pc:sldMk cId="2728944561" sldId="333"/>
        </pc:sldMkLst>
        <pc:spChg chg="mod">
          <ac:chgData name="EVELYNSM.YONG" userId="S::evelynsm.yong_gmail.com#ext#@risebcg.onmicrosoft.com::67a27a72-2420-4d38-b745-316a53f4b99a" providerId="AD" clId="Web-{D9D9CDA3-6727-4953-8803-8E71B7B07B33}" dt="2022-01-07T13:44:27.631" v="847"/>
          <ac:spMkLst>
            <pc:docMk/>
            <pc:sldMk cId="2728944561" sldId="333"/>
            <ac:spMk id="3" creationId="{9C545F2D-9E52-4C81-8BAE-363F523739FD}"/>
          </ac:spMkLst>
        </pc:spChg>
      </pc:sldChg>
      <pc:sldChg chg="addSp delSp modSp">
        <pc:chgData name="EVELYNSM.YONG" userId="S::evelynsm.yong_gmail.com#ext#@risebcg.onmicrosoft.com::67a27a72-2420-4d38-b745-316a53f4b99a" providerId="AD" clId="Web-{D9D9CDA3-6727-4953-8803-8E71B7B07B33}" dt="2022-01-07T13:44:14.771" v="846"/>
        <pc:sldMkLst>
          <pc:docMk/>
          <pc:sldMk cId="1249418479" sldId="334"/>
        </pc:sldMkLst>
        <pc:spChg chg="del mod">
          <ac:chgData name="EVELYNSM.YONG" userId="S::evelynsm.yong_gmail.com#ext#@risebcg.onmicrosoft.com::67a27a72-2420-4d38-b745-316a53f4b99a" providerId="AD" clId="Web-{D9D9CDA3-6727-4953-8803-8E71B7B07B33}" dt="2022-01-07T13:21:01.609" v="534"/>
          <ac:spMkLst>
            <pc:docMk/>
            <pc:sldMk cId="1249418479" sldId="334"/>
            <ac:spMk id="3" creationId="{3AAD55FA-63B7-4DBA-8DC0-293DEF7C309C}"/>
          </ac:spMkLst>
        </pc:spChg>
        <pc:spChg chg="add mod">
          <ac:chgData name="EVELYNSM.YONG" userId="S::evelynsm.yong_gmail.com#ext#@risebcg.onmicrosoft.com::67a27a72-2420-4d38-b745-316a53f4b99a" providerId="AD" clId="Web-{D9D9CDA3-6727-4953-8803-8E71B7B07B33}" dt="2022-01-07T13:44:14.771" v="846"/>
          <ac:spMkLst>
            <pc:docMk/>
            <pc:sldMk cId="1249418479" sldId="334"/>
            <ac:spMk id="4" creationId="{E46E2F92-A159-4912-84AA-DB46BFE3D9EB}"/>
          </ac:spMkLst>
        </pc:spChg>
        <pc:spChg chg="add mod">
          <ac:chgData name="EVELYNSM.YONG" userId="S::evelynsm.yong_gmail.com#ext#@risebcg.onmicrosoft.com::67a27a72-2420-4d38-b745-316a53f4b99a" providerId="AD" clId="Web-{D9D9CDA3-6727-4953-8803-8E71B7B07B33}" dt="2022-01-07T13:21:31.470" v="542" actId="1076"/>
          <ac:spMkLst>
            <pc:docMk/>
            <pc:sldMk cId="1249418479" sldId="334"/>
            <ac:spMk id="11" creationId="{662CF00E-7074-47A1-AC23-D8720DE006B4}"/>
          </ac:spMkLst>
        </pc:spChg>
        <pc:spChg chg="add del">
          <ac:chgData name="EVELYNSM.YONG" userId="S::evelynsm.yong_gmail.com#ext#@risebcg.onmicrosoft.com::67a27a72-2420-4d38-b745-316a53f4b99a" providerId="AD" clId="Web-{D9D9CDA3-6727-4953-8803-8E71B7B07B33}" dt="2022-01-07T13:21:06.875" v="537"/>
          <ac:spMkLst>
            <pc:docMk/>
            <pc:sldMk cId="1249418479" sldId="334"/>
            <ac:spMk id="12" creationId="{A0006FE5-B92C-4A88-AC54-09474B81293C}"/>
          </ac:spMkLst>
        </pc:spChg>
      </pc:sldChg>
      <pc:sldChg chg="addSp modSp">
        <pc:chgData name="EVELYNSM.YONG" userId="S::evelynsm.yong_gmail.com#ext#@risebcg.onmicrosoft.com::67a27a72-2420-4d38-b745-316a53f4b99a" providerId="AD" clId="Web-{D9D9CDA3-6727-4953-8803-8E71B7B07B33}" dt="2022-01-07T13:45:52.917" v="858" actId="1076"/>
        <pc:sldMkLst>
          <pc:docMk/>
          <pc:sldMk cId="2652119032" sldId="335"/>
        </pc:sldMkLst>
        <pc:spChg chg="mod">
          <ac:chgData name="EVELYNSM.YONG" userId="S::evelynsm.yong_gmail.com#ext#@risebcg.onmicrosoft.com::67a27a72-2420-4d38-b745-316a53f4b99a" providerId="AD" clId="Web-{D9D9CDA3-6727-4953-8803-8E71B7B07B33}" dt="2022-01-07T13:45:49.183" v="857" actId="14100"/>
          <ac:spMkLst>
            <pc:docMk/>
            <pc:sldMk cId="2652119032" sldId="335"/>
            <ac:spMk id="3" creationId="{CB7BAFB0-445F-4F96-BCE3-50C0E2AB21AD}"/>
          </ac:spMkLst>
        </pc:spChg>
        <pc:spChg chg="add mod">
          <ac:chgData name="EVELYNSM.YONG" userId="S::evelynsm.yong_gmail.com#ext#@risebcg.onmicrosoft.com::67a27a72-2420-4d38-b745-316a53f4b99a" providerId="AD" clId="Web-{D9D9CDA3-6727-4953-8803-8E71B7B07B33}" dt="2022-01-07T13:45:52.917" v="858" actId="1076"/>
          <ac:spMkLst>
            <pc:docMk/>
            <pc:sldMk cId="2652119032" sldId="335"/>
            <ac:spMk id="4" creationId="{7BCAFA08-4D06-4459-BDE0-CAB790C8CB40}"/>
          </ac:spMkLst>
        </pc:spChg>
      </pc:sldChg>
      <pc:sldChg chg="add replId">
        <pc:chgData name="EVELYNSM.YONG" userId="S::evelynsm.yong_gmail.com#ext#@risebcg.onmicrosoft.com::67a27a72-2420-4d38-b745-316a53f4b99a" providerId="AD" clId="Web-{D9D9CDA3-6727-4953-8803-8E71B7B07B33}" dt="2022-01-07T13:11:46.825" v="397"/>
        <pc:sldMkLst>
          <pc:docMk/>
          <pc:sldMk cId="1003929508" sldId="338"/>
        </pc:sldMkLst>
      </pc:sldChg>
      <pc:sldChg chg="addSp delSp modSp new modNotes">
        <pc:chgData name="EVELYNSM.YONG" userId="S::evelynsm.yong_gmail.com#ext#@risebcg.onmicrosoft.com::67a27a72-2420-4d38-b745-316a53f4b99a" providerId="AD" clId="Web-{D9D9CDA3-6727-4953-8803-8E71B7B07B33}" dt="2022-01-07T13:56:36.878" v="982" actId="20577"/>
        <pc:sldMkLst>
          <pc:docMk/>
          <pc:sldMk cId="3391215681" sldId="339"/>
        </pc:sldMkLst>
        <pc:spChg chg="del">
          <ac:chgData name="EVELYNSM.YONG" userId="S::evelynsm.yong_gmail.com#ext#@risebcg.onmicrosoft.com::67a27a72-2420-4d38-b745-316a53f4b99a" providerId="AD" clId="Web-{D9D9CDA3-6727-4953-8803-8E71B7B07B33}" dt="2022-01-07T13:47:30.064" v="876"/>
          <ac:spMkLst>
            <pc:docMk/>
            <pc:sldMk cId="3391215681" sldId="339"/>
            <ac:spMk id="2" creationId="{8FA8A080-8BEB-4C17-A95C-C26A1212E6BA}"/>
          </ac:spMkLst>
        </pc:spChg>
        <pc:spChg chg="del">
          <ac:chgData name="EVELYNSM.YONG" userId="S::evelynsm.yong_gmail.com#ext#@risebcg.onmicrosoft.com::67a27a72-2420-4d38-b745-316a53f4b99a" providerId="AD" clId="Web-{D9D9CDA3-6727-4953-8803-8E71B7B07B33}" dt="2022-01-07T13:47:27.829" v="875"/>
          <ac:spMkLst>
            <pc:docMk/>
            <pc:sldMk cId="3391215681" sldId="339"/>
            <ac:spMk id="3" creationId="{E8355BAF-6EEC-4CB4-A36F-ECA441BF3252}"/>
          </ac:spMkLst>
        </pc:spChg>
        <pc:spChg chg="add del">
          <ac:chgData name="EVELYNSM.YONG" userId="S::evelynsm.yong_gmail.com#ext#@risebcg.onmicrosoft.com::67a27a72-2420-4d38-b745-316a53f4b99a" providerId="AD" clId="Web-{D9D9CDA3-6727-4953-8803-8E71B7B07B33}" dt="2022-01-07T13:47:20.032" v="870"/>
          <ac:spMkLst>
            <pc:docMk/>
            <pc:sldMk cId="3391215681" sldId="339"/>
            <ac:spMk id="24" creationId="{5E84F708-96F1-4412-A2CE-E9DE4316C1E9}"/>
          </ac:spMkLst>
        </pc:spChg>
        <pc:spChg chg="add del">
          <ac:chgData name="EVELYNSM.YONG" userId="S::evelynsm.yong_gmail.com#ext#@risebcg.onmicrosoft.com::67a27a72-2420-4d38-b745-316a53f4b99a" providerId="AD" clId="Web-{D9D9CDA3-6727-4953-8803-8E71B7B07B33}" dt="2022-01-07T13:47:20.032" v="869"/>
          <ac:spMkLst>
            <pc:docMk/>
            <pc:sldMk cId="3391215681" sldId="339"/>
            <ac:spMk id="26" creationId="{7EE037DB-4A3B-4476-814C-26D3C4F8F1F1}"/>
          </ac:spMkLst>
        </pc:spChg>
        <pc:spChg chg="add mod">
          <ac:chgData name="EVELYNSM.YONG" userId="S::evelynsm.yong_gmail.com#ext#@risebcg.onmicrosoft.com::67a27a72-2420-4d38-b745-316a53f4b99a" providerId="AD" clId="Web-{D9D9CDA3-6727-4953-8803-8E71B7B07B33}" dt="2022-01-07T13:51:27.594" v="958" actId="14100"/>
          <ac:spMkLst>
            <pc:docMk/>
            <pc:sldMk cId="3391215681" sldId="339"/>
            <ac:spMk id="47" creationId="{B72F6C48-B470-4163-9AC9-2982A10656DA}"/>
          </ac:spMkLst>
        </pc:spChg>
        <pc:spChg chg="add">
          <ac:chgData name="EVELYNSM.YONG" userId="S::evelynsm.yong_gmail.com#ext#@risebcg.onmicrosoft.com::67a27a72-2420-4d38-b745-316a53f4b99a" providerId="AD" clId="Web-{D9D9CDA3-6727-4953-8803-8E71B7B07B33}" dt="2022-01-07T13:47:30.595" v="879"/>
          <ac:spMkLst>
            <pc:docMk/>
            <pc:sldMk cId="3391215681" sldId="339"/>
            <ac:spMk id="49" creationId="{1A40ECD8-EC71-4C0D-A629-C5042C9FBE1B}"/>
          </ac:spMkLst>
        </pc:spChg>
        <pc:graphicFrameChg chg="add del">
          <ac:chgData name="EVELYNSM.YONG" userId="S::evelynsm.yong_gmail.com#ext#@risebcg.onmicrosoft.com::67a27a72-2420-4d38-b745-316a53f4b99a" providerId="AD" clId="Web-{D9D9CDA3-6727-4953-8803-8E71B7B07B33}" dt="2022-01-07T13:47:20.032" v="871"/>
          <ac:graphicFrameMkLst>
            <pc:docMk/>
            <pc:sldMk cId="3391215681" sldId="339"/>
            <ac:graphicFrameMk id="5" creationId="{673A58DC-0EF2-40AD-BAC4-FD017B965EBC}"/>
          </ac:graphicFrameMkLst>
        </pc:graphicFrameChg>
        <pc:graphicFrameChg chg="add modGraphic">
          <ac:chgData name="EVELYNSM.YONG" userId="S::evelynsm.yong_gmail.com#ext#@risebcg.onmicrosoft.com::67a27a72-2420-4d38-b745-316a53f4b99a" providerId="AD" clId="Web-{D9D9CDA3-6727-4953-8803-8E71B7B07B33}" dt="2022-01-07T13:56:36.878" v="982" actId="20577"/>
          <ac:graphicFrameMkLst>
            <pc:docMk/>
            <pc:sldMk cId="3391215681" sldId="339"/>
            <ac:graphicFrameMk id="28" creationId="{9D58B7B4-DE29-4DDF-BB8A-729D2B705659}"/>
          </ac:graphicFrameMkLst>
        </pc:graphicFrameChg>
      </pc:sldChg>
    </pc:docChg>
  </pc:docChgLst>
  <pc:docChgLst>
    <pc:chgData name="EVELYNSM.YONG" userId="S::evelynsm.yong_gmail.com#ext#@risebcg.onmicrosoft.com::67a27a72-2420-4d38-b745-316a53f4b99a" providerId="AD" clId="Web-{192FE1B7-07D2-4ABF-9850-5AAFACEA36B3}"/>
    <pc:docChg chg="modSld">
      <pc:chgData name="EVELYNSM.YONG" userId="S::evelynsm.yong_gmail.com#ext#@risebcg.onmicrosoft.com::67a27a72-2420-4d38-b745-316a53f4b99a" providerId="AD" clId="Web-{192FE1B7-07D2-4ABF-9850-5AAFACEA36B3}" dt="2022-01-07T13:59:52.882" v="55" actId="14100"/>
      <pc:docMkLst>
        <pc:docMk/>
      </pc:docMkLst>
      <pc:sldChg chg="modSp">
        <pc:chgData name="EVELYNSM.YONG" userId="S::evelynsm.yong_gmail.com#ext#@risebcg.onmicrosoft.com::67a27a72-2420-4d38-b745-316a53f4b99a" providerId="AD" clId="Web-{192FE1B7-07D2-4ABF-9850-5AAFACEA36B3}" dt="2022-01-07T13:59:52.882" v="55" actId="14100"/>
        <pc:sldMkLst>
          <pc:docMk/>
          <pc:sldMk cId="2256265757" sldId="315"/>
        </pc:sldMkLst>
        <pc:graphicFrameChg chg="mod modGraphic">
          <ac:chgData name="EVELYNSM.YONG" userId="S::evelynsm.yong_gmail.com#ext#@risebcg.onmicrosoft.com::67a27a72-2420-4d38-b745-316a53f4b99a" providerId="AD" clId="Web-{192FE1B7-07D2-4ABF-9850-5AAFACEA36B3}" dt="2022-01-07T13:59:52.882" v="55" actId="14100"/>
          <ac:graphicFrameMkLst>
            <pc:docMk/>
            <pc:sldMk cId="2256265757" sldId="315"/>
            <ac:graphicFrameMk id="18" creationId="{2289CFB1-4EE4-43EC-A8B5-4E5FC402B3C5}"/>
          </ac:graphicFrameMkLst>
        </pc:graphicFrameChg>
      </pc:sldChg>
    </pc:docChg>
  </pc:docChgLst>
  <pc:docChgLst>
    <pc:chgData name="WONGYONGLIN91" userId="S::wongyonglin91_gmail.com#ext#@risebcg.onmicrosoft.com::b2d94f93-e580-4f0d-9dda-2138509d25ae" providerId="AD" clId="Web-{4F596F7E-1732-48F6-8EE6-FBAB330260FB}"/>
    <pc:docChg chg="modSld">
      <pc:chgData name="WONGYONGLIN91" userId="S::wongyonglin91_gmail.com#ext#@risebcg.onmicrosoft.com::b2d94f93-e580-4f0d-9dda-2138509d25ae" providerId="AD" clId="Web-{4F596F7E-1732-48F6-8EE6-FBAB330260FB}" dt="2022-01-10T14:20:40.710" v="10" actId="1076"/>
      <pc:docMkLst>
        <pc:docMk/>
      </pc:docMkLst>
      <pc:sldChg chg="addSp delSp modSp">
        <pc:chgData name="WONGYONGLIN91" userId="S::wongyonglin91_gmail.com#ext#@risebcg.onmicrosoft.com::b2d94f93-e580-4f0d-9dda-2138509d25ae" providerId="AD" clId="Web-{4F596F7E-1732-48F6-8EE6-FBAB330260FB}" dt="2022-01-10T14:20:40.710" v="10" actId="1076"/>
        <pc:sldMkLst>
          <pc:docMk/>
          <pc:sldMk cId="2160415509" sldId="326"/>
        </pc:sldMkLst>
        <pc:spChg chg="mod">
          <ac:chgData name="WONGYONGLIN91" userId="S::wongyonglin91_gmail.com#ext#@risebcg.onmicrosoft.com::b2d94f93-e580-4f0d-9dda-2138509d25ae" providerId="AD" clId="Web-{4F596F7E-1732-48F6-8EE6-FBAB330260FB}" dt="2022-01-10T14:19:43.647" v="7" actId="1076"/>
          <ac:spMkLst>
            <pc:docMk/>
            <pc:sldMk cId="2160415509" sldId="326"/>
            <ac:spMk id="3" creationId="{A06E2C6C-AA2D-4DBA-B448-457815C4CAD3}"/>
          </ac:spMkLst>
        </pc:spChg>
        <pc:spChg chg="add mod">
          <ac:chgData name="WONGYONGLIN91" userId="S::wongyonglin91_gmail.com#ext#@risebcg.onmicrosoft.com::b2d94f93-e580-4f0d-9dda-2138509d25ae" providerId="AD" clId="Web-{4F596F7E-1732-48F6-8EE6-FBAB330260FB}" dt="2022-01-10T14:19:08.396" v="3" actId="1076"/>
          <ac:spMkLst>
            <pc:docMk/>
            <pc:sldMk cId="2160415509" sldId="326"/>
            <ac:spMk id="14" creationId="{12CD60CA-AC80-48C2-9831-7C24A5BBDBE7}"/>
          </ac:spMkLst>
        </pc:spChg>
        <pc:spChg chg="add mod">
          <ac:chgData name="WONGYONGLIN91" userId="S::wongyonglin91_gmail.com#ext#@risebcg.onmicrosoft.com::b2d94f93-e580-4f0d-9dda-2138509d25ae" providerId="AD" clId="Web-{4F596F7E-1732-48F6-8EE6-FBAB330260FB}" dt="2022-01-10T14:19:37.475" v="6" actId="1076"/>
          <ac:spMkLst>
            <pc:docMk/>
            <pc:sldMk cId="2160415509" sldId="326"/>
            <ac:spMk id="15" creationId="{1F2C1FDF-EED7-4160-A26E-17CDC484D1F4}"/>
          </ac:spMkLst>
        </pc:spChg>
        <pc:spChg chg="add mod">
          <ac:chgData name="WONGYONGLIN91" userId="S::wongyonglin91_gmail.com#ext#@risebcg.onmicrosoft.com::b2d94f93-e580-4f0d-9dda-2138509d25ae" providerId="AD" clId="Web-{4F596F7E-1732-48F6-8EE6-FBAB330260FB}" dt="2022-01-10T14:20:03.897" v="9" actId="1076"/>
          <ac:spMkLst>
            <pc:docMk/>
            <pc:sldMk cId="2160415509" sldId="326"/>
            <ac:spMk id="16" creationId="{61F108A6-436D-4F03-92A9-5601D56E72A0}"/>
          </ac:spMkLst>
        </pc:spChg>
        <pc:picChg chg="add del mod">
          <ac:chgData name="WONGYONGLIN91" userId="S::wongyonglin91_gmail.com#ext#@risebcg.onmicrosoft.com::b2d94f93-e580-4f0d-9dda-2138509d25ae" providerId="AD" clId="Web-{4F596F7E-1732-48F6-8EE6-FBAB330260FB}" dt="2022-01-10T14:17:41.691" v="1"/>
          <ac:picMkLst>
            <pc:docMk/>
            <pc:sldMk cId="2160415509" sldId="326"/>
            <ac:picMk id="5" creationId="{98A274ED-98CE-4D52-9238-CD2502FEE43B}"/>
          </ac:picMkLst>
        </pc:picChg>
        <pc:picChg chg="mod">
          <ac:chgData name="WONGYONGLIN91" userId="S::wongyonglin91_gmail.com#ext#@risebcg.onmicrosoft.com::b2d94f93-e580-4f0d-9dda-2138509d25ae" providerId="AD" clId="Web-{4F596F7E-1732-48F6-8EE6-FBAB330260FB}" dt="2022-01-10T14:20:40.710" v="10" actId="1076"/>
          <ac:picMkLst>
            <pc:docMk/>
            <pc:sldMk cId="2160415509" sldId="326"/>
            <ac:picMk id="8" creationId="{1F3B5E8D-69F3-429F-8C72-BA870189EF2F}"/>
          </ac:picMkLst>
        </pc:picChg>
      </pc:sldChg>
    </pc:docChg>
  </pc:docChgLst>
  <pc:docChgLst>
    <pc:chgData name="EVELYNSM.YONG" userId="S::evelynsm.yong_gmail.com#ext#@risebcg.onmicrosoft.com::67a27a72-2420-4d38-b745-316a53f4b99a" providerId="AD" clId="Web-{B0F3A502-3AAB-41AE-A44C-28F5E8973229}"/>
    <pc:docChg chg="modSld">
      <pc:chgData name="EVELYNSM.YONG" userId="S::evelynsm.yong_gmail.com#ext#@risebcg.onmicrosoft.com::67a27a72-2420-4d38-b745-316a53f4b99a" providerId="AD" clId="Web-{B0F3A502-3AAB-41AE-A44C-28F5E8973229}" dt="2022-01-10T09:52:51.728" v="66" actId="1076"/>
      <pc:docMkLst>
        <pc:docMk/>
      </pc:docMkLst>
      <pc:sldChg chg="addSp modSp">
        <pc:chgData name="EVELYNSM.YONG" userId="S::evelynsm.yong_gmail.com#ext#@risebcg.onmicrosoft.com::67a27a72-2420-4d38-b745-316a53f4b99a" providerId="AD" clId="Web-{B0F3A502-3AAB-41AE-A44C-28F5E8973229}" dt="2022-01-10T09:52:51.728" v="66" actId="1076"/>
        <pc:sldMkLst>
          <pc:docMk/>
          <pc:sldMk cId="3531645893" sldId="360"/>
        </pc:sldMkLst>
        <pc:spChg chg="mod">
          <ac:chgData name="EVELYNSM.YONG" userId="S::evelynsm.yong_gmail.com#ext#@risebcg.onmicrosoft.com::67a27a72-2420-4d38-b745-316a53f4b99a" providerId="AD" clId="Web-{B0F3A502-3AAB-41AE-A44C-28F5E8973229}" dt="2022-01-10T09:49:09.286" v="36"/>
          <ac:spMkLst>
            <pc:docMk/>
            <pc:sldMk cId="3531645893" sldId="360"/>
            <ac:spMk id="5" creationId="{1999C9A4-8C8B-43CC-B77D-B8C58575D4DE}"/>
          </ac:spMkLst>
        </pc:spChg>
        <pc:spChg chg="mod">
          <ac:chgData name="EVELYNSM.YONG" userId="S::evelynsm.yong_gmail.com#ext#@risebcg.onmicrosoft.com::67a27a72-2420-4d38-b745-316a53f4b99a" providerId="AD" clId="Web-{B0F3A502-3AAB-41AE-A44C-28F5E8973229}" dt="2022-01-10T09:52:46.384" v="64" actId="1076"/>
          <ac:spMkLst>
            <pc:docMk/>
            <pc:sldMk cId="3531645893" sldId="360"/>
            <ac:spMk id="16" creationId="{C5929122-1CD8-4F76-B666-CD1876A444F2}"/>
          </ac:spMkLst>
        </pc:spChg>
        <pc:spChg chg="mod">
          <ac:chgData name="EVELYNSM.YONG" userId="S::evelynsm.yong_gmail.com#ext#@risebcg.onmicrosoft.com::67a27a72-2420-4d38-b745-316a53f4b99a" providerId="AD" clId="Web-{B0F3A502-3AAB-41AE-A44C-28F5E8973229}" dt="2022-01-10T09:52:51.728" v="66" actId="1076"/>
          <ac:spMkLst>
            <pc:docMk/>
            <pc:sldMk cId="3531645893" sldId="360"/>
            <ac:spMk id="17" creationId="{B0B180E1-89CE-47E9-9BE8-885E81BBC262}"/>
          </ac:spMkLst>
        </pc:spChg>
        <pc:spChg chg="mod">
          <ac:chgData name="EVELYNSM.YONG" userId="S::evelynsm.yong_gmail.com#ext#@risebcg.onmicrosoft.com::67a27a72-2420-4d38-b745-316a53f4b99a" providerId="AD" clId="Web-{B0F3A502-3AAB-41AE-A44C-28F5E8973229}" dt="2022-01-10T09:48:39.317" v="31" actId="20577"/>
          <ac:spMkLst>
            <pc:docMk/>
            <pc:sldMk cId="3531645893" sldId="360"/>
            <ac:spMk id="18" creationId="{83C6C493-EE06-4670-B1AB-91DD5175B793}"/>
          </ac:spMkLst>
        </pc:spChg>
        <pc:spChg chg="mod">
          <ac:chgData name="EVELYNSM.YONG" userId="S::evelynsm.yong_gmail.com#ext#@risebcg.onmicrosoft.com::67a27a72-2420-4d38-b745-316a53f4b99a" providerId="AD" clId="Web-{B0F3A502-3AAB-41AE-A44C-28F5E8973229}" dt="2022-01-10T09:48:29.723" v="30"/>
          <ac:spMkLst>
            <pc:docMk/>
            <pc:sldMk cId="3531645893" sldId="360"/>
            <ac:spMk id="19" creationId="{950C64E7-6661-4AEA-8068-716AD3707128}"/>
          </ac:spMkLst>
        </pc:spChg>
        <pc:spChg chg="mod">
          <ac:chgData name="EVELYNSM.YONG" userId="S::evelynsm.yong_gmail.com#ext#@risebcg.onmicrosoft.com::67a27a72-2420-4d38-b745-316a53f4b99a" providerId="AD" clId="Web-{B0F3A502-3AAB-41AE-A44C-28F5E8973229}" dt="2022-01-10T09:52:47.712" v="65"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B0F3A502-3AAB-41AE-A44C-28F5E8973229}" dt="2022-01-10T09:48:07.441" v="19"/>
          <ac:spMkLst>
            <pc:docMk/>
            <pc:sldMk cId="3531645893" sldId="360"/>
            <ac:spMk id="21" creationId="{3B725847-CDC2-41AB-A059-69A3E5F93F82}"/>
          </ac:spMkLst>
        </pc:spChg>
        <pc:spChg chg="mod">
          <ac:chgData name="EVELYNSM.YONG" userId="S::evelynsm.yong_gmail.com#ext#@risebcg.onmicrosoft.com::67a27a72-2420-4d38-b745-316a53f4b99a" providerId="AD" clId="Web-{B0F3A502-3AAB-41AE-A44C-28F5E8973229}" dt="2022-01-10T09:48:22.348" v="28"/>
          <ac:spMkLst>
            <pc:docMk/>
            <pc:sldMk cId="3531645893" sldId="360"/>
            <ac:spMk id="23" creationId="{2E06316D-D669-4187-8235-1A4EE0D9868B}"/>
          </ac:spMkLst>
        </pc:spChg>
        <pc:spChg chg="mod">
          <ac:chgData name="EVELYNSM.YONG" userId="S::evelynsm.yong_gmail.com#ext#@risebcg.onmicrosoft.com::67a27a72-2420-4d38-b745-316a53f4b99a" providerId="AD" clId="Web-{B0F3A502-3AAB-41AE-A44C-28F5E8973229}" dt="2022-01-10T09:48:22.363" v="29"/>
          <ac:spMkLst>
            <pc:docMk/>
            <pc:sldMk cId="3531645893" sldId="360"/>
            <ac:spMk id="24" creationId="{CEFC4E90-FB9D-4E3E-86B1-5712D705BC99}"/>
          </ac:spMkLst>
        </pc:spChg>
        <pc:spChg chg="mod">
          <ac:chgData name="EVELYNSM.YONG" userId="S::evelynsm.yong_gmail.com#ext#@risebcg.onmicrosoft.com::67a27a72-2420-4d38-b745-316a53f4b99a" providerId="AD" clId="Web-{B0F3A502-3AAB-41AE-A44C-28F5E8973229}" dt="2022-01-10T09:49:02.599" v="35"/>
          <ac:spMkLst>
            <pc:docMk/>
            <pc:sldMk cId="3531645893" sldId="360"/>
            <ac:spMk id="25" creationId="{F2D8752B-46CF-482C-9E54-5BF79DDF6A1D}"/>
          </ac:spMkLst>
        </pc:spChg>
        <pc:spChg chg="mod">
          <ac:chgData name="EVELYNSM.YONG" userId="S::evelynsm.yong_gmail.com#ext#@risebcg.onmicrosoft.com::67a27a72-2420-4d38-b745-316a53f4b99a" providerId="AD" clId="Web-{B0F3A502-3AAB-41AE-A44C-28F5E8973229}" dt="2022-01-10T09:51:11.476" v="49"/>
          <ac:spMkLst>
            <pc:docMk/>
            <pc:sldMk cId="3531645893" sldId="360"/>
            <ac:spMk id="33" creationId="{49617808-6BA1-41EC-8873-001A45EF30D5}"/>
          </ac:spMkLst>
        </pc:spChg>
        <pc:spChg chg="mod">
          <ac:chgData name="EVELYNSM.YONG" userId="S::evelynsm.yong_gmail.com#ext#@risebcg.onmicrosoft.com::67a27a72-2420-4d38-b745-316a53f4b99a" providerId="AD" clId="Web-{B0F3A502-3AAB-41AE-A44C-28F5E8973229}" dt="2022-01-10T09:51:23.101" v="50"/>
          <ac:spMkLst>
            <pc:docMk/>
            <pc:sldMk cId="3531645893" sldId="360"/>
            <ac:spMk id="34" creationId="{BB464795-1EE5-4DAA-81B4-5DD73A621377}"/>
          </ac:spMkLst>
        </pc:spChg>
        <pc:spChg chg="mod">
          <ac:chgData name="EVELYNSM.YONG" userId="S::evelynsm.yong_gmail.com#ext#@risebcg.onmicrosoft.com::67a27a72-2420-4d38-b745-316a53f4b99a" providerId="AD" clId="Web-{B0F3A502-3AAB-41AE-A44C-28F5E8973229}" dt="2022-01-10T09:47:25.644" v="12" actId="1076"/>
          <ac:spMkLst>
            <pc:docMk/>
            <pc:sldMk cId="3531645893" sldId="360"/>
            <ac:spMk id="35" creationId="{BEBA2DB5-D01A-45D1-B10F-CDA2A5C3CE6D}"/>
          </ac:spMkLst>
        </pc:spChg>
        <pc:spChg chg="mod ord">
          <ac:chgData name="EVELYNSM.YONG" userId="S::evelynsm.yong_gmail.com#ext#@risebcg.onmicrosoft.com::67a27a72-2420-4d38-b745-316a53f4b99a" providerId="AD" clId="Web-{B0F3A502-3AAB-41AE-A44C-28F5E8973229}" dt="2022-01-10T09:51:23.132" v="52"/>
          <ac:spMkLst>
            <pc:docMk/>
            <pc:sldMk cId="3531645893" sldId="360"/>
            <ac:spMk id="37" creationId="{4AB50FB2-2592-4F25-B501-5E5ED17825ED}"/>
          </ac:spMkLst>
        </pc:spChg>
        <pc:spChg chg="mod">
          <ac:chgData name="EVELYNSM.YONG" userId="S::evelynsm.yong_gmail.com#ext#@risebcg.onmicrosoft.com::67a27a72-2420-4d38-b745-316a53f4b99a" providerId="AD" clId="Web-{B0F3A502-3AAB-41AE-A44C-28F5E8973229}" dt="2022-01-10T09:51:23.117" v="51"/>
          <ac:spMkLst>
            <pc:docMk/>
            <pc:sldMk cId="3531645893" sldId="360"/>
            <ac:spMk id="38" creationId="{CB428AE9-51B3-41CB-A62A-62EA6128CCE3}"/>
          </ac:spMkLst>
        </pc:spChg>
        <pc:spChg chg="mod">
          <ac:chgData name="EVELYNSM.YONG" userId="S::evelynsm.yong_gmail.com#ext#@risebcg.onmicrosoft.com::67a27a72-2420-4d38-b745-316a53f4b99a" providerId="AD" clId="Web-{B0F3A502-3AAB-41AE-A44C-28F5E8973229}" dt="2022-01-10T09:52:24.821" v="60"/>
          <ac:spMkLst>
            <pc:docMk/>
            <pc:sldMk cId="3531645893" sldId="360"/>
            <ac:spMk id="40" creationId="{ECF14FD3-8E08-4762-B1DE-BECAD18D177B}"/>
          </ac:spMkLst>
        </pc:spChg>
        <pc:picChg chg="mod">
          <ac:chgData name="EVELYNSM.YONG" userId="S::evelynsm.yong_gmail.com#ext#@risebcg.onmicrosoft.com::67a27a72-2420-4d38-b745-316a53f4b99a" providerId="AD" clId="Web-{B0F3A502-3AAB-41AE-A44C-28F5E8973229}" dt="2022-01-10T09:48:52.692" v="34" actId="1076"/>
          <ac:picMkLst>
            <pc:docMk/>
            <pc:sldMk cId="3531645893" sldId="360"/>
            <ac:picMk id="2" creationId="{D0C0A48E-43AC-4647-84A5-DAC9A37420F4}"/>
          </ac:picMkLst>
        </pc:picChg>
        <pc:picChg chg="add mod">
          <ac:chgData name="EVELYNSM.YONG" userId="S::evelynsm.yong_gmail.com#ext#@risebcg.onmicrosoft.com::67a27a72-2420-4d38-b745-316a53f4b99a" providerId="AD" clId="Web-{B0F3A502-3AAB-41AE-A44C-28F5E8973229}" dt="2022-01-10T09:47:18.034" v="10" actId="1076"/>
          <ac:picMkLst>
            <pc:docMk/>
            <pc:sldMk cId="3531645893" sldId="360"/>
            <ac:picMk id="7" creationId="{3D126662-F659-4393-8605-1D4F939D289C}"/>
          </ac:picMkLst>
        </pc:picChg>
      </pc:sldChg>
    </pc:docChg>
  </pc:docChgLst>
  <pc:docChgLst>
    <pc:chgData name="WESLEY.TBW" userId="S::wesley.tbw_gmail.com#ext#@risebcg.onmicrosoft.com::1034df62-ee6d-4b2f-8a56-03c4406a0a8a" providerId="AD" clId="Web-{8480D150-7F16-47E7-B1A6-9F08D74002B3}"/>
    <pc:docChg chg="modSld">
      <pc:chgData name="WESLEY.TBW" userId="S::wesley.tbw_gmail.com#ext#@risebcg.onmicrosoft.com::1034df62-ee6d-4b2f-8a56-03c4406a0a8a" providerId="AD" clId="Web-{8480D150-7F16-47E7-B1A6-9F08D74002B3}" dt="2022-01-12T08:12:30.417" v="45"/>
      <pc:docMkLst>
        <pc:docMk/>
      </pc:docMkLst>
      <pc:sldChg chg="modNotes">
        <pc:chgData name="WESLEY.TBW" userId="S::wesley.tbw_gmail.com#ext#@risebcg.onmicrosoft.com::1034df62-ee6d-4b2f-8a56-03c4406a0a8a" providerId="AD" clId="Web-{8480D150-7F16-47E7-B1A6-9F08D74002B3}" dt="2022-01-12T08:11:36.859" v="33"/>
        <pc:sldMkLst>
          <pc:docMk/>
          <pc:sldMk cId="2256265757" sldId="315"/>
        </pc:sldMkLst>
      </pc:sldChg>
      <pc:sldChg chg="addSp delSp modSp modNotes">
        <pc:chgData name="WESLEY.TBW" userId="S::wesley.tbw_gmail.com#ext#@risebcg.onmicrosoft.com::1034df62-ee6d-4b2f-8a56-03c4406a0a8a" providerId="AD" clId="Web-{8480D150-7F16-47E7-B1A6-9F08D74002B3}" dt="2022-01-12T08:11:59.681" v="36"/>
        <pc:sldMkLst>
          <pc:docMk/>
          <pc:sldMk cId="4084366951" sldId="318"/>
        </pc:sldMkLst>
        <pc:spChg chg="add del mod">
          <ac:chgData name="WESLEY.TBW" userId="S::wesley.tbw_gmail.com#ext#@risebcg.onmicrosoft.com::1034df62-ee6d-4b2f-8a56-03c4406a0a8a" providerId="AD" clId="Web-{8480D150-7F16-47E7-B1A6-9F08D74002B3}" dt="2022-01-12T08:10:29.707" v="3"/>
          <ac:spMkLst>
            <pc:docMk/>
            <pc:sldMk cId="4084366951" sldId="318"/>
            <ac:spMk id="5" creationId="{C87112A6-60FB-4EE6-932A-0E3642CA8C67}"/>
          </ac:spMkLst>
        </pc:spChg>
        <pc:spChg chg="mod">
          <ac:chgData name="WESLEY.TBW" userId="S::wesley.tbw_gmail.com#ext#@risebcg.onmicrosoft.com::1034df62-ee6d-4b2f-8a56-03c4406a0a8a" providerId="AD" clId="Web-{8480D150-7F16-47E7-B1A6-9F08D74002B3}" dt="2022-01-12T08:11:24.163" v="31" actId="20577"/>
          <ac:spMkLst>
            <pc:docMk/>
            <pc:sldMk cId="4084366951" sldId="318"/>
            <ac:spMk id="32" creationId="{41E099E5-F68B-4939-9F7A-B9CC2E5F333A}"/>
          </ac:spMkLst>
        </pc:spChg>
      </pc:sldChg>
      <pc:sldChg chg="modNotes">
        <pc:chgData name="WESLEY.TBW" userId="S::wesley.tbw_gmail.com#ext#@risebcg.onmicrosoft.com::1034df62-ee6d-4b2f-8a56-03c4406a0a8a" providerId="AD" clId="Web-{8480D150-7F16-47E7-B1A6-9F08D74002B3}" dt="2022-01-12T08:12:13.978" v="39"/>
        <pc:sldMkLst>
          <pc:docMk/>
          <pc:sldMk cId="1249418479" sldId="334"/>
        </pc:sldMkLst>
      </pc:sldChg>
      <pc:sldChg chg="modNotes">
        <pc:chgData name="WESLEY.TBW" userId="S::wesley.tbw_gmail.com#ext#@risebcg.onmicrosoft.com::1034df62-ee6d-4b2f-8a56-03c4406a0a8a" providerId="AD" clId="Web-{8480D150-7F16-47E7-B1A6-9F08D74002B3}" dt="2022-01-12T08:12:30.417" v="45"/>
        <pc:sldMkLst>
          <pc:docMk/>
          <pc:sldMk cId="4159389698" sldId="342"/>
        </pc:sldMkLst>
      </pc:sldChg>
    </pc:docChg>
  </pc:docChgLst>
  <pc:docChgLst>
    <pc:chgData name="EVELYNSM.YONG" userId="S::evelynsm.yong_gmail.com#ext#@risebcg.onmicrosoft.com::67a27a72-2420-4d38-b745-316a53f4b99a" providerId="AD" clId="Web-{8BDC63DD-249F-4E6F-A55B-0758E9C53307}"/>
    <pc:docChg chg="modSld">
      <pc:chgData name="EVELYNSM.YONG" userId="S::evelynsm.yong_gmail.com#ext#@risebcg.onmicrosoft.com::67a27a72-2420-4d38-b745-316a53f4b99a" providerId="AD" clId="Web-{8BDC63DD-249F-4E6F-A55B-0758E9C53307}" dt="2022-01-10T10:56:09.264" v="1"/>
      <pc:docMkLst>
        <pc:docMk/>
      </pc:docMkLst>
      <pc:sldChg chg="modSp">
        <pc:chgData name="EVELYNSM.YONG" userId="S::evelynsm.yong_gmail.com#ext#@risebcg.onmicrosoft.com::67a27a72-2420-4d38-b745-316a53f4b99a" providerId="AD" clId="Web-{8BDC63DD-249F-4E6F-A55B-0758E9C53307}" dt="2022-01-10T10:56:09.264" v="1"/>
        <pc:sldMkLst>
          <pc:docMk/>
          <pc:sldMk cId="3531645893" sldId="360"/>
        </pc:sldMkLst>
        <pc:spChg chg="mod">
          <ac:chgData name="EVELYNSM.YONG" userId="S::evelynsm.yong_gmail.com#ext#@risebcg.onmicrosoft.com::67a27a72-2420-4d38-b745-316a53f4b99a" providerId="AD" clId="Web-{8BDC63DD-249F-4E6F-A55B-0758E9C53307}" dt="2022-01-10T10:56:09.264" v="1"/>
          <ac:spMkLst>
            <pc:docMk/>
            <pc:sldMk cId="3531645893" sldId="360"/>
            <ac:spMk id="27" creationId="{9C31BED3-CE5F-440A-A9B8-F5924562E1BA}"/>
          </ac:spMkLst>
        </pc:spChg>
        <pc:spChg chg="mod">
          <ac:chgData name="EVELYNSM.YONG" userId="S::evelynsm.yong_gmail.com#ext#@risebcg.onmicrosoft.com::67a27a72-2420-4d38-b745-316a53f4b99a" providerId="AD" clId="Web-{8BDC63DD-249F-4E6F-A55B-0758E9C53307}" dt="2022-01-10T10:56:04.296" v="0"/>
          <ac:spMkLst>
            <pc:docMk/>
            <pc:sldMk cId="3531645893" sldId="360"/>
            <ac:spMk id="29" creationId="{C9BEC35E-523C-4554-8EBD-4475698ECF55}"/>
          </ac:spMkLst>
        </pc:spChg>
      </pc:sldChg>
    </pc:docChg>
  </pc:docChgLst>
  <pc:docChgLst>
    <pc:chgData name="WESLEY.TBW" userId="S::wesley.tbw_gmail.com#ext#@risebcg.onmicrosoft.com::1034df62-ee6d-4b2f-8a56-03c4406a0a8a" providerId="AD" clId="Web-{DEAFE59B-C1D4-431B-B4F3-DFC1E184A427}"/>
    <pc:docChg chg="modSld">
      <pc:chgData name="WESLEY.TBW" userId="S::wesley.tbw_gmail.com#ext#@risebcg.onmicrosoft.com::1034df62-ee6d-4b2f-8a56-03c4406a0a8a" providerId="AD" clId="Web-{DEAFE59B-C1D4-431B-B4F3-DFC1E184A427}" dt="2022-01-11T15:19:41.155" v="257"/>
      <pc:docMkLst>
        <pc:docMk/>
      </pc:docMkLst>
      <pc:sldChg chg="addSp delSp modSp">
        <pc:chgData name="WESLEY.TBW" userId="S::wesley.tbw_gmail.com#ext#@risebcg.onmicrosoft.com::1034df62-ee6d-4b2f-8a56-03c4406a0a8a" providerId="AD" clId="Web-{DEAFE59B-C1D4-431B-B4F3-DFC1E184A427}" dt="2022-01-11T14:53:15.864" v="255"/>
        <pc:sldMkLst>
          <pc:docMk/>
          <pc:sldMk cId="2256265757" sldId="315"/>
        </pc:sldMkLst>
        <pc:spChg chg="add del mod">
          <ac:chgData name="WESLEY.TBW" userId="S::wesley.tbw_gmail.com#ext#@risebcg.onmicrosoft.com::1034df62-ee6d-4b2f-8a56-03c4406a0a8a" providerId="AD" clId="Web-{DEAFE59B-C1D4-431B-B4F3-DFC1E184A427}" dt="2022-01-11T14:53:15.864" v="255"/>
          <ac:spMkLst>
            <pc:docMk/>
            <pc:sldMk cId="2256265757" sldId="315"/>
            <ac:spMk id="36" creationId="{263EC82A-99D7-443D-AC7F-92CE6B840F66}"/>
          </ac:spMkLst>
        </pc:spChg>
        <pc:graphicFrameChg chg="modGraphic">
          <ac:chgData name="WESLEY.TBW" userId="S::wesley.tbw_gmail.com#ext#@risebcg.onmicrosoft.com::1034df62-ee6d-4b2f-8a56-03c4406a0a8a" providerId="AD" clId="Web-{DEAFE59B-C1D4-431B-B4F3-DFC1E184A427}" dt="2022-01-11T14:51:40.768" v="246"/>
          <ac:graphicFrameMkLst>
            <pc:docMk/>
            <pc:sldMk cId="2256265757" sldId="315"/>
            <ac:graphicFrameMk id="52" creationId="{C255B91C-8C66-41AC-96CF-25F03474A6A9}"/>
          </ac:graphicFrameMkLst>
        </pc:graphicFrameChg>
      </pc:sldChg>
      <pc:sldChg chg="modSp">
        <pc:chgData name="WESLEY.TBW" userId="S::wesley.tbw_gmail.com#ext#@risebcg.onmicrosoft.com::1034df62-ee6d-4b2f-8a56-03c4406a0a8a" providerId="AD" clId="Web-{DEAFE59B-C1D4-431B-B4F3-DFC1E184A427}" dt="2022-01-11T14:24:17.536" v="153" actId="20577"/>
        <pc:sldMkLst>
          <pc:docMk/>
          <pc:sldMk cId="4084366951" sldId="318"/>
        </pc:sldMkLst>
        <pc:spChg chg="mod">
          <ac:chgData name="WESLEY.TBW" userId="S::wesley.tbw_gmail.com#ext#@risebcg.onmicrosoft.com::1034df62-ee6d-4b2f-8a56-03c4406a0a8a" providerId="AD" clId="Web-{DEAFE59B-C1D4-431B-B4F3-DFC1E184A427}" dt="2022-01-11T14:24:17.536" v="153" actId="20577"/>
          <ac:spMkLst>
            <pc:docMk/>
            <pc:sldMk cId="4084366951" sldId="318"/>
            <ac:spMk id="11" creationId="{A6F20F02-BD7A-4398-8CBB-C5E420FA8443}"/>
          </ac:spMkLst>
        </pc:spChg>
      </pc:sldChg>
      <pc:sldChg chg="addSp delSp modSp">
        <pc:chgData name="WESLEY.TBW" userId="S::wesley.tbw_gmail.com#ext#@risebcg.onmicrosoft.com::1034df62-ee6d-4b2f-8a56-03c4406a0a8a" providerId="AD" clId="Web-{DEAFE59B-C1D4-431B-B4F3-DFC1E184A427}" dt="2022-01-11T14:22:55.769" v="105" actId="14100"/>
        <pc:sldMkLst>
          <pc:docMk/>
          <pc:sldMk cId="416007632" sldId="327"/>
        </pc:sldMkLst>
        <pc:spChg chg="add del mod">
          <ac:chgData name="WESLEY.TBW" userId="S::wesley.tbw_gmail.com#ext#@risebcg.onmicrosoft.com::1034df62-ee6d-4b2f-8a56-03c4406a0a8a" providerId="AD" clId="Web-{DEAFE59B-C1D4-431B-B4F3-DFC1E184A427}" dt="2022-01-11T14:20:36.048" v="51"/>
          <ac:spMkLst>
            <pc:docMk/>
            <pc:sldMk cId="416007632" sldId="327"/>
            <ac:spMk id="3" creationId="{48D81740-3663-4D66-BBB3-3880DCB9AEE8}"/>
          </ac:spMkLst>
        </pc:spChg>
        <pc:spChg chg="add del mod">
          <ac:chgData name="WESLEY.TBW" userId="S::wesley.tbw_gmail.com#ext#@risebcg.onmicrosoft.com::1034df62-ee6d-4b2f-8a56-03c4406a0a8a" providerId="AD" clId="Web-{DEAFE59B-C1D4-431B-B4F3-DFC1E184A427}" dt="2022-01-11T14:18:18.935" v="47"/>
          <ac:spMkLst>
            <pc:docMk/>
            <pc:sldMk cId="416007632" sldId="327"/>
            <ac:spMk id="3" creationId="{F99ED3EF-8B29-4754-AB08-07BA730C775F}"/>
          </ac:spMkLst>
        </pc:spChg>
        <pc:spChg chg="add del mod">
          <ac:chgData name="WESLEY.TBW" userId="S::wesley.tbw_gmail.com#ext#@risebcg.onmicrosoft.com::1034df62-ee6d-4b2f-8a56-03c4406a0a8a" providerId="AD" clId="Web-{DEAFE59B-C1D4-431B-B4F3-DFC1E184A427}" dt="2022-01-11T14:18:19.326" v="48"/>
          <ac:spMkLst>
            <pc:docMk/>
            <pc:sldMk cId="416007632" sldId="327"/>
            <ac:spMk id="20" creationId="{F728503F-A30A-4BFC-9D0E-F3965091B339}"/>
          </ac:spMkLst>
        </pc:spChg>
        <pc:spChg chg="mod">
          <ac:chgData name="WESLEY.TBW" userId="S::wesley.tbw_gmail.com#ext#@risebcg.onmicrosoft.com::1034df62-ee6d-4b2f-8a56-03c4406a0a8a" providerId="AD" clId="Web-{DEAFE59B-C1D4-431B-B4F3-DFC1E184A427}" dt="2022-01-11T14:21:05.689" v="60" actId="20577"/>
          <ac:spMkLst>
            <pc:docMk/>
            <pc:sldMk cId="416007632" sldId="327"/>
            <ac:spMk id="35" creationId="{E20AAA99-395B-4009-AF86-AC6B211B7758}"/>
          </ac:spMkLst>
        </pc:spChg>
        <pc:spChg chg="mod">
          <ac:chgData name="WESLEY.TBW" userId="S::wesley.tbw_gmail.com#ext#@risebcg.onmicrosoft.com::1034df62-ee6d-4b2f-8a56-03c4406a0a8a" providerId="AD" clId="Web-{DEAFE59B-C1D4-431B-B4F3-DFC1E184A427}" dt="2022-01-11T14:22:55.769" v="105" actId="14100"/>
          <ac:spMkLst>
            <pc:docMk/>
            <pc:sldMk cId="416007632" sldId="327"/>
            <ac:spMk id="37" creationId="{1AA86EF9-D1F2-488E-902B-9C25FAEFDD52}"/>
          </ac:spMkLst>
        </pc:spChg>
      </pc:sldChg>
      <pc:sldChg chg="modSp">
        <pc:chgData name="WESLEY.TBW" userId="S::wesley.tbw_gmail.com#ext#@risebcg.onmicrosoft.com::1034df62-ee6d-4b2f-8a56-03c4406a0a8a" providerId="AD" clId="Web-{DEAFE59B-C1D4-431B-B4F3-DFC1E184A427}" dt="2022-01-11T15:19:41.155" v="257"/>
        <pc:sldMkLst>
          <pc:docMk/>
          <pc:sldMk cId="59737257" sldId="391"/>
        </pc:sldMkLst>
        <pc:spChg chg="mod">
          <ac:chgData name="WESLEY.TBW" userId="S::wesley.tbw_gmail.com#ext#@risebcg.onmicrosoft.com::1034df62-ee6d-4b2f-8a56-03c4406a0a8a" providerId="AD" clId="Web-{DEAFE59B-C1D4-431B-B4F3-DFC1E184A427}" dt="2022-01-11T15:19:41.155" v="257"/>
          <ac:spMkLst>
            <pc:docMk/>
            <pc:sldMk cId="59737257" sldId="391"/>
            <ac:spMk id="160" creationId="{129EBF9C-3DCE-40EC-8CFB-1CB201B252BE}"/>
          </ac:spMkLst>
        </pc:spChg>
      </pc:sldChg>
    </pc:docChg>
  </pc:docChgLst>
  <pc:docChgLst>
    <pc:chgData name="WONGYONGLIN91" userId="S::wongyonglin91_gmail.com#ext#@risebcg.onmicrosoft.com::b2d94f93-e580-4f0d-9dda-2138509d25ae" providerId="AD" clId="Web-{116AD1FC-2C16-4F94-8C8D-181AC04248D0}"/>
    <pc:docChg chg="modSld">
      <pc:chgData name="WONGYONGLIN91" userId="S::wongyonglin91_gmail.com#ext#@risebcg.onmicrosoft.com::b2d94f93-e580-4f0d-9dda-2138509d25ae" providerId="AD" clId="Web-{116AD1FC-2C16-4F94-8C8D-181AC04248D0}" dt="2022-01-11T04:00:03.570" v="25" actId="1076"/>
      <pc:docMkLst>
        <pc:docMk/>
      </pc:docMkLst>
      <pc:sldChg chg="modSp">
        <pc:chgData name="WONGYONGLIN91" userId="S::wongyonglin91_gmail.com#ext#@risebcg.onmicrosoft.com::b2d94f93-e580-4f0d-9dda-2138509d25ae" providerId="AD" clId="Web-{116AD1FC-2C16-4F94-8C8D-181AC04248D0}" dt="2022-01-11T03:43:21.207" v="20" actId="1076"/>
        <pc:sldMkLst>
          <pc:docMk/>
          <pc:sldMk cId="2256265757" sldId="315"/>
        </pc:sldMkLst>
        <pc:graphicFrameChg chg="mod">
          <ac:chgData name="WONGYONGLIN91" userId="S::wongyonglin91_gmail.com#ext#@risebcg.onmicrosoft.com::b2d94f93-e580-4f0d-9dda-2138509d25ae" providerId="AD" clId="Web-{116AD1FC-2C16-4F94-8C8D-181AC04248D0}" dt="2022-01-11T03:43:21.207" v="20" actId="1076"/>
          <ac:graphicFrameMkLst>
            <pc:docMk/>
            <pc:sldMk cId="2256265757" sldId="315"/>
            <ac:graphicFrameMk id="38" creationId="{2DAB4BA8-57FC-486D-A609-66F3FDCD540C}"/>
          </ac:graphicFrameMkLst>
        </pc:graphicFrameChg>
      </pc:sldChg>
      <pc:sldChg chg="addSp delSp modSp">
        <pc:chgData name="WONGYONGLIN91" userId="S::wongyonglin91_gmail.com#ext#@risebcg.onmicrosoft.com::b2d94f93-e580-4f0d-9dda-2138509d25ae" providerId="AD" clId="Web-{116AD1FC-2C16-4F94-8C8D-181AC04248D0}" dt="2022-01-11T03:23:20.715" v="19" actId="14100"/>
        <pc:sldMkLst>
          <pc:docMk/>
          <pc:sldMk cId="3971465157" sldId="345"/>
        </pc:sldMkLst>
        <pc:picChg chg="add mod">
          <ac:chgData name="WONGYONGLIN91" userId="S::wongyonglin91_gmail.com#ext#@risebcg.onmicrosoft.com::b2d94f93-e580-4f0d-9dda-2138509d25ae" providerId="AD" clId="Web-{116AD1FC-2C16-4F94-8C8D-181AC04248D0}" dt="2022-01-11T03:22:58.683" v="15" actId="14100"/>
          <ac:picMkLst>
            <pc:docMk/>
            <pc:sldMk cId="3971465157" sldId="345"/>
            <ac:picMk id="6" creationId="{AC523019-759A-4F10-81C2-E17F7288D0AA}"/>
          </ac:picMkLst>
        </pc:picChg>
        <pc:picChg chg="add mod">
          <ac:chgData name="WONGYONGLIN91" userId="S::wongyonglin91_gmail.com#ext#@risebcg.onmicrosoft.com::b2d94f93-e580-4f0d-9dda-2138509d25ae" providerId="AD" clId="Web-{116AD1FC-2C16-4F94-8C8D-181AC04248D0}" dt="2022-01-11T03:23:20.715" v="19" actId="14100"/>
          <ac:picMkLst>
            <pc:docMk/>
            <pc:sldMk cId="3971465157" sldId="345"/>
            <ac:picMk id="7" creationId="{D7C5CD80-1D44-4746-B711-81F43E2686E9}"/>
          </ac:picMkLst>
        </pc:picChg>
        <pc:picChg chg="del">
          <ac:chgData name="WONGYONGLIN91" userId="S::wongyonglin91_gmail.com#ext#@risebcg.onmicrosoft.com::b2d94f93-e580-4f0d-9dda-2138509d25ae" providerId="AD" clId="Web-{116AD1FC-2C16-4F94-8C8D-181AC04248D0}" dt="2022-01-11T03:23:13.215" v="16"/>
          <ac:picMkLst>
            <pc:docMk/>
            <pc:sldMk cId="3971465157" sldId="345"/>
            <ac:picMk id="8" creationId="{1C37FA25-553F-4164-8C97-7E76EEDF8003}"/>
          </ac:picMkLst>
        </pc:picChg>
        <pc:picChg chg="del">
          <ac:chgData name="WONGYONGLIN91" userId="S::wongyonglin91_gmail.com#ext#@risebcg.onmicrosoft.com::b2d94f93-e580-4f0d-9dda-2138509d25ae" providerId="AD" clId="Web-{116AD1FC-2C16-4F94-8C8D-181AC04248D0}" dt="2022-01-11T03:22:49.667" v="12"/>
          <ac:picMkLst>
            <pc:docMk/>
            <pc:sldMk cId="3971465157" sldId="345"/>
            <ac:picMk id="9" creationId="{97A95AB9-26F3-4FFA-B40B-A3BFD1A87A7B}"/>
          </ac:picMkLst>
        </pc:picChg>
      </pc:sldChg>
      <pc:sldChg chg="addSp delSp modSp">
        <pc:chgData name="WONGYONGLIN91" userId="S::wongyonglin91_gmail.com#ext#@risebcg.onmicrosoft.com::b2d94f93-e580-4f0d-9dda-2138509d25ae" providerId="AD" clId="Web-{116AD1FC-2C16-4F94-8C8D-181AC04248D0}" dt="2022-01-11T04:00:03.570" v="25" actId="1076"/>
        <pc:sldMkLst>
          <pc:docMk/>
          <pc:sldMk cId="3758978858" sldId="379"/>
        </pc:sldMkLst>
        <pc:picChg chg="add mod">
          <ac:chgData name="WONGYONGLIN91" userId="S::wongyonglin91_gmail.com#ext#@risebcg.onmicrosoft.com::b2d94f93-e580-4f0d-9dda-2138509d25ae" providerId="AD" clId="Web-{116AD1FC-2C16-4F94-8C8D-181AC04248D0}" dt="2022-01-11T03:59:56.335" v="23" actId="1076"/>
          <ac:picMkLst>
            <pc:docMk/>
            <pc:sldMk cId="3758978858" sldId="379"/>
            <ac:picMk id="5" creationId="{83C6785E-446C-4CAD-9151-798BFDC1A6C0}"/>
          </ac:picMkLst>
        </pc:picChg>
        <pc:picChg chg="add mod">
          <ac:chgData name="WONGYONGLIN91" userId="S::wongyonglin91_gmail.com#ext#@risebcg.onmicrosoft.com::b2d94f93-e580-4f0d-9dda-2138509d25ae" providerId="AD" clId="Web-{116AD1FC-2C16-4F94-8C8D-181AC04248D0}" dt="2022-01-11T03:18:54.694" v="7" actId="14100"/>
          <ac:picMkLst>
            <pc:docMk/>
            <pc:sldMk cId="3758978858" sldId="379"/>
            <ac:picMk id="6" creationId="{1882E93D-494F-4BA8-9098-F878337761DC}"/>
          </ac:picMkLst>
        </pc:picChg>
        <pc:picChg chg="del">
          <ac:chgData name="WONGYONGLIN91" userId="S::wongyonglin91_gmail.com#ext#@risebcg.onmicrosoft.com::b2d94f93-e580-4f0d-9dda-2138509d25ae" providerId="AD" clId="Web-{116AD1FC-2C16-4F94-8C8D-181AC04248D0}" dt="2022-01-11T03:18:46.538" v="4"/>
          <ac:picMkLst>
            <pc:docMk/>
            <pc:sldMk cId="3758978858" sldId="379"/>
            <ac:picMk id="7" creationId="{7172E854-F91B-4034-914C-283C25FD691D}"/>
          </ac:picMkLst>
        </pc:picChg>
        <pc:picChg chg="add mod">
          <ac:chgData name="WONGYONGLIN91" userId="S::wongyonglin91_gmail.com#ext#@risebcg.onmicrosoft.com::b2d94f93-e580-4f0d-9dda-2138509d25ae" providerId="AD" clId="Web-{116AD1FC-2C16-4F94-8C8D-181AC04248D0}" dt="2022-01-11T04:00:03.570" v="25" actId="1076"/>
          <ac:picMkLst>
            <pc:docMk/>
            <pc:sldMk cId="3758978858" sldId="379"/>
            <ac:picMk id="8" creationId="{750CED42-2432-46DD-B274-1632B83D2A96}"/>
          </ac:picMkLst>
        </pc:picChg>
        <pc:picChg chg="del mod">
          <ac:chgData name="WONGYONGLIN91" userId="S::wongyonglin91_gmail.com#ext#@risebcg.onmicrosoft.com::b2d94f93-e580-4f0d-9dda-2138509d25ae" providerId="AD" clId="Web-{116AD1FC-2C16-4F94-8C8D-181AC04248D0}" dt="2022-01-11T03:19:24.335" v="8"/>
          <ac:picMkLst>
            <pc:docMk/>
            <pc:sldMk cId="3758978858" sldId="379"/>
            <ac:picMk id="9" creationId="{D15396CB-C56C-4A94-B451-A160648373B0}"/>
          </ac:picMkLst>
        </pc:picChg>
      </pc:sldChg>
    </pc:docChg>
  </pc:docChgLst>
  <pc:docChgLst>
    <pc:chgData name="EVELYNSM.YONG" userId="S::evelynsm.yong_gmail.com#ext#@risebcg.onmicrosoft.com::67a27a72-2420-4d38-b745-316a53f4b99a" providerId="AD" clId="Web-{F7F9ED99-F543-40A2-8A6C-8021AD617F06}"/>
    <pc:docChg chg="addSld delSld modSld sldOrd">
      <pc:chgData name="EVELYNSM.YONG" userId="S::evelynsm.yong_gmail.com#ext#@risebcg.onmicrosoft.com::67a27a72-2420-4d38-b745-316a53f4b99a" providerId="AD" clId="Web-{F7F9ED99-F543-40A2-8A6C-8021AD617F06}" dt="2022-01-11T03:32:22.964" v="998" actId="1076"/>
      <pc:docMkLst>
        <pc:docMk/>
      </pc:docMkLst>
      <pc:sldChg chg="addSp modSp ord">
        <pc:chgData name="EVELYNSM.YONG" userId="S::evelynsm.yong_gmail.com#ext#@risebcg.onmicrosoft.com::67a27a72-2420-4d38-b745-316a53f4b99a" providerId="AD" clId="Web-{F7F9ED99-F543-40A2-8A6C-8021AD617F06}" dt="2022-01-11T02:59:43.378" v="291" actId="20577"/>
        <pc:sldMkLst>
          <pc:docMk/>
          <pc:sldMk cId="2761597836" sldId="317"/>
        </pc:sldMkLst>
        <pc:spChg chg="mod">
          <ac:chgData name="EVELYNSM.YONG" userId="S::evelynsm.yong_gmail.com#ext#@risebcg.onmicrosoft.com::67a27a72-2420-4d38-b745-316a53f4b99a" providerId="AD" clId="Web-{F7F9ED99-F543-40A2-8A6C-8021AD617F06}" dt="2022-01-11T02:59:32.300" v="290"/>
          <ac:spMkLst>
            <pc:docMk/>
            <pc:sldMk cId="2761597836" sldId="317"/>
            <ac:spMk id="2" creationId="{1CAEE4F4-60D4-46CA-A79F-1CD22235EEA0}"/>
          </ac:spMkLst>
        </pc:spChg>
        <pc:spChg chg="mod">
          <ac:chgData name="EVELYNSM.YONG" userId="S::evelynsm.yong_gmail.com#ext#@risebcg.onmicrosoft.com::67a27a72-2420-4d38-b745-316a53f4b99a" providerId="AD" clId="Web-{F7F9ED99-F543-40A2-8A6C-8021AD617F06}" dt="2022-01-11T02:59:43.378" v="291" actId="20577"/>
          <ac:spMkLst>
            <pc:docMk/>
            <pc:sldMk cId="2761597836" sldId="317"/>
            <ac:spMk id="3" creationId="{3AAD55FA-63B7-4DBA-8DC0-293DEF7C309C}"/>
          </ac:spMkLst>
        </pc:spChg>
        <pc:spChg chg="add">
          <ac:chgData name="EVELYNSM.YONG" userId="S::evelynsm.yong_gmail.com#ext#@risebcg.onmicrosoft.com::67a27a72-2420-4d38-b745-316a53f4b99a" providerId="AD" clId="Web-{F7F9ED99-F543-40A2-8A6C-8021AD617F06}" dt="2022-01-11T02:59:23.565" v="286"/>
          <ac:spMkLst>
            <pc:docMk/>
            <pc:sldMk cId="2761597836" sldId="317"/>
            <ac:spMk id="4" creationId="{47FBA980-748F-45F3-A601-867538EAE4C8}"/>
          </ac:spMkLst>
        </pc:spChg>
        <pc:picChg chg="mod">
          <ac:chgData name="EVELYNSM.YONG" userId="S::evelynsm.yong_gmail.com#ext#@risebcg.onmicrosoft.com::67a27a72-2420-4d38-b745-316a53f4b99a" providerId="AD" clId="Web-{F7F9ED99-F543-40A2-8A6C-8021AD617F06}" dt="2022-01-11T02:59:25.362" v="288" actId="1076"/>
          <ac:picMkLst>
            <pc:docMk/>
            <pc:sldMk cId="2761597836" sldId="317"/>
            <ac:picMk id="5" creationId="{EFAB945F-9334-4743-9C72-A318D57D242D}"/>
          </ac:picMkLst>
        </pc:picChg>
        <pc:picChg chg="add">
          <ac:chgData name="EVELYNSM.YONG" userId="S::evelynsm.yong_gmail.com#ext#@risebcg.onmicrosoft.com::67a27a72-2420-4d38-b745-316a53f4b99a" providerId="AD" clId="Web-{F7F9ED99-F543-40A2-8A6C-8021AD617F06}" dt="2022-01-11T02:59:23.581" v="287"/>
          <ac:picMkLst>
            <pc:docMk/>
            <pc:sldMk cId="2761597836" sldId="317"/>
            <ac:picMk id="9" creationId="{D1197DB7-AECA-45D2-B625-C5A366E0F15B}"/>
          </ac:picMkLst>
        </pc:picChg>
      </pc:sldChg>
      <pc:sldChg chg="addSp modSp">
        <pc:chgData name="EVELYNSM.YONG" userId="S::evelynsm.yong_gmail.com#ext#@risebcg.onmicrosoft.com::67a27a72-2420-4d38-b745-316a53f4b99a" providerId="AD" clId="Web-{F7F9ED99-F543-40A2-8A6C-8021AD617F06}" dt="2022-01-11T03:32:22.964" v="998" actId="1076"/>
        <pc:sldMkLst>
          <pc:docMk/>
          <pc:sldMk cId="3666302761" sldId="324"/>
        </pc:sldMkLst>
        <pc:spChg chg="mod">
          <ac:chgData name="EVELYNSM.YONG" userId="S::evelynsm.yong_gmail.com#ext#@risebcg.onmicrosoft.com::67a27a72-2420-4d38-b745-316a53f4b99a" providerId="AD" clId="Web-{F7F9ED99-F543-40A2-8A6C-8021AD617F06}" dt="2022-01-11T03:32:07.417" v="991" actId="20577"/>
          <ac:spMkLst>
            <pc:docMk/>
            <pc:sldMk cId="3666302761" sldId="324"/>
            <ac:spMk id="28" creationId="{5BEF8CBE-6A99-4BE1-8789-ABAC27A176FF}"/>
          </ac:spMkLst>
        </pc:spChg>
        <pc:cxnChg chg="add mod">
          <ac:chgData name="EVELYNSM.YONG" userId="S::evelynsm.yong_gmail.com#ext#@risebcg.onmicrosoft.com::67a27a72-2420-4d38-b745-316a53f4b99a" providerId="AD" clId="Web-{F7F9ED99-F543-40A2-8A6C-8021AD617F06}" dt="2022-01-11T03:32:22.964" v="998" actId="1076"/>
          <ac:cxnSpMkLst>
            <pc:docMk/>
            <pc:sldMk cId="3666302761" sldId="324"/>
            <ac:cxnSpMk id="2" creationId="{B63EFFEA-9E3A-4A13-9654-5C684A6E316D}"/>
          </ac:cxnSpMkLst>
        </pc:cxnChg>
      </pc:sldChg>
      <pc:sldChg chg="delSp modSp">
        <pc:chgData name="EVELYNSM.YONG" userId="S::evelynsm.yong_gmail.com#ext#@risebcg.onmicrosoft.com::67a27a72-2420-4d38-b745-316a53f4b99a" providerId="AD" clId="Web-{F7F9ED99-F543-40A2-8A6C-8021AD617F06}" dt="2022-01-11T03:03:23.742" v="359" actId="1076"/>
        <pc:sldMkLst>
          <pc:docMk/>
          <pc:sldMk cId="2160415509" sldId="326"/>
        </pc:sldMkLst>
        <pc:spChg chg="mod">
          <ac:chgData name="EVELYNSM.YONG" userId="S::evelynsm.yong_gmail.com#ext#@risebcg.onmicrosoft.com::67a27a72-2420-4d38-b745-316a53f4b99a" providerId="AD" clId="Web-{F7F9ED99-F543-40A2-8A6C-8021AD617F06}" dt="2022-01-11T03:03:19.258" v="357" actId="1076"/>
          <ac:spMkLst>
            <pc:docMk/>
            <pc:sldMk cId="2160415509" sldId="326"/>
            <ac:spMk id="3" creationId="{A06E2C6C-AA2D-4DBA-B448-457815C4CAD3}"/>
          </ac:spMkLst>
        </pc:spChg>
        <pc:spChg chg="mod">
          <ac:chgData name="EVELYNSM.YONG" userId="S::evelynsm.yong_gmail.com#ext#@risebcg.onmicrosoft.com::67a27a72-2420-4d38-b745-316a53f4b99a" providerId="AD" clId="Web-{F7F9ED99-F543-40A2-8A6C-8021AD617F06}" dt="2022-01-11T02:44:40.798" v="35" actId="14100"/>
          <ac:spMkLst>
            <pc:docMk/>
            <pc:sldMk cId="2160415509" sldId="326"/>
            <ac:spMk id="4" creationId="{215644EC-E1A2-4B5F-BA53-79EB189605EC}"/>
          </ac:spMkLst>
        </pc:spChg>
        <pc:spChg chg="mod">
          <ac:chgData name="EVELYNSM.YONG" userId="S::evelynsm.yong_gmail.com#ext#@risebcg.onmicrosoft.com::67a27a72-2420-4d38-b745-316a53f4b99a" providerId="AD" clId="Web-{F7F9ED99-F543-40A2-8A6C-8021AD617F06}" dt="2022-01-11T03:03:15.507" v="356" actId="14100"/>
          <ac:spMkLst>
            <pc:docMk/>
            <pc:sldMk cId="2160415509" sldId="326"/>
            <ac:spMk id="7" creationId="{EE72E06D-8EAE-4242-B1FE-DB5A60BCC68C}"/>
          </ac:spMkLst>
        </pc:spChg>
        <pc:spChg chg="mod">
          <ac:chgData name="EVELYNSM.YONG" userId="S::evelynsm.yong_gmail.com#ext#@risebcg.onmicrosoft.com::67a27a72-2420-4d38-b745-316a53f4b99a" providerId="AD" clId="Web-{F7F9ED99-F543-40A2-8A6C-8021AD617F06}" dt="2022-01-11T03:03:21.101" v="358" actId="1076"/>
          <ac:spMkLst>
            <pc:docMk/>
            <pc:sldMk cId="2160415509" sldId="326"/>
            <ac:spMk id="10" creationId="{F403E5AA-CAF9-429E-AF8A-D6CAE94AE104}"/>
          </ac:spMkLst>
        </pc:spChg>
        <pc:spChg chg="mod">
          <ac:chgData name="EVELYNSM.YONG" userId="S::evelynsm.yong_gmail.com#ext#@risebcg.onmicrosoft.com::67a27a72-2420-4d38-b745-316a53f4b99a" providerId="AD" clId="Web-{F7F9ED99-F543-40A2-8A6C-8021AD617F06}" dt="2022-01-11T03:03:23.742" v="359" actId="1076"/>
          <ac:spMkLst>
            <pc:docMk/>
            <pc:sldMk cId="2160415509" sldId="326"/>
            <ac:spMk id="12" creationId="{E8C9A459-A11F-4DB3-BC61-E14A0DC903CB}"/>
          </ac:spMkLst>
        </pc:spChg>
        <pc:spChg chg="del">
          <ac:chgData name="EVELYNSM.YONG" userId="S::evelynsm.yong_gmail.com#ext#@risebcg.onmicrosoft.com::67a27a72-2420-4d38-b745-316a53f4b99a" providerId="AD" clId="Web-{F7F9ED99-F543-40A2-8A6C-8021AD617F06}" dt="2022-01-11T02:43:33.828" v="8"/>
          <ac:spMkLst>
            <pc:docMk/>
            <pc:sldMk cId="2160415509" sldId="326"/>
            <ac:spMk id="14" creationId="{12CD60CA-AC80-48C2-9831-7C24A5BBDBE7}"/>
          </ac:spMkLst>
        </pc:spChg>
        <pc:spChg chg="del">
          <ac:chgData name="EVELYNSM.YONG" userId="S::evelynsm.yong_gmail.com#ext#@risebcg.onmicrosoft.com::67a27a72-2420-4d38-b745-316a53f4b99a" providerId="AD" clId="Web-{F7F9ED99-F543-40A2-8A6C-8021AD617F06}" dt="2022-01-11T02:43:34.906" v="9"/>
          <ac:spMkLst>
            <pc:docMk/>
            <pc:sldMk cId="2160415509" sldId="326"/>
            <ac:spMk id="15" creationId="{1F2C1FDF-EED7-4160-A26E-17CDC484D1F4}"/>
          </ac:spMkLst>
        </pc:spChg>
        <pc:spChg chg="del">
          <ac:chgData name="EVELYNSM.YONG" userId="S::evelynsm.yong_gmail.com#ext#@risebcg.onmicrosoft.com::67a27a72-2420-4d38-b745-316a53f4b99a" providerId="AD" clId="Web-{F7F9ED99-F543-40A2-8A6C-8021AD617F06}" dt="2022-01-11T02:43:35.672" v="10"/>
          <ac:spMkLst>
            <pc:docMk/>
            <pc:sldMk cId="2160415509" sldId="326"/>
            <ac:spMk id="16" creationId="{61F108A6-436D-4F03-92A9-5601D56E72A0}"/>
          </ac:spMkLst>
        </pc:spChg>
        <pc:spChg chg="del">
          <ac:chgData name="EVELYNSM.YONG" userId="S::evelynsm.yong_gmail.com#ext#@risebcg.onmicrosoft.com::67a27a72-2420-4d38-b745-316a53f4b99a" providerId="AD" clId="Web-{F7F9ED99-F543-40A2-8A6C-8021AD617F06}" dt="2022-01-11T02:43:37.062" v="11"/>
          <ac:spMkLst>
            <pc:docMk/>
            <pc:sldMk cId="2160415509" sldId="326"/>
            <ac:spMk id="17" creationId="{DDF5B590-7633-4FDD-B31B-61FFF495E327}"/>
          </ac:spMkLst>
        </pc:spChg>
        <pc:picChg chg="del">
          <ac:chgData name="EVELYNSM.YONG" userId="S::evelynsm.yong_gmail.com#ext#@risebcg.onmicrosoft.com::67a27a72-2420-4d38-b745-316a53f4b99a" providerId="AD" clId="Web-{F7F9ED99-F543-40A2-8A6C-8021AD617F06}" dt="2022-01-11T03:02:49.710" v="347"/>
          <ac:picMkLst>
            <pc:docMk/>
            <pc:sldMk cId="2160415509" sldId="326"/>
            <ac:picMk id="5" creationId="{3739471E-5215-49A8-8746-A476792E3348}"/>
          </ac:picMkLst>
        </pc:picChg>
        <pc:picChg chg="del">
          <ac:chgData name="EVELYNSM.YONG" userId="S::evelynsm.yong_gmail.com#ext#@risebcg.onmicrosoft.com::67a27a72-2420-4d38-b745-316a53f4b99a" providerId="AD" clId="Web-{F7F9ED99-F543-40A2-8A6C-8021AD617F06}" dt="2022-01-11T02:43:31.484" v="6"/>
          <ac:picMkLst>
            <pc:docMk/>
            <pc:sldMk cId="2160415509" sldId="326"/>
            <ac:picMk id="5" creationId="{8751F432-9B55-4E93-BF75-FB00FEACF1B2}"/>
          </ac:picMkLst>
        </pc:picChg>
        <pc:picChg chg="del mod ord">
          <ac:chgData name="EVELYNSM.YONG" userId="S::evelynsm.yong_gmail.com#ext#@risebcg.onmicrosoft.com::67a27a72-2420-4d38-b745-316a53f4b99a" providerId="AD" clId="Web-{F7F9ED99-F543-40A2-8A6C-8021AD617F06}" dt="2022-01-11T03:02:48.960" v="346"/>
          <ac:picMkLst>
            <pc:docMk/>
            <pc:sldMk cId="2160415509" sldId="326"/>
            <ac:picMk id="6" creationId="{7B905E0D-985A-447D-B4B6-DCCB0FA62F2A}"/>
          </ac:picMkLst>
        </pc:picChg>
        <pc:picChg chg="del mod">
          <ac:chgData name="EVELYNSM.YONG" userId="S::evelynsm.yong_gmail.com#ext#@risebcg.onmicrosoft.com::67a27a72-2420-4d38-b745-316a53f4b99a" providerId="AD" clId="Web-{F7F9ED99-F543-40A2-8A6C-8021AD617F06}" dt="2022-01-11T02:43:32.359" v="7"/>
          <ac:picMkLst>
            <pc:docMk/>
            <pc:sldMk cId="2160415509" sldId="326"/>
            <ac:picMk id="8" creationId="{1F3B5E8D-69F3-429F-8C72-BA870189EF2F}"/>
          </ac:picMkLst>
        </pc:picChg>
        <pc:picChg chg="mod ord">
          <ac:chgData name="EVELYNSM.YONG" userId="S::evelynsm.yong_gmail.com#ext#@risebcg.onmicrosoft.com::67a27a72-2420-4d38-b745-316a53f4b99a" providerId="AD" clId="Web-{F7F9ED99-F543-40A2-8A6C-8021AD617F06}" dt="2022-01-11T03:03:09.414" v="354" actId="1076"/>
          <ac:picMkLst>
            <pc:docMk/>
            <pc:sldMk cId="2160415509" sldId="326"/>
            <ac:picMk id="8" creationId="{BF88B153-D379-4AEB-882A-4640F4183E92}"/>
          </ac:picMkLst>
        </pc:picChg>
      </pc:sldChg>
      <pc:sldChg chg="addSp delSp modSp ord">
        <pc:chgData name="EVELYNSM.YONG" userId="S::evelynsm.yong_gmail.com#ext#@risebcg.onmicrosoft.com::67a27a72-2420-4d38-b745-316a53f4b99a" providerId="AD" clId="Web-{F7F9ED99-F543-40A2-8A6C-8021AD617F06}" dt="2022-01-11T03:05:17.979" v="386" actId="1076"/>
        <pc:sldMkLst>
          <pc:docMk/>
          <pc:sldMk cId="855648020" sldId="337"/>
        </pc:sldMkLst>
        <pc:spChg chg="del mod">
          <ac:chgData name="EVELYNSM.YONG" userId="S::evelynsm.yong_gmail.com#ext#@risebcg.onmicrosoft.com::67a27a72-2420-4d38-b745-316a53f4b99a" providerId="AD" clId="Web-{F7F9ED99-F543-40A2-8A6C-8021AD617F06}" dt="2022-01-11T03:04:25.759" v="374"/>
          <ac:spMkLst>
            <pc:docMk/>
            <pc:sldMk cId="855648020" sldId="337"/>
            <ac:spMk id="10" creationId="{07073218-5F15-4EF5-A452-773E04940AE9}"/>
          </ac:spMkLst>
        </pc:spChg>
        <pc:spChg chg="mod">
          <ac:chgData name="EVELYNSM.YONG" userId="S::evelynsm.yong_gmail.com#ext#@risebcg.onmicrosoft.com::67a27a72-2420-4d38-b745-316a53f4b99a" providerId="AD" clId="Web-{F7F9ED99-F543-40A2-8A6C-8021AD617F06}" dt="2022-01-11T03:05:17.932" v="383" actId="1076"/>
          <ac:spMkLst>
            <pc:docMk/>
            <pc:sldMk cId="855648020" sldId="337"/>
            <ac:spMk id="11" creationId="{F659B4BD-50AD-4CA3-95ED-DEC3DABB4313}"/>
          </ac:spMkLst>
        </pc:spChg>
        <pc:spChg chg="add mod">
          <ac:chgData name="EVELYNSM.YONG" userId="S::evelynsm.yong_gmail.com#ext#@risebcg.onmicrosoft.com::67a27a72-2420-4d38-b745-316a53f4b99a" providerId="AD" clId="Web-{F7F9ED99-F543-40A2-8A6C-8021AD617F06}" dt="2022-01-11T03:05:17.979" v="386" actId="1076"/>
          <ac:spMkLst>
            <pc:docMk/>
            <pc:sldMk cId="855648020" sldId="337"/>
            <ac:spMk id="12" creationId="{67BF33BE-CD6B-41F5-B7CD-03406329964D}"/>
          </ac:spMkLst>
        </pc:spChg>
        <pc:spChg chg="mod">
          <ac:chgData name="EVELYNSM.YONG" userId="S::evelynsm.yong_gmail.com#ext#@risebcg.onmicrosoft.com::67a27a72-2420-4d38-b745-316a53f4b99a" providerId="AD" clId="Web-{F7F9ED99-F543-40A2-8A6C-8021AD617F06}" dt="2022-01-11T03:05:17.947" v="384" actId="1076"/>
          <ac:spMkLst>
            <pc:docMk/>
            <pc:sldMk cId="855648020" sldId="337"/>
            <ac:spMk id="16" creationId="{E9F09C74-B1ED-48F0-B094-FCB61FD07FD8}"/>
          </ac:spMkLst>
        </pc:spChg>
        <pc:picChg chg="mod">
          <ac:chgData name="EVELYNSM.YONG" userId="S::evelynsm.yong_gmail.com#ext#@risebcg.onmicrosoft.com::67a27a72-2420-4d38-b745-316a53f4b99a" providerId="AD" clId="Web-{F7F9ED99-F543-40A2-8A6C-8021AD617F06}" dt="2022-01-11T03:05:17.963" v="385" actId="1076"/>
          <ac:picMkLst>
            <pc:docMk/>
            <pc:sldMk cId="855648020" sldId="337"/>
            <ac:picMk id="4" creationId="{D1E8906C-F7B4-4B64-A4F6-A75BD1D8E774}"/>
          </ac:picMkLst>
        </pc:picChg>
        <pc:picChg chg="mod">
          <ac:chgData name="EVELYNSM.YONG" userId="S::evelynsm.yong_gmail.com#ext#@risebcg.onmicrosoft.com::67a27a72-2420-4d38-b745-316a53f4b99a" providerId="AD" clId="Web-{F7F9ED99-F543-40A2-8A6C-8021AD617F06}" dt="2022-01-11T03:05:17.901" v="381" actId="1076"/>
          <ac:picMkLst>
            <pc:docMk/>
            <pc:sldMk cId="855648020" sldId="337"/>
            <ac:picMk id="6" creationId="{3476209F-81B0-4A6C-8B12-F6D764D3E106}"/>
          </ac:picMkLst>
        </pc:picChg>
        <pc:picChg chg="mod">
          <ac:chgData name="EVELYNSM.YONG" userId="S::evelynsm.yong_gmail.com#ext#@risebcg.onmicrosoft.com::67a27a72-2420-4d38-b745-316a53f4b99a" providerId="AD" clId="Web-{F7F9ED99-F543-40A2-8A6C-8021AD617F06}" dt="2022-01-11T03:05:17.932" v="382" actId="1076"/>
          <ac:picMkLst>
            <pc:docMk/>
            <pc:sldMk cId="855648020" sldId="337"/>
            <ac:picMk id="9" creationId="{A76048B9-7E18-4DEE-8C9E-48B93DFE3F73}"/>
          </ac:picMkLst>
        </pc:picChg>
      </pc:sldChg>
      <pc:sldChg chg="ord">
        <pc:chgData name="EVELYNSM.YONG" userId="S::evelynsm.yong_gmail.com#ext#@risebcg.onmicrosoft.com::67a27a72-2420-4d38-b745-316a53f4b99a" providerId="AD" clId="Web-{F7F9ED99-F543-40A2-8A6C-8021AD617F06}" dt="2022-01-11T02:46:27.347" v="57"/>
        <pc:sldMkLst>
          <pc:docMk/>
          <pc:sldMk cId="3971465157" sldId="345"/>
        </pc:sldMkLst>
      </pc:sldChg>
      <pc:sldChg chg="ord">
        <pc:chgData name="EVELYNSM.YONG" userId="S::evelynsm.yong_gmail.com#ext#@risebcg.onmicrosoft.com::67a27a72-2420-4d38-b745-316a53f4b99a" providerId="AD" clId="Web-{F7F9ED99-F543-40A2-8A6C-8021AD617F06}" dt="2022-01-11T02:46:27.347" v="58"/>
        <pc:sldMkLst>
          <pc:docMk/>
          <pc:sldMk cId="2149037765" sldId="346"/>
        </pc:sldMkLst>
      </pc:sldChg>
      <pc:sldChg chg="addSp delSp modSp">
        <pc:chgData name="EVELYNSM.YONG" userId="S::evelynsm.yong_gmail.com#ext#@risebcg.onmicrosoft.com::67a27a72-2420-4d38-b745-316a53f4b99a" providerId="AD" clId="Web-{F7F9ED99-F543-40A2-8A6C-8021AD617F06}" dt="2022-01-11T03:26:38.238" v="911" actId="1076"/>
        <pc:sldMkLst>
          <pc:docMk/>
          <pc:sldMk cId="426360798" sldId="347"/>
        </pc:sldMkLst>
        <pc:spChg chg="del">
          <ac:chgData name="EVELYNSM.YONG" userId="S::evelynsm.yong_gmail.com#ext#@risebcg.onmicrosoft.com::67a27a72-2420-4d38-b745-316a53f4b99a" providerId="AD" clId="Web-{F7F9ED99-F543-40A2-8A6C-8021AD617F06}" dt="2022-01-11T03:23:25.031" v="791"/>
          <ac:spMkLst>
            <pc:docMk/>
            <pc:sldMk cId="426360798" sldId="347"/>
            <ac:spMk id="2" creationId="{539C9826-9E79-4999-9783-F530944DD31E}"/>
          </ac:spMkLst>
        </pc:spChg>
        <pc:spChg chg="add del mod">
          <ac:chgData name="EVELYNSM.YONG" userId="S::evelynsm.yong_gmail.com#ext#@risebcg.onmicrosoft.com::67a27a72-2420-4d38-b745-316a53f4b99a" providerId="AD" clId="Web-{F7F9ED99-F543-40A2-8A6C-8021AD617F06}" dt="2022-01-11T03:23:29.875" v="794"/>
          <ac:spMkLst>
            <pc:docMk/>
            <pc:sldMk cId="426360798" sldId="347"/>
            <ac:spMk id="9" creationId="{05B3BD9C-4D9F-492C-8495-E1F99AB14BF6}"/>
          </ac:spMkLst>
        </pc:spChg>
        <pc:spChg chg="add mod">
          <ac:chgData name="EVELYNSM.YONG" userId="S::evelynsm.yong_gmail.com#ext#@risebcg.onmicrosoft.com::67a27a72-2420-4d38-b745-316a53f4b99a" providerId="AD" clId="Web-{F7F9ED99-F543-40A2-8A6C-8021AD617F06}" dt="2022-01-11T03:26:33.223" v="908" actId="20577"/>
          <ac:spMkLst>
            <pc:docMk/>
            <pc:sldMk cId="426360798" sldId="347"/>
            <ac:spMk id="12" creationId="{3502CFB6-6A40-4F07-8AA1-9E63A659ADA0}"/>
          </ac:spMkLst>
        </pc:spChg>
        <pc:grpChg chg="add">
          <ac:chgData name="EVELYNSM.YONG" userId="S::evelynsm.yong_gmail.com#ext#@risebcg.onmicrosoft.com::67a27a72-2420-4d38-b745-316a53f4b99a" providerId="AD" clId="Web-{F7F9ED99-F543-40A2-8A6C-8021AD617F06}" dt="2022-01-11T03:09:19.405" v="453"/>
          <ac:grpSpMkLst>
            <pc:docMk/>
            <pc:sldMk cId="426360798" sldId="347"/>
            <ac:grpSpMk id="3" creationId="{4455BCB6-14D7-48F3-BD0E-54E7F3C808D5}"/>
          </ac:grpSpMkLst>
        </pc:grpChg>
        <pc:picChg chg="mod">
          <ac:chgData name="EVELYNSM.YONG" userId="S::evelynsm.yong_gmail.com#ext#@risebcg.onmicrosoft.com::67a27a72-2420-4d38-b745-316a53f4b99a" providerId="AD" clId="Web-{F7F9ED99-F543-40A2-8A6C-8021AD617F06}" dt="2022-01-11T03:26:38.238" v="911" actId="1076"/>
          <ac:picMkLst>
            <pc:docMk/>
            <pc:sldMk cId="426360798" sldId="347"/>
            <ac:picMk id="10" creationId="{676266AD-39DD-4C63-AC43-FBDA958C8BFA}"/>
          </ac:picMkLst>
        </pc:picChg>
      </pc:sldChg>
      <pc:sldChg chg="addSp delSp modSp">
        <pc:chgData name="EVELYNSM.YONG" userId="S::evelynsm.yong_gmail.com#ext#@risebcg.onmicrosoft.com::67a27a72-2420-4d38-b745-316a53f4b99a" providerId="AD" clId="Web-{F7F9ED99-F543-40A2-8A6C-8021AD617F06}" dt="2022-01-11T03:26:09.332" v="888" actId="20577"/>
        <pc:sldMkLst>
          <pc:docMk/>
          <pc:sldMk cId="2528704326" sldId="349"/>
        </pc:sldMkLst>
        <pc:spChg chg="del">
          <ac:chgData name="EVELYNSM.YONG" userId="S::evelynsm.yong_gmail.com#ext#@risebcg.onmicrosoft.com::67a27a72-2420-4d38-b745-316a53f4b99a" providerId="AD" clId="Web-{F7F9ED99-F543-40A2-8A6C-8021AD617F06}" dt="2022-01-11T03:24:21.298" v="818"/>
          <ac:spMkLst>
            <pc:docMk/>
            <pc:sldMk cId="2528704326" sldId="349"/>
            <ac:spMk id="2" creationId="{539C9826-9E79-4999-9783-F530944DD31E}"/>
          </ac:spMkLst>
        </pc:spChg>
        <pc:spChg chg="add del mod">
          <ac:chgData name="EVELYNSM.YONG" userId="S::evelynsm.yong_gmail.com#ext#@risebcg.onmicrosoft.com::67a27a72-2420-4d38-b745-316a53f4b99a" providerId="AD" clId="Web-{F7F9ED99-F543-40A2-8A6C-8021AD617F06}" dt="2022-01-11T03:24:23.845" v="820"/>
          <ac:spMkLst>
            <pc:docMk/>
            <pc:sldMk cId="2528704326" sldId="349"/>
            <ac:spMk id="10" creationId="{8CDD973F-4CEF-425B-BB97-30D46FEFDC37}"/>
          </ac:spMkLst>
        </pc:spChg>
        <pc:spChg chg="add del">
          <ac:chgData name="EVELYNSM.YONG" userId="S::evelynsm.yong_gmail.com#ext#@risebcg.onmicrosoft.com::67a27a72-2420-4d38-b745-316a53f4b99a" providerId="AD" clId="Web-{F7F9ED99-F543-40A2-8A6C-8021AD617F06}" dt="2022-01-11T03:25:21.877" v="851"/>
          <ac:spMkLst>
            <pc:docMk/>
            <pc:sldMk cId="2528704326" sldId="349"/>
            <ac:spMk id="12" creationId="{1977524D-923A-4D6B-8780-559A2F9631B4}"/>
          </ac:spMkLst>
        </pc:spChg>
        <pc:spChg chg="add mod">
          <ac:chgData name="EVELYNSM.YONG" userId="S::evelynsm.yong_gmail.com#ext#@risebcg.onmicrosoft.com::67a27a72-2420-4d38-b745-316a53f4b99a" providerId="AD" clId="Web-{F7F9ED99-F543-40A2-8A6C-8021AD617F06}" dt="2022-01-11T03:26:09.332" v="888" actId="20577"/>
          <ac:spMkLst>
            <pc:docMk/>
            <pc:sldMk cId="2528704326" sldId="349"/>
            <ac:spMk id="14" creationId="{85E500D2-959C-4EBE-9F3F-2DFE370E9E2B}"/>
          </ac:spMkLst>
        </pc:spChg>
        <pc:grpChg chg="add">
          <ac:chgData name="EVELYNSM.YONG" userId="S::evelynsm.yong_gmail.com#ext#@risebcg.onmicrosoft.com::67a27a72-2420-4d38-b745-316a53f4b99a" providerId="AD" clId="Web-{F7F9ED99-F543-40A2-8A6C-8021AD617F06}" dt="2022-01-11T03:09:22.233" v="455"/>
          <ac:grpSpMkLst>
            <pc:docMk/>
            <pc:sldMk cId="2528704326" sldId="349"/>
            <ac:grpSpMk id="3" creationId="{57C87872-B27F-4BC8-B498-E61B67FA18BB}"/>
          </ac:grpSpMkLst>
        </pc:grpChg>
        <pc:picChg chg="mod">
          <ac:chgData name="EVELYNSM.YONG" userId="S::evelynsm.yong_gmail.com#ext#@risebcg.onmicrosoft.com::67a27a72-2420-4d38-b745-316a53f4b99a" providerId="AD" clId="Web-{F7F9ED99-F543-40A2-8A6C-8021AD617F06}" dt="2022-01-11T03:25:26.378" v="853" actId="14100"/>
          <ac:picMkLst>
            <pc:docMk/>
            <pc:sldMk cId="2528704326" sldId="349"/>
            <ac:picMk id="4" creationId="{5077707B-414C-42AA-B330-0167CEF42AD3}"/>
          </ac:picMkLst>
        </pc:picChg>
      </pc:sldChg>
      <pc:sldChg chg="addSp delSp modSp">
        <pc:chgData name="EVELYNSM.YONG" userId="S::evelynsm.yong_gmail.com#ext#@risebcg.onmicrosoft.com::67a27a72-2420-4d38-b745-316a53f4b99a" providerId="AD" clId="Web-{F7F9ED99-F543-40A2-8A6C-8021AD617F06}" dt="2022-01-11T03:25:54.925" v="873" actId="14100"/>
        <pc:sldMkLst>
          <pc:docMk/>
          <pc:sldMk cId="3685283696" sldId="350"/>
        </pc:sldMkLst>
        <pc:spChg chg="del">
          <ac:chgData name="EVELYNSM.YONG" userId="S::evelynsm.yong_gmail.com#ext#@risebcg.onmicrosoft.com::67a27a72-2420-4d38-b745-316a53f4b99a" providerId="AD" clId="Web-{F7F9ED99-F543-40A2-8A6C-8021AD617F06}" dt="2022-01-11T03:25:34.893" v="855"/>
          <ac:spMkLst>
            <pc:docMk/>
            <pc:sldMk cId="3685283696" sldId="350"/>
            <ac:spMk id="10" creationId="{5867374F-5434-4E13-812F-03FB0E588491}"/>
          </ac:spMkLst>
        </pc:spChg>
        <pc:spChg chg="add del mod">
          <ac:chgData name="EVELYNSM.YONG" userId="S::evelynsm.yong_gmail.com#ext#@risebcg.onmicrosoft.com::67a27a72-2420-4d38-b745-316a53f4b99a" providerId="AD" clId="Web-{F7F9ED99-F543-40A2-8A6C-8021AD617F06}" dt="2022-01-11T03:25:40.159" v="858"/>
          <ac:spMkLst>
            <pc:docMk/>
            <pc:sldMk cId="3685283696" sldId="350"/>
            <ac:spMk id="14" creationId="{57579E56-79CF-470F-AA02-2C90AB7D396D}"/>
          </ac:spMkLst>
        </pc:spChg>
        <pc:spChg chg="add mod">
          <ac:chgData name="EVELYNSM.YONG" userId="S::evelynsm.yong_gmail.com#ext#@risebcg.onmicrosoft.com::67a27a72-2420-4d38-b745-316a53f4b99a" providerId="AD" clId="Web-{F7F9ED99-F543-40A2-8A6C-8021AD617F06}" dt="2022-01-11T03:25:51.534" v="872" actId="20577"/>
          <ac:spMkLst>
            <pc:docMk/>
            <pc:sldMk cId="3685283696" sldId="350"/>
            <ac:spMk id="16" creationId="{D0C7EA6D-0914-4FA0-A4FB-86761188BAEE}"/>
          </ac:spMkLst>
        </pc:spChg>
        <pc:grpChg chg="add">
          <ac:chgData name="EVELYNSM.YONG" userId="S::evelynsm.yong_gmail.com#ext#@risebcg.onmicrosoft.com::67a27a72-2420-4d38-b745-316a53f4b99a" providerId="AD" clId="Web-{F7F9ED99-F543-40A2-8A6C-8021AD617F06}" dt="2022-01-11T03:09:23.702" v="456"/>
          <ac:grpSpMkLst>
            <pc:docMk/>
            <pc:sldMk cId="3685283696" sldId="350"/>
            <ac:grpSpMk id="2" creationId="{C4F68649-A620-4D16-A848-ACF857401516}"/>
          </ac:grpSpMkLst>
        </pc:grpChg>
        <pc:picChg chg="mod">
          <ac:chgData name="EVELYNSM.YONG" userId="S::evelynsm.yong_gmail.com#ext#@risebcg.onmicrosoft.com::67a27a72-2420-4d38-b745-316a53f4b99a" providerId="AD" clId="Web-{F7F9ED99-F543-40A2-8A6C-8021AD617F06}" dt="2022-01-11T03:25:54.925" v="873" actId="14100"/>
          <ac:picMkLst>
            <pc:docMk/>
            <pc:sldMk cId="3685283696" sldId="350"/>
            <ac:picMk id="5" creationId="{B95C723D-080B-423A-BEDF-8046FB191CAA}"/>
          </ac:picMkLst>
        </pc:picChg>
      </pc:sldChg>
      <pc:sldChg chg="addSp delSp modSp">
        <pc:chgData name="EVELYNSM.YONG" userId="S::evelynsm.yong_gmail.com#ext#@risebcg.onmicrosoft.com::67a27a72-2420-4d38-b745-316a53f4b99a" providerId="AD" clId="Web-{F7F9ED99-F543-40A2-8A6C-8021AD617F06}" dt="2022-01-11T03:25:12.393" v="850" actId="20577"/>
        <pc:sldMkLst>
          <pc:docMk/>
          <pc:sldMk cId="1823296178" sldId="351"/>
        </pc:sldMkLst>
        <pc:spChg chg="del">
          <ac:chgData name="EVELYNSM.YONG" userId="S::evelynsm.yong_gmail.com#ext#@risebcg.onmicrosoft.com::67a27a72-2420-4d38-b745-316a53f4b99a" providerId="AD" clId="Web-{F7F9ED99-F543-40A2-8A6C-8021AD617F06}" dt="2022-01-11T03:23:44.501" v="800"/>
          <ac:spMkLst>
            <pc:docMk/>
            <pc:sldMk cId="1823296178" sldId="351"/>
            <ac:spMk id="8" creationId="{38EF7586-1E62-49DF-BFC5-73CC01BB83D6}"/>
          </ac:spMkLst>
        </pc:spChg>
        <pc:spChg chg="add del mod">
          <ac:chgData name="EVELYNSM.YONG" userId="S::evelynsm.yong_gmail.com#ext#@risebcg.onmicrosoft.com::67a27a72-2420-4d38-b745-316a53f4b99a" providerId="AD" clId="Web-{F7F9ED99-F543-40A2-8A6C-8021AD617F06}" dt="2022-01-11T03:23:52.501" v="802"/>
          <ac:spMkLst>
            <pc:docMk/>
            <pc:sldMk cId="1823296178" sldId="351"/>
            <ac:spMk id="11" creationId="{DDDF532F-18ED-41DE-8233-6B150CA2B7C7}"/>
          </ac:spMkLst>
        </pc:spChg>
        <pc:spChg chg="add del">
          <ac:chgData name="EVELYNSM.YONG" userId="S::evelynsm.yong_gmail.com#ext#@risebcg.onmicrosoft.com::67a27a72-2420-4d38-b745-316a53f4b99a" providerId="AD" clId="Web-{F7F9ED99-F543-40A2-8A6C-8021AD617F06}" dt="2022-01-11T03:23:54.126" v="803"/>
          <ac:spMkLst>
            <pc:docMk/>
            <pc:sldMk cId="1823296178" sldId="351"/>
            <ac:spMk id="13" creationId="{03C72E87-D20E-42FD-8B67-D9EDCFC8CC22}"/>
          </ac:spMkLst>
        </pc:spChg>
        <pc:spChg chg="add mod">
          <ac:chgData name="EVELYNSM.YONG" userId="S::evelynsm.yong_gmail.com#ext#@risebcg.onmicrosoft.com::67a27a72-2420-4d38-b745-316a53f4b99a" providerId="AD" clId="Web-{F7F9ED99-F543-40A2-8A6C-8021AD617F06}" dt="2022-01-11T03:25:12.393" v="850" actId="20577"/>
          <ac:spMkLst>
            <pc:docMk/>
            <pc:sldMk cId="1823296178" sldId="351"/>
            <ac:spMk id="15" creationId="{42598CE5-1CF1-401F-9EC8-146FA6EFC0EE}"/>
          </ac:spMkLst>
        </pc:spChg>
        <pc:grpChg chg="add">
          <ac:chgData name="EVELYNSM.YONG" userId="S::evelynsm.yong_gmail.com#ext#@risebcg.onmicrosoft.com::67a27a72-2420-4d38-b745-316a53f4b99a" providerId="AD" clId="Web-{F7F9ED99-F543-40A2-8A6C-8021AD617F06}" dt="2022-01-11T03:09:20.515" v="454"/>
          <ac:grpSpMkLst>
            <pc:docMk/>
            <pc:sldMk cId="1823296178" sldId="351"/>
            <ac:grpSpMk id="2" creationId="{906CB9A3-F9BB-42AA-B2BA-7AABFD3D8BBA}"/>
          </ac:grpSpMkLst>
        </pc:grpChg>
        <pc:picChg chg="mod">
          <ac:chgData name="EVELYNSM.YONG" userId="S::evelynsm.yong_gmail.com#ext#@risebcg.onmicrosoft.com::67a27a72-2420-4d38-b745-316a53f4b99a" providerId="AD" clId="Web-{F7F9ED99-F543-40A2-8A6C-8021AD617F06}" dt="2022-01-11T03:24:44.970" v="823" actId="1076"/>
          <ac:picMkLst>
            <pc:docMk/>
            <pc:sldMk cId="1823296178" sldId="351"/>
            <ac:picMk id="4" creationId="{809C533A-AFC0-4A50-BB53-AD1A504EB8AA}"/>
          </ac:picMkLst>
        </pc:picChg>
        <pc:picChg chg="mod">
          <ac:chgData name="EVELYNSM.YONG" userId="S::evelynsm.yong_gmail.com#ext#@risebcg.onmicrosoft.com::67a27a72-2420-4d38-b745-316a53f4b99a" providerId="AD" clId="Web-{F7F9ED99-F543-40A2-8A6C-8021AD617F06}" dt="2022-01-11T03:24:44.924" v="822" actId="1076"/>
          <ac:picMkLst>
            <pc:docMk/>
            <pc:sldMk cId="1823296178" sldId="351"/>
            <ac:picMk id="6" creationId="{6A9FCBE7-1CC3-44E4-81F0-428DD3F70CFC}"/>
          </ac:picMkLst>
        </pc:picChg>
      </pc:sldChg>
      <pc:sldChg chg="addSp modSp ord">
        <pc:chgData name="EVELYNSM.YONG" userId="S::evelynsm.yong_gmail.com#ext#@risebcg.onmicrosoft.com::67a27a72-2420-4d38-b745-316a53f4b99a" providerId="AD" clId="Web-{F7F9ED99-F543-40A2-8A6C-8021AD617F06}" dt="2022-01-11T03:22:54.406" v="784" actId="1076"/>
        <pc:sldMkLst>
          <pc:docMk/>
          <pc:sldMk cId="1602317283" sldId="352"/>
        </pc:sldMkLst>
        <pc:spChg chg="mod">
          <ac:chgData name="EVELYNSM.YONG" userId="S::evelynsm.yong_gmail.com#ext#@risebcg.onmicrosoft.com::67a27a72-2420-4d38-b745-316a53f4b99a" providerId="AD" clId="Web-{F7F9ED99-F543-40A2-8A6C-8021AD617F06}" dt="2022-01-11T03:22:54.406" v="784" actId="1076"/>
          <ac:spMkLst>
            <pc:docMk/>
            <pc:sldMk cId="1602317283" sldId="352"/>
            <ac:spMk id="2" creationId="{539C9826-9E79-4999-9783-F530944DD31E}"/>
          </ac:spMkLst>
        </pc:spChg>
        <pc:grpChg chg="add">
          <ac:chgData name="EVELYNSM.YONG" userId="S::evelynsm.yong_gmail.com#ext#@risebcg.onmicrosoft.com::67a27a72-2420-4d38-b745-316a53f4b99a" providerId="AD" clId="Web-{F7F9ED99-F543-40A2-8A6C-8021AD617F06}" dt="2022-01-11T03:09:16.530" v="452"/>
          <ac:grpSpMkLst>
            <pc:docMk/>
            <pc:sldMk cId="1602317283" sldId="352"/>
            <ac:grpSpMk id="9" creationId="{D36EA632-07B3-4295-BE67-774163081217}"/>
          </ac:grpSpMkLst>
        </pc:grpChg>
        <pc:picChg chg="mod">
          <ac:chgData name="EVELYNSM.YONG" userId="S::evelynsm.yong_gmail.com#ext#@risebcg.onmicrosoft.com::67a27a72-2420-4d38-b745-316a53f4b99a" providerId="AD" clId="Web-{F7F9ED99-F543-40A2-8A6C-8021AD617F06}" dt="2022-01-11T03:20:46.310" v="741" actId="1076"/>
          <ac:picMkLst>
            <pc:docMk/>
            <pc:sldMk cId="1602317283" sldId="352"/>
            <ac:picMk id="3" creationId="{20B35CB3-36DD-49EE-954D-E122673D5070}"/>
          </ac:picMkLst>
        </pc:picChg>
        <pc:picChg chg="mod">
          <ac:chgData name="EVELYNSM.YONG" userId="S::evelynsm.yong_gmail.com#ext#@risebcg.onmicrosoft.com::67a27a72-2420-4d38-b745-316a53f4b99a" providerId="AD" clId="Web-{F7F9ED99-F543-40A2-8A6C-8021AD617F06}" dt="2022-01-11T03:20:48.794" v="742" actId="1076"/>
          <ac:picMkLst>
            <pc:docMk/>
            <pc:sldMk cId="1602317283" sldId="352"/>
            <ac:picMk id="4" creationId="{77A06809-46E8-4104-8CC2-39B3E44D4271}"/>
          </ac:picMkLst>
        </pc:picChg>
      </pc:sldChg>
      <pc:sldChg chg="addSp delSp modSp">
        <pc:chgData name="EVELYNSM.YONG" userId="S::evelynsm.yong_gmail.com#ext#@risebcg.onmicrosoft.com::67a27a72-2420-4d38-b745-316a53f4b99a" providerId="AD" clId="Web-{F7F9ED99-F543-40A2-8A6C-8021AD617F06}" dt="2022-01-11T03:23:09.234" v="790" actId="1076"/>
        <pc:sldMkLst>
          <pc:docMk/>
          <pc:sldMk cId="1042141491" sldId="353"/>
        </pc:sldMkLst>
        <pc:spChg chg="del mod">
          <ac:chgData name="EVELYNSM.YONG" userId="S::evelynsm.yong_gmail.com#ext#@risebcg.onmicrosoft.com::67a27a72-2420-4d38-b745-316a53f4b99a" providerId="AD" clId="Web-{F7F9ED99-F543-40A2-8A6C-8021AD617F06}" dt="2022-01-11T03:23:00.968" v="787"/>
          <ac:spMkLst>
            <pc:docMk/>
            <pc:sldMk cId="1042141491" sldId="353"/>
            <ac:spMk id="2" creationId="{539C9826-9E79-4999-9783-F530944DD31E}"/>
          </ac:spMkLst>
        </pc:spChg>
        <pc:spChg chg="add mod">
          <ac:chgData name="EVELYNSM.YONG" userId="S::evelynsm.yong_gmail.com#ext#@risebcg.onmicrosoft.com::67a27a72-2420-4d38-b745-316a53f4b99a" providerId="AD" clId="Web-{F7F9ED99-F543-40A2-8A6C-8021AD617F06}" dt="2022-01-11T03:23:07.562" v="789" actId="1076"/>
          <ac:spMkLst>
            <pc:docMk/>
            <pc:sldMk cId="1042141491" sldId="353"/>
            <ac:spMk id="11" creationId="{17A790A2-3A10-4637-9B2F-3CD458BC0EF1}"/>
          </ac:spMkLst>
        </pc:spChg>
        <pc:spChg chg="add del mod">
          <ac:chgData name="EVELYNSM.YONG" userId="S::evelynsm.yong_gmail.com#ext#@risebcg.onmicrosoft.com::67a27a72-2420-4d38-b745-316a53f4b99a" providerId="AD" clId="Web-{F7F9ED99-F543-40A2-8A6C-8021AD617F06}" dt="2022-01-11T03:23:04.390" v="788"/>
          <ac:spMkLst>
            <pc:docMk/>
            <pc:sldMk cId="1042141491" sldId="353"/>
            <ac:spMk id="13" creationId="{1651A933-6726-49DA-866C-AC546EE6F798}"/>
          </ac:spMkLst>
        </pc:spChg>
        <pc:grpChg chg="add">
          <ac:chgData name="EVELYNSM.YONG" userId="S::evelynsm.yong_gmail.com#ext#@risebcg.onmicrosoft.com::67a27a72-2420-4d38-b745-316a53f4b99a" providerId="AD" clId="Web-{F7F9ED99-F543-40A2-8A6C-8021AD617F06}" dt="2022-01-11T03:09:15.171" v="451"/>
          <ac:grpSpMkLst>
            <pc:docMk/>
            <pc:sldMk cId="1042141491" sldId="353"/>
            <ac:grpSpMk id="3" creationId="{A22A9F86-5576-4C0E-83B2-91D832BD93F8}"/>
          </ac:grpSpMkLst>
        </pc:grpChg>
        <pc:picChg chg="mod">
          <ac:chgData name="EVELYNSM.YONG" userId="S::evelynsm.yong_gmail.com#ext#@risebcg.onmicrosoft.com::67a27a72-2420-4d38-b745-316a53f4b99a" providerId="AD" clId="Web-{F7F9ED99-F543-40A2-8A6C-8021AD617F06}" dt="2022-01-11T03:23:09.234" v="790" actId="1076"/>
          <ac:picMkLst>
            <pc:docMk/>
            <pc:sldMk cId="1042141491" sldId="353"/>
            <ac:picMk id="4" creationId="{0633DDFD-C6E4-49AC-8FC0-3B3F14495A9E}"/>
          </ac:picMkLst>
        </pc:picChg>
      </pc:sldChg>
      <pc:sldChg chg="modSp ord">
        <pc:chgData name="EVELYNSM.YONG" userId="S::evelynsm.yong_gmail.com#ext#@risebcg.onmicrosoft.com::67a27a72-2420-4d38-b745-316a53f4b99a" providerId="AD" clId="Web-{F7F9ED99-F543-40A2-8A6C-8021AD617F06}" dt="2022-01-11T03:05:49.620" v="394" actId="1076"/>
        <pc:sldMkLst>
          <pc:docMk/>
          <pc:sldMk cId="165658709" sldId="355"/>
        </pc:sldMkLst>
        <pc:spChg chg="mod">
          <ac:chgData name="EVELYNSM.YONG" userId="S::evelynsm.yong_gmail.com#ext#@risebcg.onmicrosoft.com::67a27a72-2420-4d38-b745-316a53f4b99a" providerId="AD" clId="Web-{F7F9ED99-F543-40A2-8A6C-8021AD617F06}" dt="2022-01-11T02:46:36.113" v="63"/>
          <ac:spMkLst>
            <pc:docMk/>
            <pc:sldMk cId="165658709" sldId="355"/>
            <ac:spMk id="7" creationId="{5040411B-0A54-429E-94AB-0F4DA7C1917E}"/>
          </ac:spMkLst>
        </pc:spChg>
        <pc:spChg chg="mod">
          <ac:chgData name="EVELYNSM.YONG" userId="S::evelynsm.yong_gmail.com#ext#@risebcg.onmicrosoft.com::67a27a72-2420-4d38-b745-316a53f4b99a" providerId="AD" clId="Web-{F7F9ED99-F543-40A2-8A6C-8021AD617F06}" dt="2022-01-11T02:46:57.207" v="83" actId="1076"/>
          <ac:spMkLst>
            <pc:docMk/>
            <pc:sldMk cId="165658709" sldId="355"/>
            <ac:spMk id="13" creationId="{003E35E4-DB87-4D35-8663-60FF12DD7B69}"/>
          </ac:spMkLst>
        </pc:spChg>
        <pc:spChg chg="mod">
          <ac:chgData name="EVELYNSM.YONG" userId="S::evelynsm.yong_gmail.com#ext#@risebcg.onmicrosoft.com::67a27a72-2420-4d38-b745-316a53f4b99a" providerId="AD" clId="Web-{F7F9ED99-F543-40A2-8A6C-8021AD617F06}" dt="2022-01-11T02:47:01.410" v="86" actId="1076"/>
          <ac:spMkLst>
            <pc:docMk/>
            <pc:sldMk cId="165658709" sldId="355"/>
            <ac:spMk id="14" creationId="{CD92118D-BCDA-4C90-B9D2-09972FA65EE3}"/>
          </ac:spMkLst>
        </pc:spChg>
        <pc:spChg chg="mod">
          <ac:chgData name="EVELYNSM.YONG" userId="S::evelynsm.yong_gmail.com#ext#@risebcg.onmicrosoft.com::67a27a72-2420-4d38-b745-316a53f4b99a" providerId="AD" clId="Web-{F7F9ED99-F543-40A2-8A6C-8021AD617F06}" dt="2022-01-11T02:47:08.035" v="90" actId="1076"/>
          <ac:spMkLst>
            <pc:docMk/>
            <pc:sldMk cId="165658709" sldId="355"/>
            <ac:spMk id="21" creationId="{46156451-ECB4-4520-895C-009D1F9E8343}"/>
          </ac:spMkLst>
        </pc:spChg>
        <pc:spChg chg="mod">
          <ac:chgData name="EVELYNSM.YONG" userId="S::evelynsm.yong_gmail.com#ext#@risebcg.onmicrosoft.com::67a27a72-2420-4d38-b745-316a53f4b99a" providerId="AD" clId="Web-{F7F9ED99-F543-40A2-8A6C-8021AD617F06}" dt="2022-01-11T02:47:09.660" v="91" actId="1076"/>
          <ac:spMkLst>
            <pc:docMk/>
            <pc:sldMk cId="165658709" sldId="355"/>
            <ac:spMk id="23" creationId="{437837FB-28C6-4D49-A0CB-199C96E6B187}"/>
          </ac:spMkLst>
        </pc:spChg>
        <pc:spChg chg="mod">
          <ac:chgData name="EVELYNSM.YONG" userId="S::evelynsm.yong_gmail.com#ext#@risebcg.onmicrosoft.com::67a27a72-2420-4d38-b745-316a53f4b99a" providerId="AD" clId="Web-{F7F9ED99-F543-40A2-8A6C-8021AD617F06}" dt="2022-01-11T02:46:51.035" v="81" actId="1076"/>
          <ac:spMkLst>
            <pc:docMk/>
            <pc:sldMk cId="165658709" sldId="355"/>
            <ac:spMk id="26" creationId="{22DD1760-D9EC-405F-9AAD-63EC690DC033}"/>
          </ac:spMkLst>
        </pc:spChg>
        <pc:spChg chg="mod">
          <ac:chgData name="EVELYNSM.YONG" userId="S::evelynsm.yong_gmail.com#ext#@risebcg.onmicrosoft.com::67a27a72-2420-4d38-b745-316a53f4b99a" providerId="AD" clId="Web-{F7F9ED99-F543-40A2-8A6C-8021AD617F06}" dt="2022-01-11T03:05:49.620" v="394" actId="1076"/>
          <ac:spMkLst>
            <pc:docMk/>
            <pc:sldMk cId="165658709" sldId="355"/>
            <ac:spMk id="27" creationId="{B2BF4484-08EE-483A-BA89-BC8EDC410538}"/>
          </ac:spMkLst>
        </pc:spChg>
        <pc:picChg chg="mod">
          <ac:chgData name="EVELYNSM.YONG" userId="S::evelynsm.yong_gmail.com#ext#@risebcg.onmicrosoft.com::67a27a72-2420-4d38-b745-316a53f4b99a" providerId="AD" clId="Web-{F7F9ED99-F543-40A2-8A6C-8021AD617F06}" dt="2022-01-11T02:46:42.269" v="66" actId="1076"/>
          <ac:picMkLst>
            <pc:docMk/>
            <pc:sldMk cId="165658709" sldId="355"/>
            <ac:picMk id="2" creationId="{BD070F67-C046-4FA4-BC49-57AF06A15A77}"/>
          </ac:picMkLst>
        </pc:picChg>
        <pc:picChg chg="mod">
          <ac:chgData name="EVELYNSM.YONG" userId="S::evelynsm.yong_gmail.com#ext#@risebcg.onmicrosoft.com::67a27a72-2420-4d38-b745-316a53f4b99a" providerId="AD" clId="Web-{F7F9ED99-F543-40A2-8A6C-8021AD617F06}" dt="2022-01-11T02:46:48.394" v="74" actId="1076"/>
          <ac:picMkLst>
            <pc:docMk/>
            <pc:sldMk cId="165658709" sldId="355"/>
            <ac:picMk id="11" creationId="{CD86A313-65D2-4D12-B76F-922156737525}"/>
          </ac:picMkLst>
        </pc:picChg>
      </pc:sldChg>
      <pc:sldChg chg="modSp del ord">
        <pc:chgData name="EVELYNSM.YONG" userId="S::evelynsm.yong_gmail.com#ext#@risebcg.onmicrosoft.com::67a27a72-2420-4d38-b745-316a53f4b99a" providerId="AD" clId="Web-{F7F9ED99-F543-40A2-8A6C-8021AD617F06}" dt="2022-01-11T03:02:17.116" v="342"/>
        <pc:sldMkLst>
          <pc:docMk/>
          <pc:sldMk cId="744992136" sldId="357"/>
        </pc:sldMkLst>
        <pc:spChg chg="mod">
          <ac:chgData name="EVELYNSM.YONG" userId="S::evelynsm.yong_gmail.com#ext#@risebcg.onmicrosoft.com::67a27a72-2420-4d38-b745-316a53f4b99a" providerId="AD" clId="Web-{F7F9ED99-F543-40A2-8A6C-8021AD617F06}" dt="2022-01-11T03:01:57.225" v="340" actId="14100"/>
          <ac:spMkLst>
            <pc:docMk/>
            <pc:sldMk cId="744992136" sldId="357"/>
            <ac:spMk id="3" creationId="{3AAD55FA-63B7-4DBA-8DC0-293DEF7C309C}"/>
          </ac:spMkLst>
        </pc:spChg>
        <pc:picChg chg="mod">
          <ac:chgData name="EVELYNSM.YONG" userId="S::evelynsm.yong_gmail.com#ext#@risebcg.onmicrosoft.com::67a27a72-2420-4d38-b745-316a53f4b99a" providerId="AD" clId="Web-{F7F9ED99-F543-40A2-8A6C-8021AD617F06}" dt="2022-01-11T03:01:54.537" v="339" actId="1076"/>
          <ac:picMkLst>
            <pc:docMk/>
            <pc:sldMk cId="744992136" sldId="357"/>
            <ac:picMk id="4" creationId="{46E58862-E3FD-4841-8757-18ED8AB46909}"/>
          </ac:picMkLst>
        </pc:picChg>
      </pc:sldChg>
      <pc:sldChg chg="addSp modSp">
        <pc:chgData name="EVELYNSM.YONG" userId="S::evelynsm.yong_gmail.com#ext#@risebcg.onmicrosoft.com::67a27a72-2420-4d38-b745-316a53f4b99a" providerId="AD" clId="Web-{F7F9ED99-F543-40A2-8A6C-8021AD617F06}" dt="2022-01-11T03:29:11.663" v="961" actId="1076"/>
        <pc:sldMkLst>
          <pc:docMk/>
          <pc:sldMk cId="1240857227" sldId="361"/>
        </pc:sldMkLst>
        <pc:spChg chg="mod">
          <ac:chgData name="EVELYNSM.YONG" userId="S::evelynsm.yong_gmail.com#ext#@risebcg.onmicrosoft.com::67a27a72-2420-4d38-b745-316a53f4b99a" providerId="AD" clId="Web-{F7F9ED99-F543-40A2-8A6C-8021AD617F06}" dt="2022-01-11T03:29:05.460" v="959" actId="1076"/>
          <ac:spMkLst>
            <pc:docMk/>
            <pc:sldMk cId="1240857227" sldId="361"/>
            <ac:spMk id="2" creationId="{12D3493F-F903-4297-A83F-FCC5CC0BF756}"/>
          </ac:spMkLst>
        </pc:spChg>
        <pc:spChg chg="mod">
          <ac:chgData name="EVELYNSM.YONG" userId="S::evelynsm.yong_gmail.com#ext#@risebcg.onmicrosoft.com::67a27a72-2420-4d38-b745-316a53f4b99a" providerId="AD" clId="Web-{F7F9ED99-F543-40A2-8A6C-8021AD617F06}" dt="2022-01-11T03:29:11.663" v="961" actId="1076"/>
          <ac:spMkLst>
            <pc:docMk/>
            <pc:sldMk cId="1240857227" sldId="361"/>
            <ac:spMk id="5" creationId="{09C603B1-83E3-40C7-AD23-240A45A6713E}"/>
          </ac:spMkLst>
        </pc:spChg>
        <pc:spChg chg="mod">
          <ac:chgData name="EVELYNSM.YONG" userId="S::evelynsm.yong_gmail.com#ext#@risebcg.onmicrosoft.com::67a27a72-2420-4d38-b745-316a53f4b99a" providerId="AD" clId="Web-{F7F9ED99-F543-40A2-8A6C-8021AD617F06}" dt="2022-01-11T03:28:45.397" v="956" actId="1076"/>
          <ac:spMkLst>
            <pc:docMk/>
            <pc:sldMk cId="1240857227" sldId="361"/>
            <ac:spMk id="9" creationId="{3179ADB1-85CE-4DE6-A4AE-524B8EB2D41D}"/>
          </ac:spMkLst>
        </pc:spChg>
        <pc:grpChg chg="add">
          <ac:chgData name="EVELYNSM.YONG" userId="S::evelynsm.yong_gmail.com#ext#@risebcg.onmicrosoft.com::67a27a72-2420-4d38-b745-316a53f4b99a" providerId="AD" clId="Web-{F7F9ED99-F543-40A2-8A6C-8021AD617F06}" dt="2022-01-11T03:08:21.670" v="432"/>
          <ac:grpSpMkLst>
            <pc:docMk/>
            <pc:sldMk cId="1240857227" sldId="361"/>
            <ac:grpSpMk id="3" creationId="{E9266EB4-E081-4093-AF07-5B4F8ADB0019}"/>
          </ac:grpSpMkLst>
        </pc:grpChg>
        <pc:picChg chg="mod">
          <ac:chgData name="EVELYNSM.YONG" userId="S::evelynsm.yong_gmail.com#ext#@risebcg.onmicrosoft.com::67a27a72-2420-4d38-b745-316a53f4b99a" providerId="AD" clId="Web-{F7F9ED99-F543-40A2-8A6C-8021AD617F06}" dt="2022-01-11T03:29:08.663" v="960" actId="1076"/>
          <ac:picMkLst>
            <pc:docMk/>
            <pc:sldMk cId="1240857227" sldId="361"/>
            <ac:picMk id="4" creationId="{A0243221-DFB5-465E-ADC6-F46920AB8BAD}"/>
          </ac:picMkLst>
        </pc:picChg>
        <pc:picChg chg="mod">
          <ac:chgData name="EVELYNSM.YONG" userId="S::evelynsm.yong_gmail.com#ext#@risebcg.onmicrosoft.com::67a27a72-2420-4d38-b745-316a53f4b99a" providerId="AD" clId="Web-{F7F9ED99-F543-40A2-8A6C-8021AD617F06}" dt="2022-01-11T03:08:39.467" v="438" actId="688"/>
          <ac:picMkLst>
            <pc:docMk/>
            <pc:sldMk cId="1240857227" sldId="361"/>
            <ac:picMk id="6" creationId="{0A4441F9-3BF1-4F69-A316-B658D09F3EE0}"/>
          </ac:picMkLst>
        </pc:picChg>
        <pc:picChg chg="mod">
          <ac:chgData name="EVELYNSM.YONG" userId="S::evelynsm.yong_gmail.com#ext#@risebcg.onmicrosoft.com::67a27a72-2420-4d38-b745-316a53f4b99a" providerId="AD" clId="Web-{F7F9ED99-F543-40A2-8A6C-8021AD617F06}" dt="2022-01-11T03:28:40.803" v="954" actId="1076"/>
          <ac:picMkLst>
            <pc:docMk/>
            <pc:sldMk cId="1240857227" sldId="361"/>
            <ac:picMk id="7" creationId="{BAACB8E4-69DD-479F-80D3-67E0293AB487}"/>
          </ac:picMkLst>
        </pc:picChg>
        <pc:picChg chg="mod modCrop">
          <ac:chgData name="EVELYNSM.YONG" userId="S::evelynsm.yong_gmail.com#ext#@risebcg.onmicrosoft.com::67a27a72-2420-4d38-b745-316a53f4b99a" providerId="AD" clId="Web-{F7F9ED99-F543-40A2-8A6C-8021AD617F06}" dt="2022-01-11T03:28:38.772" v="953" actId="1076"/>
          <ac:picMkLst>
            <pc:docMk/>
            <pc:sldMk cId="1240857227" sldId="361"/>
            <ac:picMk id="8" creationId="{2D9F6303-CB72-4F30-934B-2477D027F983}"/>
          </ac:picMkLst>
        </pc:picChg>
      </pc:sldChg>
      <pc:sldChg chg="addSp delSp modSp">
        <pc:chgData name="EVELYNSM.YONG" userId="S::evelynsm.yong_gmail.com#ext#@risebcg.onmicrosoft.com::67a27a72-2420-4d38-b745-316a53f4b99a" providerId="AD" clId="Web-{F7F9ED99-F543-40A2-8A6C-8021AD617F06}" dt="2022-01-11T03:28:30.209" v="949" actId="1076"/>
        <pc:sldMkLst>
          <pc:docMk/>
          <pc:sldMk cId="1435943691" sldId="362"/>
        </pc:sldMkLst>
        <pc:spChg chg="del mod">
          <ac:chgData name="EVELYNSM.YONG" userId="S::evelynsm.yong_gmail.com#ext#@risebcg.onmicrosoft.com::67a27a72-2420-4d38-b745-316a53f4b99a" providerId="AD" clId="Web-{F7F9ED99-F543-40A2-8A6C-8021AD617F06}" dt="2022-01-11T03:11:27.252" v="500"/>
          <ac:spMkLst>
            <pc:docMk/>
            <pc:sldMk cId="1435943691" sldId="362"/>
            <ac:spMk id="2" creationId="{12D3493F-F903-4297-A83F-FCC5CC0BF756}"/>
          </ac:spMkLst>
        </pc:spChg>
        <pc:spChg chg="mod">
          <ac:chgData name="EVELYNSM.YONG" userId="S::evelynsm.yong_gmail.com#ext#@risebcg.onmicrosoft.com::67a27a72-2420-4d38-b745-316a53f4b99a" providerId="AD" clId="Web-{F7F9ED99-F543-40A2-8A6C-8021AD617F06}" dt="2022-01-11T03:27:26.974" v="924" actId="1076"/>
          <ac:spMkLst>
            <pc:docMk/>
            <pc:sldMk cId="1435943691" sldId="362"/>
            <ac:spMk id="5" creationId="{09C603B1-83E3-40C7-AD23-240A45A6713E}"/>
          </ac:spMkLst>
        </pc:spChg>
        <pc:spChg chg="add del mod">
          <ac:chgData name="EVELYNSM.YONG" userId="S::evelynsm.yong_gmail.com#ext#@risebcg.onmicrosoft.com::67a27a72-2420-4d38-b745-316a53f4b99a" providerId="AD" clId="Web-{F7F9ED99-F543-40A2-8A6C-8021AD617F06}" dt="2022-01-11T03:11:30.502" v="502"/>
          <ac:spMkLst>
            <pc:docMk/>
            <pc:sldMk cId="1435943691" sldId="362"/>
            <ac:spMk id="7" creationId="{F354351E-271E-4E5C-8127-ED2B4E813996}"/>
          </ac:spMkLst>
        </pc:spChg>
        <pc:spChg chg="add mod">
          <ac:chgData name="EVELYNSM.YONG" userId="S::evelynsm.yong_gmail.com#ext#@risebcg.onmicrosoft.com::67a27a72-2420-4d38-b745-316a53f4b99a" providerId="AD" clId="Web-{F7F9ED99-F543-40A2-8A6C-8021AD617F06}" dt="2022-01-11T03:28:30.209" v="949" actId="1076"/>
          <ac:spMkLst>
            <pc:docMk/>
            <pc:sldMk cId="1435943691" sldId="362"/>
            <ac:spMk id="8" creationId="{24E0F9B0-3D9B-4F16-8453-BA5E1BEEC67A}"/>
          </ac:spMkLst>
        </pc:spChg>
        <pc:spChg chg="mod">
          <ac:chgData name="EVELYNSM.YONG" userId="S::evelynsm.yong_gmail.com#ext#@risebcg.onmicrosoft.com::67a27a72-2420-4d38-b745-316a53f4b99a" providerId="AD" clId="Web-{F7F9ED99-F543-40A2-8A6C-8021AD617F06}" dt="2022-01-11T03:27:38.099" v="929" actId="1076"/>
          <ac:spMkLst>
            <pc:docMk/>
            <pc:sldMk cId="1435943691" sldId="362"/>
            <ac:spMk id="9" creationId="{3179ADB1-85CE-4DE6-A4AE-524B8EB2D41D}"/>
          </ac:spMkLst>
        </pc:spChg>
        <pc:grpChg chg="add">
          <ac:chgData name="EVELYNSM.YONG" userId="S::evelynsm.yong_gmail.com#ext#@risebcg.onmicrosoft.com::67a27a72-2420-4d38-b745-316a53f4b99a" providerId="AD" clId="Web-{F7F9ED99-F543-40A2-8A6C-8021AD617F06}" dt="2022-01-11T03:09:02.108" v="444"/>
          <ac:grpSpMkLst>
            <pc:docMk/>
            <pc:sldMk cId="1435943691" sldId="362"/>
            <ac:grpSpMk id="4" creationId="{544D715A-8263-44CD-B9C9-79985E548F45}"/>
          </ac:grpSpMkLst>
        </pc:grpChg>
        <pc:picChg chg="mod">
          <ac:chgData name="EVELYNSM.YONG" userId="S::evelynsm.yong_gmail.com#ext#@risebcg.onmicrosoft.com::67a27a72-2420-4d38-b745-316a53f4b99a" providerId="AD" clId="Web-{F7F9ED99-F543-40A2-8A6C-8021AD617F06}" dt="2022-01-11T03:28:21.600" v="943" actId="1076"/>
          <ac:picMkLst>
            <pc:docMk/>
            <pc:sldMk cId="1435943691" sldId="362"/>
            <ac:picMk id="3" creationId="{F490B9E4-E4C6-44FE-92D7-DFF88C9C04E8}"/>
          </ac:picMkLst>
        </pc:picChg>
        <pc:picChg chg="mod">
          <ac:chgData name="EVELYNSM.YONG" userId="S::evelynsm.yong_gmail.com#ext#@risebcg.onmicrosoft.com::67a27a72-2420-4d38-b745-316a53f4b99a" providerId="AD" clId="Web-{F7F9ED99-F543-40A2-8A6C-8021AD617F06}" dt="2022-01-11T03:27:29.912" v="925" actId="1076"/>
          <ac:picMkLst>
            <pc:docMk/>
            <pc:sldMk cId="1435943691" sldId="362"/>
            <ac:picMk id="10" creationId="{A4589F60-54A0-4840-83C8-3CA2E9115C9D}"/>
          </ac:picMkLst>
        </pc:picChg>
        <pc:picChg chg="mod">
          <ac:chgData name="EVELYNSM.YONG" userId="S::evelynsm.yong_gmail.com#ext#@risebcg.onmicrosoft.com::67a27a72-2420-4d38-b745-316a53f4b99a" providerId="AD" clId="Web-{F7F9ED99-F543-40A2-8A6C-8021AD617F06}" dt="2022-01-11T03:27:31.114" v="926" actId="1076"/>
          <ac:picMkLst>
            <pc:docMk/>
            <pc:sldMk cId="1435943691" sldId="362"/>
            <ac:picMk id="11" creationId="{CF98E824-4F82-4929-9719-C647B13D1C49}"/>
          </ac:picMkLst>
        </pc:picChg>
      </pc:sldChg>
      <pc:sldChg chg="addSp delSp modSp">
        <pc:chgData name="EVELYNSM.YONG" userId="S::evelynsm.yong_gmail.com#ext#@risebcg.onmicrosoft.com::67a27a72-2420-4d38-b745-316a53f4b99a" providerId="AD" clId="Web-{F7F9ED99-F543-40A2-8A6C-8021AD617F06}" dt="2022-01-11T03:28:16.537" v="942" actId="1076"/>
        <pc:sldMkLst>
          <pc:docMk/>
          <pc:sldMk cId="3116244911" sldId="363"/>
        </pc:sldMkLst>
        <pc:spChg chg="del">
          <ac:chgData name="EVELYNSM.YONG" userId="S::evelynsm.yong_gmail.com#ext#@risebcg.onmicrosoft.com::67a27a72-2420-4d38-b745-316a53f4b99a" providerId="AD" clId="Web-{F7F9ED99-F543-40A2-8A6C-8021AD617F06}" dt="2022-01-11T03:11:36.283" v="503"/>
          <ac:spMkLst>
            <pc:docMk/>
            <pc:sldMk cId="3116244911" sldId="363"/>
            <ac:spMk id="2" creationId="{12D3493F-F903-4297-A83F-FCC5CC0BF756}"/>
          </ac:spMkLst>
        </pc:spChg>
        <pc:spChg chg="mod">
          <ac:chgData name="EVELYNSM.YONG" userId="S::evelynsm.yong_gmail.com#ext#@risebcg.onmicrosoft.com::67a27a72-2420-4d38-b745-316a53f4b99a" providerId="AD" clId="Web-{F7F9ED99-F543-40A2-8A6C-8021AD617F06}" dt="2022-01-11T03:28:12.396" v="940" actId="1076"/>
          <ac:spMkLst>
            <pc:docMk/>
            <pc:sldMk cId="3116244911" sldId="363"/>
            <ac:spMk id="5" creationId="{09C603B1-83E3-40C7-AD23-240A45A6713E}"/>
          </ac:spMkLst>
        </pc:spChg>
        <pc:spChg chg="mod">
          <ac:chgData name="EVELYNSM.YONG" userId="S::evelynsm.yong_gmail.com#ext#@risebcg.onmicrosoft.com::67a27a72-2420-4d38-b745-316a53f4b99a" providerId="AD" clId="Web-{F7F9ED99-F543-40A2-8A6C-8021AD617F06}" dt="2022-01-11T03:28:01.303" v="935" actId="1076"/>
          <ac:spMkLst>
            <pc:docMk/>
            <pc:sldMk cId="3116244911" sldId="363"/>
            <ac:spMk id="9" creationId="{3179ADB1-85CE-4DE6-A4AE-524B8EB2D41D}"/>
          </ac:spMkLst>
        </pc:spChg>
        <pc:spChg chg="add del mod">
          <ac:chgData name="EVELYNSM.YONG" userId="S::evelynsm.yong_gmail.com#ext#@risebcg.onmicrosoft.com::67a27a72-2420-4d38-b745-316a53f4b99a" providerId="AD" clId="Web-{F7F9ED99-F543-40A2-8A6C-8021AD617F06}" dt="2022-01-11T03:11:39.299" v="504"/>
          <ac:spMkLst>
            <pc:docMk/>
            <pc:sldMk cId="3116244911" sldId="363"/>
            <ac:spMk id="13" creationId="{9F18F71D-378B-4F51-94BD-6CC7D9C39EB3}"/>
          </ac:spMkLst>
        </pc:spChg>
        <pc:spChg chg="add mod">
          <ac:chgData name="EVELYNSM.YONG" userId="S::evelynsm.yong_gmail.com#ext#@risebcg.onmicrosoft.com::67a27a72-2420-4d38-b745-316a53f4b99a" providerId="AD" clId="Web-{F7F9ED99-F543-40A2-8A6C-8021AD617F06}" dt="2022-01-11T03:28:16.537" v="942" actId="1076"/>
          <ac:spMkLst>
            <pc:docMk/>
            <pc:sldMk cId="3116244911" sldId="363"/>
            <ac:spMk id="15" creationId="{658BFC63-999C-4845-BF27-8CF09DDEF960}"/>
          </ac:spMkLst>
        </pc:spChg>
        <pc:grpChg chg="add">
          <ac:chgData name="EVELYNSM.YONG" userId="S::evelynsm.yong_gmail.com#ext#@risebcg.onmicrosoft.com::67a27a72-2420-4d38-b745-316a53f4b99a" providerId="AD" clId="Web-{F7F9ED99-F543-40A2-8A6C-8021AD617F06}" dt="2022-01-11T03:09:04.014" v="445"/>
          <ac:grpSpMkLst>
            <pc:docMk/>
            <pc:sldMk cId="3116244911" sldId="363"/>
            <ac:grpSpMk id="3" creationId="{A5AD30ED-255D-4ACB-A147-15B24091BD6C}"/>
          </ac:grpSpMkLst>
        </pc:grpChg>
        <pc:picChg chg="mod">
          <ac:chgData name="EVELYNSM.YONG" userId="S::evelynsm.yong_gmail.com#ext#@risebcg.onmicrosoft.com::67a27a72-2420-4d38-b745-316a53f4b99a" providerId="AD" clId="Web-{F7F9ED99-F543-40A2-8A6C-8021AD617F06}" dt="2022-01-11T03:28:04.709" v="937" actId="14100"/>
          <ac:picMkLst>
            <pc:docMk/>
            <pc:sldMk cId="3116244911" sldId="363"/>
            <ac:picMk id="4" creationId="{71974ED0-949D-4F9C-98BF-F953E32EC188}"/>
          </ac:picMkLst>
        </pc:picChg>
        <pc:picChg chg="mod">
          <ac:chgData name="EVELYNSM.YONG" userId="S::evelynsm.yong_gmail.com#ext#@risebcg.onmicrosoft.com::67a27a72-2420-4d38-b745-316a53f4b99a" providerId="AD" clId="Web-{F7F9ED99-F543-40A2-8A6C-8021AD617F06}" dt="2022-01-11T03:28:13.506" v="941" actId="1076"/>
          <ac:picMkLst>
            <pc:docMk/>
            <pc:sldMk cId="3116244911" sldId="363"/>
            <ac:picMk id="6" creationId="{E3ADEC42-E3A8-473D-AE75-070A05E47158}"/>
          </ac:picMkLst>
        </pc:picChg>
      </pc:sldChg>
      <pc:sldChg chg="addSp delSp modSp">
        <pc:chgData name="EVELYNSM.YONG" userId="S::evelynsm.yong_gmail.com#ext#@risebcg.onmicrosoft.com::67a27a72-2420-4d38-b745-316a53f4b99a" providerId="AD" clId="Web-{F7F9ED99-F543-40A2-8A6C-8021AD617F06}" dt="2022-01-11T03:27:07.161" v="917" actId="1076"/>
        <pc:sldMkLst>
          <pc:docMk/>
          <pc:sldMk cId="3544593396" sldId="364"/>
        </pc:sldMkLst>
        <pc:spChg chg="del mod">
          <ac:chgData name="EVELYNSM.YONG" userId="S::evelynsm.yong_gmail.com#ext#@risebcg.onmicrosoft.com::67a27a72-2420-4d38-b745-316a53f4b99a" providerId="AD" clId="Web-{F7F9ED99-F543-40A2-8A6C-8021AD617F06}" dt="2022-01-11T03:12:37.347" v="519"/>
          <ac:spMkLst>
            <pc:docMk/>
            <pc:sldMk cId="3544593396" sldId="364"/>
            <ac:spMk id="2" creationId="{12D3493F-F903-4297-A83F-FCC5CC0BF756}"/>
          </ac:spMkLst>
        </pc:spChg>
        <pc:spChg chg="mod">
          <ac:chgData name="EVELYNSM.YONG" userId="S::evelynsm.yong_gmail.com#ext#@risebcg.onmicrosoft.com::67a27a72-2420-4d38-b745-316a53f4b99a" providerId="AD" clId="Web-{F7F9ED99-F543-40A2-8A6C-8021AD617F06}" dt="2022-01-11T03:27:01.567" v="914" actId="1076"/>
          <ac:spMkLst>
            <pc:docMk/>
            <pc:sldMk cId="3544593396" sldId="364"/>
            <ac:spMk id="5" creationId="{09C603B1-83E3-40C7-AD23-240A45A6713E}"/>
          </ac:spMkLst>
        </pc:spChg>
        <pc:spChg chg="mod">
          <ac:chgData name="EVELYNSM.YONG" userId="S::evelynsm.yong_gmail.com#ext#@risebcg.onmicrosoft.com::67a27a72-2420-4d38-b745-316a53f4b99a" providerId="AD" clId="Web-{F7F9ED99-F543-40A2-8A6C-8021AD617F06}" dt="2022-01-11T03:27:07.161" v="917" actId="1076"/>
          <ac:spMkLst>
            <pc:docMk/>
            <pc:sldMk cId="3544593396" sldId="364"/>
            <ac:spMk id="9" creationId="{3179ADB1-85CE-4DE6-A4AE-524B8EB2D41D}"/>
          </ac:spMkLst>
        </pc:spChg>
        <pc:spChg chg="add del mod">
          <ac:chgData name="EVELYNSM.YONG" userId="S::evelynsm.yong_gmail.com#ext#@risebcg.onmicrosoft.com::67a27a72-2420-4d38-b745-316a53f4b99a" providerId="AD" clId="Web-{F7F9ED99-F543-40A2-8A6C-8021AD617F06}" dt="2022-01-11T03:12:42.019" v="521"/>
          <ac:spMkLst>
            <pc:docMk/>
            <pc:sldMk cId="3544593396" sldId="364"/>
            <ac:spMk id="13" creationId="{D506E518-D0A5-4D24-ADBB-3B9E3459EBCD}"/>
          </ac:spMkLst>
        </pc:spChg>
        <pc:spChg chg="add mod">
          <ac:chgData name="EVELYNSM.YONG" userId="S::evelynsm.yong_gmail.com#ext#@risebcg.onmicrosoft.com::67a27a72-2420-4d38-b745-316a53f4b99a" providerId="AD" clId="Web-{F7F9ED99-F543-40A2-8A6C-8021AD617F06}" dt="2022-01-11T03:13:08.972" v="532" actId="1076"/>
          <ac:spMkLst>
            <pc:docMk/>
            <pc:sldMk cId="3544593396" sldId="364"/>
            <ac:spMk id="15" creationId="{4873594C-8EC3-4605-881E-C1D16C0B8A73}"/>
          </ac:spMkLst>
        </pc:spChg>
        <pc:grpChg chg="add">
          <ac:chgData name="EVELYNSM.YONG" userId="S::evelynsm.yong_gmail.com#ext#@risebcg.onmicrosoft.com::67a27a72-2420-4d38-b745-316a53f4b99a" providerId="AD" clId="Web-{F7F9ED99-F543-40A2-8A6C-8021AD617F06}" dt="2022-01-11T03:09:05.764" v="446"/>
          <ac:grpSpMkLst>
            <pc:docMk/>
            <pc:sldMk cId="3544593396" sldId="364"/>
            <ac:grpSpMk id="4" creationId="{0EA88A3E-121D-406F-903F-AD39A0C87108}"/>
          </ac:grpSpMkLst>
        </pc:grpChg>
        <pc:picChg chg="mod">
          <ac:chgData name="EVELYNSM.YONG" userId="S::evelynsm.yong_gmail.com#ext#@risebcg.onmicrosoft.com::67a27a72-2420-4d38-b745-316a53f4b99a" providerId="AD" clId="Web-{F7F9ED99-F543-40A2-8A6C-8021AD617F06}" dt="2022-01-11T03:26:59.833" v="913" actId="1076"/>
          <ac:picMkLst>
            <pc:docMk/>
            <pc:sldMk cId="3544593396" sldId="364"/>
            <ac:picMk id="3" creationId="{92F2F078-2A64-4F81-AAB6-04F45D935590}"/>
          </ac:picMkLst>
        </pc:picChg>
        <pc:picChg chg="mod">
          <ac:chgData name="EVELYNSM.YONG" userId="S::evelynsm.yong_gmail.com#ext#@risebcg.onmicrosoft.com::67a27a72-2420-4d38-b745-316a53f4b99a" providerId="AD" clId="Web-{F7F9ED99-F543-40A2-8A6C-8021AD617F06}" dt="2022-01-11T03:27:05.317" v="916" actId="1076"/>
          <ac:picMkLst>
            <pc:docMk/>
            <pc:sldMk cId="3544593396" sldId="364"/>
            <ac:picMk id="7" creationId="{32A083E4-1136-43B2-AA61-204C83559131}"/>
          </ac:picMkLst>
        </pc:picChg>
      </pc:sldChg>
      <pc:sldChg chg="addSp delSp modSp">
        <pc:chgData name="EVELYNSM.YONG" userId="S::evelynsm.yong_gmail.com#ext#@risebcg.onmicrosoft.com::67a27a72-2420-4d38-b745-316a53f4b99a" providerId="AD" clId="Web-{F7F9ED99-F543-40A2-8A6C-8021AD617F06}" dt="2022-01-11T03:20:08.731" v="709" actId="1076"/>
        <pc:sldMkLst>
          <pc:docMk/>
          <pc:sldMk cId="1368706879" sldId="365"/>
        </pc:sldMkLst>
        <pc:spChg chg="del">
          <ac:chgData name="EVELYNSM.YONG" userId="S::evelynsm.yong_gmail.com#ext#@risebcg.onmicrosoft.com::67a27a72-2420-4d38-b745-316a53f4b99a" providerId="AD" clId="Web-{F7F9ED99-F543-40A2-8A6C-8021AD617F06}" dt="2022-01-11T03:13:13.613" v="533"/>
          <ac:spMkLst>
            <pc:docMk/>
            <pc:sldMk cId="1368706879" sldId="365"/>
            <ac:spMk id="2" creationId="{12D3493F-F903-4297-A83F-FCC5CC0BF756}"/>
          </ac:spMkLst>
        </pc:spChg>
        <pc:spChg chg="mod">
          <ac:chgData name="EVELYNSM.YONG" userId="S::evelynsm.yong_gmail.com#ext#@risebcg.onmicrosoft.com::67a27a72-2420-4d38-b745-316a53f4b99a" providerId="AD" clId="Web-{F7F9ED99-F543-40A2-8A6C-8021AD617F06}" dt="2022-01-11T03:20:06.231" v="708" actId="1076"/>
          <ac:spMkLst>
            <pc:docMk/>
            <pc:sldMk cId="1368706879" sldId="365"/>
            <ac:spMk id="5" creationId="{09C603B1-83E3-40C7-AD23-240A45A6713E}"/>
          </ac:spMkLst>
        </pc:spChg>
        <pc:spChg chg="mod">
          <ac:chgData name="EVELYNSM.YONG" userId="S::evelynsm.yong_gmail.com#ext#@risebcg.onmicrosoft.com::67a27a72-2420-4d38-b745-316a53f4b99a" providerId="AD" clId="Web-{F7F9ED99-F543-40A2-8A6C-8021AD617F06}" dt="2022-01-11T03:20:08.731" v="709" actId="1076"/>
          <ac:spMkLst>
            <pc:docMk/>
            <pc:sldMk cId="1368706879" sldId="365"/>
            <ac:spMk id="9" creationId="{3179ADB1-85CE-4DE6-A4AE-524B8EB2D41D}"/>
          </ac:spMkLst>
        </pc:spChg>
        <pc:spChg chg="add del mod">
          <ac:chgData name="EVELYNSM.YONG" userId="S::evelynsm.yong_gmail.com#ext#@risebcg.onmicrosoft.com::67a27a72-2420-4d38-b745-316a53f4b99a" providerId="AD" clId="Web-{F7F9ED99-F543-40A2-8A6C-8021AD617F06}" dt="2022-01-11T03:13:17.582" v="535"/>
          <ac:spMkLst>
            <pc:docMk/>
            <pc:sldMk cId="1368706879" sldId="365"/>
            <ac:spMk id="13" creationId="{DE35C164-79ED-4B55-84DF-3C0EB1FA1381}"/>
          </ac:spMkLst>
        </pc:spChg>
        <pc:spChg chg="add mod">
          <ac:chgData name="EVELYNSM.YONG" userId="S::evelynsm.yong_gmail.com#ext#@risebcg.onmicrosoft.com::67a27a72-2420-4d38-b745-316a53f4b99a" providerId="AD" clId="Web-{F7F9ED99-F543-40A2-8A6C-8021AD617F06}" dt="2022-01-11T03:15:00.975" v="615" actId="20577"/>
          <ac:spMkLst>
            <pc:docMk/>
            <pc:sldMk cId="1368706879" sldId="365"/>
            <ac:spMk id="15" creationId="{9555C023-9397-4E75-9856-EB47265A03DE}"/>
          </ac:spMkLst>
        </pc:spChg>
        <pc:grpChg chg="add">
          <ac:chgData name="EVELYNSM.YONG" userId="S::evelynsm.yong_gmail.com#ext#@risebcg.onmicrosoft.com::67a27a72-2420-4d38-b745-316a53f4b99a" providerId="AD" clId="Web-{F7F9ED99-F543-40A2-8A6C-8021AD617F06}" dt="2022-01-11T03:09:07.249" v="447"/>
          <ac:grpSpMkLst>
            <pc:docMk/>
            <pc:sldMk cId="1368706879" sldId="365"/>
            <ac:grpSpMk id="3" creationId="{1D469522-D02F-4DCD-8628-F3F045D43F1F}"/>
          </ac:grpSpMkLst>
        </pc:grpChg>
        <pc:picChg chg="mod">
          <ac:chgData name="EVELYNSM.YONG" userId="S::evelynsm.yong_gmail.com#ext#@risebcg.onmicrosoft.com::67a27a72-2420-4d38-b745-316a53f4b99a" providerId="AD" clId="Web-{F7F9ED99-F543-40A2-8A6C-8021AD617F06}" dt="2022-01-11T03:20:03.793" v="706" actId="1076"/>
          <ac:picMkLst>
            <pc:docMk/>
            <pc:sldMk cId="1368706879" sldId="365"/>
            <ac:picMk id="4" creationId="{566D1659-13FF-47F8-88C8-68034A0DB9EE}"/>
          </ac:picMkLst>
        </pc:picChg>
        <pc:picChg chg="mod">
          <ac:chgData name="EVELYNSM.YONG" userId="S::evelynsm.yong_gmail.com#ext#@risebcg.onmicrosoft.com::67a27a72-2420-4d38-b745-316a53f4b99a" providerId="AD" clId="Web-{F7F9ED99-F543-40A2-8A6C-8021AD617F06}" dt="2022-01-11T03:20:04.777" v="707" actId="1076"/>
          <ac:picMkLst>
            <pc:docMk/>
            <pc:sldMk cId="1368706879" sldId="365"/>
            <ac:picMk id="6" creationId="{9A02E292-73CE-41B4-88EF-76B9EA903288}"/>
          </ac:picMkLst>
        </pc:picChg>
      </pc:sldChg>
      <pc:sldChg chg="addSp delSp modSp">
        <pc:chgData name="EVELYNSM.YONG" userId="S::evelynsm.yong_gmail.com#ext#@risebcg.onmicrosoft.com::67a27a72-2420-4d38-b745-316a53f4b99a" providerId="AD" clId="Web-{F7F9ED99-F543-40A2-8A6C-8021AD617F06}" dt="2022-01-11T03:19:50.308" v="701" actId="1076"/>
        <pc:sldMkLst>
          <pc:docMk/>
          <pc:sldMk cId="3891548654" sldId="366"/>
        </pc:sldMkLst>
        <pc:spChg chg="del">
          <ac:chgData name="EVELYNSM.YONG" userId="S::evelynsm.yong_gmail.com#ext#@risebcg.onmicrosoft.com::67a27a72-2420-4d38-b745-316a53f4b99a" providerId="AD" clId="Web-{F7F9ED99-F543-40A2-8A6C-8021AD617F06}" dt="2022-01-11T03:13:53.208" v="548"/>
          <ac:spMkLst>
            <pc:docMk/>
            <pc:sldMk cId="3891548654" sldId="366"/>
            <ac:spMk id="2" creationId="{12D3493F-F903-4297-A83F-FCC5CC0BF756}"/>
          </ac:spMkLst>
        </pc:spChg>
        <pc:spChg chg="mod">
          <ac:chgData name="EVELYNSM.YONG" userId="S::evelynsm.yong_gmail.com#ext#@risebcg.onmicrosoft.com::67a27a72-2420-4d38-b745-316a53f4b99a" providerId="AD" clId="Web-{F7F9ED99-F543-40A2-8A6C-8021AD617F06}" dt="2022-01-11T03:19:50.308" v="701" actId="1076"/>
          <ac:spMkLst>
            <pc:docMk/>
            <pc:sldMk cId="3891548654" sldId="366"/>
            <ac:spMk id="5" creationId="{09C603B1-83E3-40C7-AD23-240A45A6713E}"/>
          </ac:spMkLst>
        </pc:spChg>
        <pc:spChg chg="mod">
          <ac:chgData name="EVELYNSM.YONG" userId="S::evelynsm.yong_gmail.com#ext#@risebcg.onmicrosoft.com::67a27a72-2420-4d38-b745-316a53f4b99a" providerId="AD" clId="Web-{F7F9ED99-F543-40A2-8A6C-8021AD617F06}" dt="2022-01-11T03:19:48.527" v="700" actId="1076"/>
          <ac:spMkLst>
            <pc:docMk/>
            <pc:sldMk cId="3891548654" sldId="366"/>
            <ac:spMk id="9" creationId="{3179ADB1-85CE-4DE6-A4AE-524B8EB2D41D}"/>
          </ac:spMkLst>
        </pc:spChg>
        <pc:spChg chg="add del mod">
          <ac:chgData name="EVELYNSM.YONG" userId="S::evelynsm.yong_gmail.com#ext#@risebcg.onmicrosoft.com::67a27a72-2420-4d38-b745-316a53f4b99a" providerId="AD" clId="Web-{F7F9ED99-F543-40A2-8A6C-8021AD617F06}" dt="2022-01-11T03:13:57.005" v="550"/>
          <ac:spMkLst>
            <pc:docMk/>
            <pc:sldMk cId="3891548654" sldId="366"/>
            <ac:spMk id="13" creationId="{5C00CE21-45F7-4ED7-900B-CF872C3EFE23}"/>
          </ac:spMkLst>
        </pc:spChg>
        <pc:spChg chg="add mod">
          <ac:chgData name="EVELYNSM.YONG" userId="S::evelynsm.yong_gmail.com#ext#@risebcg.onmicrosoft.com::67a27a72-2420-4d38-b745-316a53f4b99a" providerId="AD" clId="Web-{F7F9ED99-F543-40A2-8A6C-8021AD617F06}" dt="2022-01-11T03:14:31.083" v="596" actId="1076"/>
          <ac:spMkLst>
            <pc:docMk/>
            <pc:sldMk cId="3891548654" sldId="366"/>
            <ac:spMk id="15" creationId="{5FE92ADB-55CC-4BEA-8221-1ACFF22DD1F0}"/>
          </ac:spMkLst>
        </pc:spChg>
        <pc:grpChg chg="add">
          <ac:chgData name="EVELYNSM.YONG" userId="S::evelynsm.yong_gmail.com#ext#@risebcg.onmicrosoft.com::67a27a72-2420-4d38-b745-316a53f4b99a" providerId="AD" clId="Web-{F7F9ED99-F543-40A2-8A6C-8021AD617F06}" dt="2022-01-11T03:09:09.108" v="448"/>
          <ac:grpSpMkLst>
            <pc:docMk/>
            <pc:sldMk cId="3891548654" sldId="366"/>
            <ac:grpSpMk id="4" creationId="{A54BDC52-FC29-4018-B0D6-87D401425E35}"/>
          </ac:grpSpMkLst>
        </pc:grpChg>
        <pc:picChg chg="mod">
          <ac:chgData name="EVELYNSM.YONG" userId="S::evelynsm.yong_gmail.com#ext#@risebcg.onmicrosoft.com::67a27a72-2420-4d38-b745-316a53f4b99a" providerId="AD" clId="Web-{F7F9ED99-F543-40A2-8A6C-8021AD617F06}" dt="2022-01-11T03:19:42.605" v="697" actId="1076"/>
          <ac:picMkLst>
            <pc:docMk/>
            <pc:sldMk cId="3891548654" sldId="366"/>
            <ac:picMk id="3" creationId="{3A9AAE25-4049-446E-8E70-55A209C4D22D}"/>
          </ac:picMkLst>
        </pc:picChg>
        <pc:picChg chg="mod">
          <ac:chgData name="EVELYNSM.YONG" userId="S::evelynsm.yong_gmail.com#ext#@risebcg.onmicrosoft.com::67a27a72-2420-4d38-b745-316a53f4b99a" providerId="AD" clId="Web-{F7F9ED99-F543-40A2-8A6C-8021AD617F06}" dt="2022-01-11T03:19:46.933" v="699" actId="14100"/>
          <ac:picMkLst>
            <pc:docMk/>
            <pc:sldMk cId="3891548654" sldId="366"/>
            <ac:picMk id="7" creationId="{501F7DE2-8991-44A1-9009-B56CC32D49AD}"/>
          </ac:picMkLst>
        </pc:picChg>
      </pc:sldChg>
      <pc:sldChg chg="addSp modSp">
        <pc:chgData name="EVELYNSM.YONG" userId="S::evelynsm.yong_gmail.com#ext#@risebcg.onmicrosoft.com::67a27a72-2420-4d38-b745-316a53f4b99a" providerId="AD" clId="Web-{F7F9ED99-F543-40A2-8A6C-8021AD617F06}" dt="2022-01-11T03:19:24.449" v="691" actId="1076"/>
        <pc:sldMkLst>
          <pc:docMk/>
          <pc:sldMk cId="495325899" sldId="367"/>
        </pc:sldMkLst>
        <pc:spChg chg="mod">
          <ac:chgData name="EVELYNSM.YONG" userId="S::evelynsm.yong_gmail.com#ext#@risebcg.onmicrosoft.com::67a27a72-2420-4d38-b745-316a53f4b99a" providerId="AD" clId="Web-{F7F9ED99-F543-40A2-8A6C-8021AD617F06}" dt="2022-01-11T03:16:34.555" v="645" actId="20577"/>
          <ac:spMkLst>
            <pc:docMk/>
            <pc:sldMk cId="495325899" sldId="367"/>
            <ac:spMk id="2" creationId="{12D3493F-F903-4297-A83F-FCC5CC0BF756}"/>
          </ac:spMkLst>
        </pc:spChg>
        <pc:spChg chg="mod">
          <ac:chgData name="EVELYNSM.YONG" userId="S::evelynsm.yong_gmail.com#ext#@risebcg.onmicrosoft.com::67a27a72-2420-4d38-b745-316a53f4b99a" providerId="AD" clId="Web-{F7F9ED99-F543-40A2-8A6C-8021AD617F06}" dt="2022-01-11T03:19:19.886" v="689" actId="1076"/>
          <ac:spMkLst>
            <pc:docMk/>
            <pc:sldMk cId="495325899" sldId="367"/>
            <ac:spMk id="5" creationId="{09C603B1-83E3-40C7-AD23-240A45A6713E}"/>
          </ac:spMkLst>
        </pc:spChg>
        <pc:spChg chg="mod">
          <ac:chgData name="EVELYNSM.YONG" userId="S::evelynsm.yong_gmail.com#ext#@risebcg.onmicrosoft.com::67a27a72-2420-4d38-b745-316a53f4b99a" providerId="AD" clId="Web-{F7F9ED99-F543-40A2-8A6C-8021AD617F06}" dt="2022-01-11T03:19:22.574" v="690"/>
          <ac:spMkLst>
            <pc:docMk/>
            <pc:sldMk cId="495325899" sldId="367"/>
            <ac:spMk id="9" creationId="{3179ADB1-85CE-4DE6-A4AE-524B8EB2D41D}"/>
          </ac:spMkLst>
        </pc:spChg>
        <pc:grpChg chg="add">
          <ac:chgData name="EVELYNSM.YONG" userId="S::evelynsm.yong_gmail.com#ext#@risebcg.onmicrosoft.com::67a27a72-2420-4d38-b745-316a53f4b99a" providerId="AD" clId="Web-{F7F9ED99-F543-40A2-8A6C-8021AD617F06}" dt="2022-01-11T03:09:11.233" v="449"/>
          <ac:grpSpMkLst>
            <pc:docMk/>
            <pc:sldMk cId="495325899" sldId="367"/>
            <ac:grpSpMk id="3" creationId="{A5CB7353-8154-4FEC-A0E5-512671A7A8F9}"/>
          </ac:grpSpMkLst>
        </pc:grpChg>
        <pc:picChg chg="mod">
          <ac:chgData name="EVELYNSM.YONG" userId="S::evelynsm.yong_gmail.com#ext#@risebcg.onmicrosoft.com::67a27a72-2420-4d38-b745-316a53f4b99a" providerId="AD" clId="Web-{F7F9ED99-F543-40A2-8A6C-8021AD617F06}" dt="2022-01-11T03:19:08.792" v="683" actId="1076"/>
          <ac:picMkLst>
            <pc:docMk/>
            <pc:sldMk cId="495325899" sldId="367"/>
            <ac:picMk id="4" creationId="{79B30297-A01B-430C-8EB8-745A3D069B7F}"/>
          </ac:picMkLst>
        </pc:picChg>
        <pc:picChg chg="mod">
          <ac:chgData name="EVELYNSM.YONG" userId="S::evelynsm.yong_gmail.com#ext#@risebcg.onmicrosoft.com::67a27a72-2420-4d38-b745-316a53f4b99a" providerId="AD" clId="Web-{F7F9ED99-F543-40A2-8A6C-8021AD617F06}" dt="2022-01-11T03:19:08.808" v="684" actId="1076"/>
          <ac:picMkLst>
            <pc:docMk/>
            <pc:sldMk cId="495325899" sldId="367"/>
            <ac:picMk id="6" creationId="{4A08CA56-0F2C-4842-8FB2-31B02C4CC1C2}"/>
          </ac:picMkLst>
        </pc:picChg>
        <pc:picChg chg="mod">
          <ac:chgData name="EVELYNSM.YONG" userId="S::evelynsm.yong_gmail.com#ext#@risebcg.onmicrosoft.com::67a27a72-2420-4d38-b745-316a53f4b99a" providerId="AD" clId="Web-{F7F9ED99-F543-40A2-8A6C-8021AD617F06}" dt="2022-01-11T03:19:24.449" v="691" actId="1076"/>
          <ac:picMkLst>
            <pc:docMk/>
            <pc:sldMk cId="495325899" sldId="367"/>
            <ac:picMk id="8" creationId="{6CC0388A-2FEB-46B2-970B-B498ED898DF7}"/>
          </ac:picMkLst>
        </pc:picChg>
      </pc:sldChg>
      <pc:sldChg chg="addSp modSp">
        <pc:chgData name="EVELYNSM.YONG" userId="S::evelynsm.yong_gmail.com#ext#@risebcg.onmicrosoft.com::67a27a72-2420-4d38-b745-316a53f4b99a" providerId="AD" clId="Web-{F7F9ED99-F543-40A2-8A6C-8021AD617F06}" dt="2022-01-11T03:18:13.978" v="675" actId="20577"/>
        <pc:sldMkLst>
          <pc:docMk/>
          <pc:sldMk cId="371058751" sldId="368"/>
        </pc:sldMkLst>
        <pc:spChg chg="mod">
          <ac:chgData name="EVELYNSM.YONG" userId="S::evelynsm.yong_gmail.com#ext#@risebcg.onmicrosoft.com::67a27a72-2420-4d38-b745-316a53f4b99a" providerId="AD" clId="Web-{F7F9ED99-F543-40A2-8A6C-8021AD617F06}" dt="2022-01-11T03:18:13.978" v="675" actId="20577"/>
          <ac:spMkLst>
            <pc:docMk/>
            <pc:sldMk cId="371058751" sldId="368"/>
            <ac:spMk id="2" creationId="{12D3493F-F903-4297-A83F-FCC5CC0BF756}"/>
          </ac:spMkLst>
        </pc:spChg>
        <pc:spChg chg="mod">
          <ac:chgData name="EVELYNSM.YONG" userId="S::evelynsm.yong_gmail.com#ext#@risebcg.onmicrosoft.com::67a27a72-2420-4d38-b745-316a53f4b99a" providerId="AD" clId="Web-{F7F9ED99-F543-40A2-8A6C-8021AD617F06}" dt="2022-01-11T03:17:33.868" v="654" actId="1076"/>
          <ac:spMkLst>
            <pc:docMk/>
            <pc:sldMk cId="371058751" sldId="368"/>
            <ac:spMk id="9" creationId="{3179ADB1-85CE-4DE6-A4AE-524B8EB2D41D}"/>
          </ac:spMkLst>
        </pc:spChg>
        <pc:grpChg chg="add">
          <ac:chgData name="EVELYNSM.YONG" userId="S::evelynsm.yong_gmail.com#ext#@risebcg.onmicrosoft.com::67a27a72-2420-4d38-b745-316a53f4b99a" providerId="AD" clId="Web-{F7F9ED99-F543-40A2-8A6C-8021AD617F06}" dt="2022-01-11T03:09:12.968" v="450"/>
          <ac:grpSpMkLst>
            <pc:docMk/>
            <pc:sldMk cId="371058751" sldId="368"/>
            <ac:grpSpMk id="4" creationId="{0A6152A0-0A9D-4C47-A39C-AAF6B9D6B44A}"/>
          </ac:grpSpMkLst>
        </pc:grpChg>
        <pc:picChg chg="mod">
          <ac:chgData name="EVELYNSM.YONG" userId="S::evelynsm.yong_gmail.com#ext#@risebcg.onmicrosoft.com::67a27a72-2420-4d38-b745-316a53f4b99a" providerId="AD" clId="Web-{F7F9ED99-F543-40A2-8A6C-8021AD617F06}" dt="2022-01-11T03:17:30.931" v="653" actId="1076"/>
          <ac:picMkLst>
            <pc:docMk/>
            <pc:sldMk cId="371058751" sldId="368"/>
            <ac:picMk id="3" creationId="{3E9A0F2D-BAD5-4289-9F34-C4D0E3B67FD8}"/>
          </ac:picMkLst>
        </pc:picChg>
      </pc:sldChg>
      <pc:sldChg chg="delSp modSp ord">
        <pc:chgData name="EVELYNSM.YONG" userId="S::evelynsm.yong_gmail.com#ext#@risebcg.onmicrosoft.com::67a27a72-2420-4d38-b745-316a53f4b99a" providerId="AD" clId="Web-{F7F9ED99-F543-40A2-8A6C-8021AD617F06}" dt="2022-01-11T03:06:10.808" v="396" actId="1076"/>
        <pc:sldMkLst>
          <pc:docMk/>
          <pc:sldMk cId="3295041884" sldId="369"/>
        </pc:sldMkLst>
        <pc:spChg chg="del">
          <ac:chgData name="EVELYNSM.YONG" userId="S::evelynsm.yong_gmail.com#ext#@risebcg.onmicrosoft.com::67a27a72-2420-4d38-b745-316a53f4b99a" providerId="AD" clId="Web-{F7F9ED99-F543-40A2-8A6C-8021AD617F06}" dt="2022-01-11T03:06:08.714" v="395"/>
          <ac:spMkLst>
            <pc:docMk/>
            <pc:sldMk cId="3295041884" sldId="369"/>
            <ac:spMk id="25" creationId="{A72C66DB-3DFA-4DD0-BB16-94A4A31F5E94}"/>
          </ac:spMkLst>
        </pc:spChg>
        <pc:picChg chg="mod">
          <ac:chgData name="EVELYNSM.YONG" userId="S::evelynsm.yong_gmail.com#ext#@risebcg.onmicrosoft.com::67a27a72-2420-4d38-b745-316a53f4b99a" providerId="AD" clId="Web-{F7F9ED99-F543-40A2-8A6C-8021AD617F06}" dt="2022-01-11T03:06:10.808" v="396" actId="1076"/>
          <ac:picMkLst>
            <pc:docMk/>
            <pc:sldMk cId="3295041884" sldId="369"/>
            <ac:picMk id="3" creationId="{5DEAADBB-8BEB-4916-8B81-E680A113BDAC}"/>
          </ac:picMkLst>
        </pc:picChg>
      </pc:sldChg>
      <pc:sldChg chg="addSp delSp modSp ord modNotes">
        <pc:chgData name="EVELYNSM.YONG" userId="S::evelynsm.yong_gmail.com#ext#@risebcg.onmicrosoft.com::67a27a72-2420-4d38-b745-316a53f4b99a" providerId="AD" clId="Web-{F7F9ED99-F543-40A2-8A6C-8021AD617F06}" dt="2022-01-11T03:01:47.834" v="338"/>
        <pc:sldMkLst>
          <pc:docMk/>
          <pc:sldMk cId="3758978858" sldId="379"/>
        </pc:sldMkLst>
        <pc:spChg chg="mod">
          <ac:chgData name="EVELYNSM.YONG" userId="S::evelynsm.yong_gmail.com#ext#@risebcg.onmicrosoft.com::67a27a72-2420-4d38-b745-316a53f4b99a" providerId="AD" clId="Web-{F7F9ED99-F543-40A2-8A6C-8021AD617F06}" dt="2022-01-11T02:56:39.828" v="271" actId="20577"/>
          <ac:spMkLst>
            <pc:docMk/>
            <pc:sldMk cId="3758978858" sldId="379"/>
            <ac:spMk id="2" creationId="{C8764925-553F-46C0-AD49-7EDC41FA393B}"/>
          </ac:spMkLst>
        </pc:spChg>
        <pc:spChg chg="add">
          <ac:chgData name="EVELYNSM.YONG" userId="S::evelynsm.yong_gmail.com#ext#@risebcg.onmicrosoft.com::67a27a72-2420-4d38-b745-316a53f4b99a" providerId="AD" clId="Web-{F7F9ED99-F543-40A2-8A6C-8021AD617F06}" dt="2022-01-11T02:59:00.565" v="279"/>
          <ac:spMkLst>
            <pc:docMk/>
            <pc:sldMk cId="3758978858" sldId="379"/>
            <ac:spMk id="3" creationId="{70B07330-2F68-4A35-9040-6BC23E0869D8}"/>
          </ac:spMkLst>
        </pc:spChg>
        <pc:picChg chg="add">
          <ac:chgData name="EVELYNSM.YONG" userId="S::evelynsm.yong_gmail.com#ext#@risebcg.onmicrosoft.com::67a27a72-2420-4d38-b745-316a53f4b99a" providerId="AD" clId="Web-{F7F9ED99-F543-40A2-8A6C-8021AD617F06}" dt="2022-01-11T02:59:00.581" v="280"/>
          <ac:picMkLst>
            <pc:docMk/>
            <pc:sldMk cId="3758978858" sldId="379"/>
            <ac:picMk id="4" creationId="{B5DB32CC-EAC7-41A2-8184-F3E358704B4D}"/>
          </ac:picMkLst>
        </pc:picChg>
        <pc:picChg chg="mod">
          <ac:chgData name="EVELYNSM.YONG" userId="S::evelynsm.yong_gmail.com#ext#@risebcg.onmicrosoft.com::67a27a72-2420-4d38-b745-316a53f4b99a" providerId="AD" clId="Web-{F7F9ED99-F543-40A2-8A6C-8021AD617F06}" dt="2022-01-11T03:01:04.974" v="301" actId="1076"/>
          <ac:picMkLst>
            <pc:docMk/>
            <pc:sldMk cId="3758978858" sldId="379"/>
            <ac:picMk id="7" creationId="{7172E854-F91B-4034-914C-283C25FD691D}"/>
          </ac:picMkLst>
        </pc:picChg>
        <pc:picChg chg="mod">
          <ac:chgData name="EVELYNSM.YONG" userId="S::evelynsm.yong_gmail.com#ext#@risebcg.onmicrosoft.com::67a27a72-2420-4d38-b745-316a53f4b99a" providerId="AD" clId="Web-{F7F9ED99-F543-40A2-8A6C-8021AD617F06}" dt="2022-01-11T03:01:06.614" v="302" actId="1076"/>
          <ac:picMkLst>
            <pc:docMk/>
            <pc:sldMk cId="3758978858" sldId="379"/>
            <ac:picMk id="9" creationId="{D15396CB-C56C-4A94-B451-A160648373B0}"/>
          </ac:picMkLst>
        </pc:picChg>
        <pc:picChg chg="add del mod">
          <ac:chgData name="EVELYNSM.YONG" userId="S::evelynsm.yong_gmail.com#ext#@risebcg.onmicrosoft.com::67a27a72-2420-4d38-b745-316a53f4b99a" providerId="AD" clId="Web-{F7F9ED99-F543-40A2-8A6C-8021AD617F06}" dt="2022-01-11T03:00:21.567" v="294"/>
          <ac:picMkLst>
            <pc:docMk/>
            <pc:sldMk cId="3758978858" sldId="379"/>
            <ac:picMk id="10" creationId="{C7FCE3CA-13D6-4429-A0D4-B1359B721284}"/>
          </ac:picMkLst>
        </pc:picChg>
      </pc:sldChg>
      <pc:sldChg chg="addSp modSp ord">
        <pc:chgData name="EVELYNSM.YONG" userId="S::evelynsm.yong_gmail.com#ext#@risebcg.onmicrosoft.com::67a27a72-2420-4d38-b745-316a53f4b99a" providerId="AD" clId="Web-{F7F9ED99-F543-40A2-8A6C-8021AD617F06}" dt="2022-01-11T02:59:18.847" v="285" actId="20577"/>
        <pc:sldMkLst>
          <pc:docMk/>
          <pc:sldMk cId="1431775713" sldId="384"/>
        </pc:sldMkLst>
        <pc:spChg chg="mod">
          <ac:chgData name="EVELYNSM.YONG" userId="S::evelynsm.yong_gmail.com#ext#@risebcg.onmicrosoft.com::67a27a72-2420-4d38-b745-316a53f4b99a" providerId="AD" clId="Web-{F7F9ED99-F543-40A2-8A6C-8021AD617F06}" dt="2022-01-11T02:59:18.847" v="285" actId="20577"/>
          <ac:spMkLst>
            <pc:docMk/>
            <pc:sldMk cId="1431775713" sldId="384"/>
            <ac:spMk id="2" creationId="{C8764925-553F-46C0-AD49-7EDC41FA393B}"/>
          </ac:spMkLst>
        </pc:spChg>
        <pc:spChg chg="add">
          <ac:chgData name="EVELYNSM.YONG" userId="S::evelynsm.yong_gmail.com#ext#@risebcg.onmicrosoft.com::67a27a72-2420-4d38-b745-316a53f4b99a" providerId="AD" clId="Web-{F7F9ED99-F543-40A2-8A6C-8021AD617F06}" dt="2022-01-11T02:59:02.721" v="281"/>
          <ac:spMkLst>
            <pc:docMk/>
            <pc:sldMk cId="1431775713" sldId="384"/>
            <ac:spMk id="6" creationId="{C0AF55F1-44C1-4497-BC9B-D744784B44CE}"/>
          </ac:spMkLst>
        </pc:spChg>
        <pc:picChg chg="mod">
          <ac:chgData name="EVELYNSM.YONG" userId="S::evelynsm.yong_gmail.com#ext#@risebcg.onmicrosoft.com::67a27a72-2420-4d38-b745-316a53f4b99a" providerId="AD" clId="Web-{F7F9ED99-F543-40A2-8A6C-8021AD617F06}" dt="2022-01-11T02:59:07.987" v="283" actId="1076"/>
          <ac:picMkLst>
            <pc:docMk/>
            <pc:sldMk cId="1431775713" sldId="384"/>
            <ac:picMk id="3" creationId="{4BB0AA97-4D09-4E8C-8C6C-4D3B86D6CB1F}"/>
          </ac:picMkLst>
        </pc:picChg>
        <pc:picChg chg="mod">
          <ac:chgData name="EVELYNSM.YONG" userId="S::evelynsm.yong_gmail.com#ext#@risebcg.onmicrosoft.com::67a27a72-2420-4d38-b745-316a53f4b99a" providerId="AD" clId="Web-{F7F9ED99-F543-40A2-8A6C-8021AD617F06}" dt="2022-01-11T02:59:08.768" v="284" actId="1076"/>
          <ac:picMkLst>
            <pc:docMk/>
            <pc:sldMk cId="1431775713" sldId="384"/>
            <ac:picMk id="4" creationId="{17E32B17-67B8-4A5B-A3FF-B2170E712477}"/>
          </ac:picMkLst>
        </pc:picChg>
        <pc:picChg chg="add">
          <ac:chgData name="EVELYNSM.YONG" userId="S::evelynsm.yong_gmail.com#ext#@risebcg.onmicrosoft.com::67a27a72-2420-4d38-b745-316a53f4b99a" providerId="AD" clId="Web-{F7F9ED99-F543-40A2-8A6C-8021AD617F06}" dt="2022-01-11T02:59:02.737" v="282"/>
          <ac:picMkLst>
            <pc:docMk/>
            <pc:sldMk cId="1431775713" sldId="384"/>
            <ac:picMk id="8" creationId="{DCF575F8-450B-40AB-B359-4D89A75FB07C}"/>
          </ac:picMkLst>
        </pc:picChg>
      </pc:sldChg>
      <pc:sldChg chg="addSp delSp modSp add del ord replId">
        <pc:chgData name="EVELYNSM.YONG" userId="S::evelynsm.yong_gmail.com#ext#@risebcg.onmicrosoft.com::67a27a72-2420-4d38-b745-316a53f4b99a" providerId="AD" clId="Web-{F7F9ED99-F543-40A2-8A6C-8021AD617F06}" dt="2022-01-11T03:03:41.024" v="361"/>
        <pc:sldMkLst>
          <pc:docMk/>
          <pc:sldMk cId="1985630996" sldId="385"/>
        </pc:sldMkLst>
        <pc:spChg chg="add">
          <ac:chgData name="EVELYNSM.YONG" userId="S::evelynsm.yong_gmail.com#ext#@risebcg.onmicrosoft.com::67a27a72-2420-4d38-b745-316a53f4b99a" providerId="AD" clId="Web-{F7F9ED99-F543-40A2-8A6C-8021AD617F06}" dt="2022-01-11T03:03:34.695" v="360"/>
          <ac:spMkLst>
            <pc:docMk/>
            <pc:sldMk cId="1985630996" sldId="385"/>
            <ac:spMk id="9" creationId="{3FD67567-AC4E-4BE1-9524-1C4E43795904}"/>
          </ac:spMkLst>
        </pc:spChg>
        <pc:spChg chg="mod">
          <ac:chgData name="EVELYNSM.YONG" userId="S::evelynsm.yong_gmail.com#ext#@risebcg.onmicrosoft.com::67a27a72-2420-4d38-b745-316a53f4b99a" providerId="AD" clId="Web-{F7F9ED99-F543-40A2-8A6C-8021AD617F06}" dt="2022-01-11T02:45:25.861" v="47" actId="1076"/>
          <ac:spMkLst>
            <pc:docMk/>
            <pc:sldMk cId="1985630996" sldId="385"/>
            <ac:spMk id="15" creationId="{1F2C1FDF-EED7-4160-A26E-17CDC484D1F4}"/>
          </ac:spMkLst>
        </pc:spChg>
        <pc:spChg chg="mod">
          <ac:chgData name="EVELYNSM.YONG" userId="S::evelynsm.yong_gmail.com#ext#@risebcg.onmicrosoft.com::67a27a72-2420-4d38-b745-316a53f4b99a" providerId="AD" clId="Web-{F7F9ED99-F543-40A2-8A6C-8021AD617F06}" dt="2022-01-11T02:45:32.377" v="48" actId="1076"/>
          <ac:spMkLst>
            <pc:docMk/>
            <pc:sldMk cId="1985630996" sldId="385"/>
            <ac:spMk id="16" creationId="{61F108A6-436D-4F03-92A9-5601D56E72A0}"/>
          </ac:spMkLst>
        </pc:spChg>
        <pc:picChg chg="del">
          <ac:chgData name="EVELYNSM.YONG" userId="S::evelynsm.yong_gmail.com#ext#@risebcg.onmicrosoft.com::67a27a72-2420-4d38-b745-316a53f4b99a" providerId="AD" clId="Web-{F7F9ED99-F543-40A2-8A6C-8021AD617F06}" dt="2022-01-11T02:45:22.549" v="46"/>
          <ac:picMkLst>
            <pc:docMk/>
            <pc:sldMk cId="1985630996" sldId="385"/>
            <ac:picMk id="6" creationId="{7B905E0D-985A-447D-B4B6-DCCB0FA62F2A}"/>
          </ac:picMkLst>
        </pc:picChg>
      </pc:sldChg>
      <pc:sldChg chg="addSp modSp">
        <pc:chgData name="EVELYNSM.YONG" userId="S::evelynsm.yong_gmail.com#ext#@risebcg.onmicrosoft.com::67a27a72-2420-4d38-b745-316a53f4b99a" providerId="AD" clId="Web-{F7F9ED99-F543-40A2-8A6C-8021AD617F06}" dt="2022-01-11T03:07:40.841" v="428"/>
        <pc:sldMkLst>
          <pc:docMk/>
          <pc:sldMk cId="1042430735" sldId="386"/>
        </pc:sldMkLst>
        <pc:spChg chg="mod">
          <ac:chgData name="EVELYNSM.YONG" userId="S::evelynsm.yong_gmail.com#ext#@risebcg.onmicrosoft.com::67a27a72-2420-4d38-b745-316a53f4b99a" providerId="AD" clId="Web-{F7F9ED99-F543-40A2-8A6C-8021AD617F06}" dt="2022-01-11T03:07:29.700" v="424"/>
          <ac:spMkLst>
            <pc:docMk/>
            <pc:sldMk cId="1042430735" sldId="386"/>
            <ac:spMk id="2" creationId="{1CAEE4F4-60D4-46CA-A79F-1CD22235EEA0}"/>
          </ac:spMkLst>
        </pc:spChg>
        <pc:spChg chg="add">
          <ac:chgData name="EVELYNSM.YONG" userId="S::evelynsm.yong_gmail.com#ext#@risebcg.onmicrosoft.com::67a27a72-2420-4d38-b745-316a53f4b99a" providerId="AD" clId="Web-{F7F9ED99-F543-40A2-8A6C-8021AD617F06}" dt="2022-01-11T03:07:34.091" v="425"/>
          <ac:spMkLst>
            <pc:docMk/>
            <pc:sldMk cId="1042430735" sldId="386"/>
            <ac:spMk id="5" creationId="{A1E26808-A725-4784-8277-2918659CAA65}"/>
          </ac:spMkLst>
        </pc:spChg>
        <pc:spChg chg="mod">
          <ac:chgData name="EVELYNSM.YONG" userId="S::evelynsm.yong_gmail.com#ext#@risebcg.onmicrosoft.com::67a27a72-2420-4d38-b745-316a53f4b99a" providerId="AD" clId="Web-{F7F9ED99-F543-40A2-8A6C-8021AD617F06}" dt="2022-01-11T03:07:40.841" v="428"/>
          <ac:spMkLst>
            <pc:docMk/>
            <pc:sldMk cId="1042430735" sldId="386"/>
            <ac:spMk id="6" creationId="{1C835B3A-380E-4994-B53F-7959A6AC8E61}"/>
          </ac:spMkLst>
        </pc:spChg>
        <pc:graphicFrameChg chg="mod">
          <ac:chgData name="EVELYNSM.YONG" userId="S::evelynsm.yong_gmail.com#ext#@risebcg.onmicrosoft.com::67a27a72-2420-4d38-b745-316a53f4b99a" providerId="AD" clId="Web-{F7F9ED99-F543-40A2-8A6C-8021AD617F06}" dt="2022-01-11T03:02:13.163" v="341" actId="1076"/>
          <ac:graphicFrameMkLst>
            <pc:docMk/>
            <pc:sldMk cId="1042430735" sldId="386"/>
            <ac:graphicFrameMk id="8" creationId="{BD3CD10A-81F4-4A69-8AAA-07E4E7005A3F}"/>
          </ac:graphicFrameMkLst>
        </pc:graphicFrameChg>
        <pc:picChg chg="mod">
          <ac:chgData name="EVELYNSM.YONG" userId="S::evelynsm.yong_gmail.com#ext#@risebcg.onmicrosoft.com::67a27a72-2420-4d38-b745-316a53f4b99a" providerId="AD" clId="Web-{F7F9ED99-F543-40A2-8A6C-8021AD617F06}" dt="2022-01-11T03:02:27.085" v="343" actId="1076"/>
          <ac:picMkLst>
            <pc:docMk/>
            <pc:sldMk cId="1042430735" sldId="386"/>
            <ac:picMk id="4" creationId="{46E58862-E3FD-4841-8757-18ED8AB46909}"/>
          </ac:picMkLst>
        </pc:picChg>
        <pc:picChg chg="add">
          <ac:chgData name="EVELYNSM.YONG" userId="S::evelynsm.yong_gmail.com#ext#@risebcg.onmicrosoft.com::67a27a72-2420-4d38-b745-316a53f4b99a" providerId="AD" clId="Web-{F7F9ED99-F543-40A2-8A6C-8021AD617F06}" dt="2022-01-11T03:07:34.122" v="426"/>
          <ac:picMkLst>
            <pc:docMk/>
            <pc:sldMk cId="1042430735" sldId="386"/>
            <ac:picMk id="10" creationId="{F0E86C43-04BE-4069-8197-3FA5A1E6284A}"/>
          </ac:picMkLst>
        </pc:picChg>
      </pc:sldChg>
      <pc:sldChg chg="addSp delSp modSp add ord replId">
        <pc:chgData name="EVELYNSM.YONG" userId="S::evelynsm.yong_gmail.com#ext#@risebcg.onmicrosoft.com::67a27a72-2420-4d38-b745-316a53f4b99a" providerId="AD" clId="Web-{F7F9ED99-F543-40A2-8A6C-8021AD617F06}" dt="2022-01-11T03:29:42.758" v="970" actId="20577"/>
        <pc:sldMkLst>
          <pc:docMk/>
          <pc:sldMk cId="996698021" sldId="387"/>
        </pc:sldMkLst>
        <pc:spChg chg="mod">
          <ac:chgData name="EVELYNSM.YONG" userId="S::evelynsm.yong_gmail.com#ext#@risebcg.onmicrosoft.com::67a27a72-2420-4d38-b745-316a53f4b99a" providerId="AD" clId="Web-{F7F9ED99-F543-40A2-8A6C-8021AD617F06}" dt="2022-01-11T03:29:42.758" v="970" actId="20577"/>
          <ac:spMkLst>
            <pc:docMk/>
            <pc:sldMk cId="996698021" sldId="387"/>
            <ac:spMk id="2" creationId="{D2AC414D-C8F9-4E07-9D41-5AAD3600E4CA}"/>
          </ac:spMkLst>
        </pc:spChg>
        <pc:spChg chg="add del mod">
          <ac:chgData name="EVELYNSM.YONG" userId="S::evelynsm.yong_gmail.com#ext#@risebcg.onmicrosoft.com::67a27a72-2420-4d38-b745-316a53f4b99a" providerId="AD" clId="Web-{F7F9ED99-F543-40A2-8A6C-8021AD617F06}" dt="2022-01-11T03:21:38.889" v="755"/>
          <ac:spMkLst>
            <pc:docMk/>
            <pc:sldMk cId="996698021" sldId="387"/>
            <ac:spMk id="3" creationId="{F83BFE92-ABF9-44FB-B9AB-8A1534E1B073}"/>
          </ac:spMkLst>
        </pc:spChg>
        <pc:grpChg chg="del">
          <ac:chgData name="EVELYNSM.YONG" userId="S::evelynsm.yong_gmail.com#ext#@risebcg.onmicrosoft.com::67a27a72-2420-4d38-b745-316a53f4b99a" providerId="AD" clId="Web-{F7F9ED99-F543-40A2-8A6C-8021AD617F06}" dt="2022-01-11T03:21:34.389" v="752"/>
          <ac:grpSpMkLst>
            <pc:docMk/>
            <pc:sldMk cId="996698021" sldId="387"/>
            <ac:grpSpMk id="10" creationId="{258CA1F2-5352-4D56-9429-D795344C6B88}"/>
          </ac:grpSpMkLst>
        </pc:grpChg>
      </pc:sldChg>
      <pc:sldChg chg="modSp add ord replId">
        <pc:chgData name="EVELYNSM.YONG" userId="S::evelynsm.yong_gmail.com#ext#@risebcg.onmicrosoft.com::67a27a72-2420-4d38-b745-316a53f4b99a" providerId="AD" clId="Web-{F7F9ED99-F543-40A2-8A6C-8021AD617F06}" dt="2022-01-11T03:29:56.461" v="978" actId="20577"/>
        <pc:sldMkLst>
          <pc:docMk/>
          <pc:sldMk cId="694646222" sldId="388"/>
        </pc:sldMkLst>
        <pc:spChg chg="mod">
          <ac:chgData name="EVELYNSM.YONG" userId="S::evelynsm.yong_gmail.com#ext#@risebcg.onmicrosoft.com::67a27a72-2420-4d38-b745-316a53f4b99a" providerId="AD" clId="Web-{F7F9ED99-F543-40A2-8A6C-8021AD617F06}" dt="2022-01-11T03:29:56.461" v="978" actId="20577"/>
          <ac:spMkLst>
            <pc:docMk/>
            <pc:sldMk cId="694646222" sldId="388"/>
            <ac:spMk id="2" creationId="{D2AC414D-C8F9-4E07-9D41-5AAD3600E4CA}"/>
          </ac:spMkLst>
        </pc:spChg>
      </pc:sldChg>
      <pc:sldChg chg="modSp add del replId">
        <pc:chgData name="EVELYNSM.YONG" userId="S::evelynsm.yong_gmail.com#ext#@risebcg.onmicrosoft.com::67a27a72-2420-4d38-b745-316a53f4b99a" providerId="AD" clId="Web-{F7F9ED99-F543-40A2-8A6C-8021AD617F06}" dt="2022-01-11T03:29:48.133" v="971"/>
        <pc:sldMkLst>
          <pc:docMk/>
          <pc:sldMk cId="2514679713" sldId="388"/>
        </pc:sldMkLst>
        <pc:spChg chg="mod">
          <ac:chgData name="EVELYNSM.YONG" userId="S::evelynsm.yong_gmail.com#ext#@risebcg.onmicrosoft.com::67a27a72-2420-4d38-b745-316a53f4b99a" providerId="AD" clId="Web-{F7F9ED99-F543-40A2-8A6C-8021AD617F06}" dt="2022-01-11T03:22:37.015" v="781" actId="20577"/>
          <ac:spMkLst>
            <pc:docMk/>
            <pc:sldMk cId="2514679713" sldId="388"/>
            <ac:spMk id="2" creationId="{D2AC414D-C8F9-4E07-9D41-5AAD3600E4CA}"/>
          </ac:spMkLst>
        </pc:spChg>
      </pc:sldChg>
    </pc:docChg>
  </pc:docChgLst>
  <pc:docChgLst>
    <pc:chgData name="EVELYNSM.YONG" userId="S::evelynsm.yong_gmail.com#ext#@risebcg.onmicrosoft.com::67a27a72-2420-4d38-b745-316a53f4b99a" providerId="AD" clId="Web-{C2525DC1-AD49-4805-9A67-C03488954F44}"/>
    <pc:docChg chg="modSld">
      <pc:chgData name="EVELYNSM.YONG" userId="S::evelynsm.yong_gmail.com#ext#@risebcg.onmicrosoft.com::67a27a72-2420-4d38-b745-316a53f4b99a" providerId="AD" clId="Web-{C2525DC1-AD49-4805-9A67-C03488954F44}" dt="2022-01-10T12:40:30.834" v="534"/>
      <pc:docMkLst>
        <pc:docMk/>
      </pc:docMkLst>
      <pc:sldChg chg="modNotes">
        <pc:chgData name="EVELYNSM.YONG" userId="S::evelynsm.yong_gmail.com#ext#@risebcg.onmicrosoft.com::67a27a72-2420-4d38-b745-316a53f4b99a" providerId="AD" clId="Web-{C2525DC1-AD49-4805-9A67-C03488954F44}" dt="2022-01-10T11:07:27.861" v="181"/>
        <pc:sldMkLst>
          <pc:docMk/>
          <pc:sldMk cId="3391215681" sldId="339"/>
        </pc:sldMkLst>
      </pc:sldChg>
      <pc:sldChg chg="modSp modNotes">
        <pc:chgData name="EVELYNSM.YONG" userId="S::evelynsm.yong_gmail.com#ext#@risebcg.onmicrosoft.com::67a27a72-2420-4d38-b745-316a53f4b99a" providerId="AD" clId="Web-{C2525DC1-AD49-4805-9A67-C03488954F44}" dt="2022-01-10T12:40:30.834" v="534"/>
        <pc:sldMkLst>
          <pc:docMk/>
          <pc:sldMk cId="3531645893" sldId="360"/>
        </pc:sldMkLst>
        <pc:spChg chg="mod">
          <ac:chgData name="EVELYNSM.YONG" userId="S::evelynsm.yong_gmail.com#ext#@risebcg.onmicrosoft.com::67a27a72-2420-4d38-b745-316a53f4b99a" providerId="AD" clId="Web-{C2525DC1-AD49-4805-9A67-C03488954F44}" dt="2022-01-10T11:00:16.228" v="37"/>
          <ac:spMkLst>
            <pc:docMk/>
            <pc:sldMk cId="3531645893" sldId="360"/>
            <ac:spMk id="3" creationId="{FC2A26BC-6E3B-4E2F-9C36-577BA7E9132E}"/>
          </ac:spMkLst>
        </pc:spChg>
        <pc:spChg chg="mod">
          <ac:chgData name="EVELYNSM.YONG" userId="S::evelynsm.yong_gmail.com#ext#@risebcg.onmicrosoft.com::67a27a72-2420-4d38-b745-316a53f4b99a" providerId="AD" clId="Web-{C2525DC1-AD49-4805-9A67-C03488954F44}" dt="2022-01-10T11:02:04.328" v="45"/>
          <ac:spMkLst>
            <pc:docMk/>
            <pc:sldMk cId="3531645893" sldId="360"/>
            <ac:spMk id="5" creationId="{1999C9A4-8C8B-43CC-B77D-B8C58575D4DE}"/>
          </ac:spMkLst>
        </pc:spChg>
        <pc:spChg chg="mod">
          <ac:chgData name="EVELYNSM.YONG" userId="S::evelynsm.yong_gmail.com#ext#@risebcg.onmicrosoft.com::67a27a72-2420-4d38-b745-316a53f4b99a" providerId="AD" clId="Web-{C2525DC1-AD49-4805-9A67-C03488954F44}" dt="2022-01-10T11:01:25.935" v="43"/>
          <ac:spMkLst>
            <pc:docMk/>
            <pc:sldMk cId="3531645893" sldId="360"/>
            <ac:spMk id="18" creationId="{83C6C493-EE06-4670-B1AB-91DD5175B793}"/>
          </ac:spMkLst>
        </pc:spChg>
        <pc:spChg chg="mod">
          <ac:chgData name="EVELYNSM.YONG" userId="S::evelynsm.yong_gmail.com#ext#@risebcg.onmicrosoft.com::67a27a72-2420-4d38-b745-316a53f4b99a" providerId="AD" clId="Web-{C2525DC1-AD49-4805-9A67-C03488954F44}" dt="2022-01-10T11:01:58.530" v="44"/>
          <ac:spMkLst>
            <pc:docMk/>
            <pc:sldMk cId="3531645893" sldId="360"/>
            <ac:spMk id="19" creationId="{950C64E7-6661-4AEA-8068-716AD3707128}"/>
          </ac:spMkLst>
        </pc:spChg>
        <pc:spChg chg="mod">
          <ac:chgData name="EVELYNSM.YONG" userId="S::evelynsm.yong_gmail.com#ext#@risebcg.onmicrosoft.com::67a27a72-2420-4d38-b745-316a53f4b99a" providerId="AD" clId="Web-{C2525DC1-AD49-4805-9A67-C03488954F44}" dt="2022-01-10T11:03:52.724" v="48" actId="1076"/>
          <ac:spMkLst>
            <pc:docMk/>
            <pc:sldMk cId="3531645893" sldId="360"/>
            <ac:spMk id="21" creationId="{3B725847-CDC2-41AB-A059-69A3E5F93F82}"/>
          </ac:spMkLst>
        </pc:spChg>
        <pc:spChg chg="mod">
          <ac:chgData name="EVELYNSM.YONG" userId="S::evelynsm.yong_gmail.com#ext#@risebcg.onmicrosoft.com::67a27a72-2420-4d38-b745-316a53f4b99a" providerId="AD" clId="Web-{C2525DC1-AD49-4805-9A67-C03488954F44}" dt="2022-01-10T11:03:52.709" v="47" actId="1076"/>
          <ac:spMkLst>
            <pc:docMk/>
            <pc:sldMk cId="3531645893" sldId="360"/>
            <ac:spMk id="24" creationId="{CEFC4E90-FB9D-4E3E-86B1-5712D705BC99}"/>
          </ac:spMkLst>
        </pc:spChg>
        <pc:spChg chg="mod">
          <ac:chgData name="EVELYNSM.YONG" userId="S::evelynsm.yong_gmail.com#ext#@risebcg.onmicrosoft.com::67a27a72-2420-4d38-b745-316a53f4b99a" providerId="AD" clId="Web-{C2525DC1-AD49-4805-9A67-C03488954F44}" dt="2022-01-10T11:00:12.274" v="36"/>
          <ac:spMkLst>
            <pc:docMk/>
            <pc:sldMk cId="3531645893" sldId="360"/>
            <ac:spMk id="27" creationId="{9C31BED3-CE5F-440A-A9B8-F5924562E1BA}"/>
          </ac:spMkLst>
        </pc:spChg>
        <pc:spChg chg="mod">
          <ac:chgData name="EVELYNSM.YONG" userId="S::evelynsm.yong_gmail.com#ext#@risebcg.onmicrosoft.com::67a27a72-2420-4d38-b745-316a53f4b99a" providerId="AD" clId="Web-{C2525DC1-AD49-4805-9A67-C03488954F44}" dt="2022-01-10T11:00:26.666" v="38" actId="14100"/>
          <ac:spMkLst>
            <pc:docMk/>
            <pc:sldMk cId="3531645893" sldId="360"/>
            <ac:spMk id="29" creationId="{C9BEC35E-523C-4554-8EBD-4475698ECF55}"/>
          </ac:spMkLst>
        </pc:spChg>
        <pc:spChg chg="mod">
          <ac:chgData name="EVELYNSM.YONG" userId="S::evelynsm.yong_gmail.com#ext#@risebcg.onmicrosoft.com::67a27a72-2420-4d38-b745-316a53f4b99a" providerId="AD" clId="Web-{C2525DC1-AD49-4805-9A67-C03488954F44}" dt="2022-01-10T11:02:28.438" v="46"/>
          <ac:spMkLst>
            <pc:docMk/>
            <pc:sldMk cId="3531645893" sldId="360"/>
            <ac:spMk id="32" creationId="{643819E7-FC5A-44D2-A6BA-F2C1071FA836}"/>
          </ac:spMkLst>
        </pc:spChg>
        <pc:spChg chg="mod">
          <ac:chgData name="EVELYNSM.YONG" userId="S::evelynsm.yong_gmail.com#ext#@risebcg.onmicrosoft.com::67a27a72-2420-4d38-b745-316a53f4b99a" providerId="AD" clId="Web-{C2525DC1-AD49-4805-9A67-C03488954F44}" dt="2022-01-10T11:01:17.309" v="41"/>
          <ac:spMkLst>
            <pc:docMk/>
            <pc:sldMk cId="3531645893" sldId="360"/>
            <ac:spMk id="33" creationId="{49617808-6BA1-41EC-8873-001A45EF30D5}"/>
          </ac:spMkLst>
        </pc:spChg>
        <pc:spChg chg="mod">
          <ac:chgData name="EVELYNSM.YONG" userId="S::evelynsm.yong_gmail.com#ext#@risebcg.onmicrosoft.com::67a27a72-2420-4d38-b745-316a53f4b99a" providerId="AD" clId="Web-{C2525DC1-AD49-4805-9A67-C03488954F44}" dt="2022-01-10T10:59:08.865" v="24"/>
          <ac:spMkLst>
            <pc:docMk/>
            <pc:sldMk cId="3531645893" sldId="360"/>
            <ac:spMk id="34" creationId="{BB464795-1EE5-4DAA-81B4-5DD73A621377}"/>
          </ac:spMkLst>
        </pc:spChg>
        <pc:spChg chg="mod">
          <ac:chgData name="EVELYNSM.YONG" userId="S::evelynsm.yong_gmail.com#ext#@risebcg.onmicrosoft.com::67a27a72-2420-4d38-b745-316a53f4b99a" providerId="AD" clId="Web-{C2525DC1-AD49-4805-9A67-C03488954F44}" dt="2022-01-10T10:59:30.663" v="28"/>
          <ac:spMkLst>
            <pc:docMk/>
            <pc:sldMk cId="3531645893" sldId="360"/>
            <ac:spMk id="35" creationId="{BEBA2DB5-D01A-45D1-B10F-CDA2A5C3CE6D}"/>
          </ac:spMkLst>
        </pc:spChg>
        <pc:spChg chg="mod">
          <ac:chgData name="EVELYNSM.YONG" userId="S::evelynsm.yong_gmail.com#ext#@risebcg.onmicrosoft.com::67a27a72-2420-4d38-b745-316a53f4b99a" providerId="AD" clId="Web-{C2525DC1-AD49-4805-9A67-C03488954F44}" dt="2022-01-10T10:59:36.272" v="30"/>
          <ac:spMkLst>
            <pc:docMk/>
            <pc:sldMk cId="3531645893" sldId="360"/>
            <ac:spMk id="36" creationId="{078A3856-3300-433F-A501-B031E92BEAC1}"/>
          </ac:spMkLst>
        </pc:spChg>
        <pc:spChg chg="mod">
          <ac:chgData name="EVELYNSM.YONG" userId="S::evelynsm.yong_gmail.com#ext#@risebcg.onmicrosoft.com::67a27a72-2420-4d38-b745-316a53f4b99a" providerId="AD" clId="Web-{C2525DC1-AD49-4805-9A67-C03488954F44}" dt="2022-01-10T10:59:33.350" v="29"/>
          <ac:spMkLst>
            <pc:docMk/>
            <pc:sldMk cId="3531645893" sldId="360"/>
            <ac:spMk id="37" creationId="{4AB50FB2-2592-4F25-B501-5E5ED17825ED}"/>
          </ac:spMkLst>
        </pc:spChg>
        <pc:spChg chg="mod">
          <ac:chgData name="EVELYNSM.YONG" userId="S::evelynsm.yong_gmail.com#ext#@risebcg.onmicrosoft.com::67a27a72-2420-4d38-b745-316a53f4b99a" providerId="AD" clId="Web-{C2525DC1-AD49-4805-9A67-C03488954F44}" dt="2022-01-10T10:59:39.304" v="31"/>
          <ac:spMkLst>
            <pc:docMk/>
            <pc:sldMk cId="3531645893" sldId="360"/>
            <ac:spMk id="38" creationId="{CB428AE9-51B3-41CB-A62A-62EA6128CCE3}"/>
          </ac:spMkLst>
        </pc:spChg>
        <pc:spChg chg="mod">
          <ac:chgData name="EVELYNSM.YONG" userId="S::evelynsm.yong_gmail.com#ext#@risebcg.onmicrosoft.com::67a27a72-2420-4d38-b745-316a53f4b99a" providerId="AD" clId="Web-{C2525DC1-AD49-4805-9A67-C03488954F44}" dt="2022-01-10T12:37:28.393" v="446" actId="14100"/>
          <ac:spMkLst>
            <pc:docMk/>
            <pc:sldMk cId="3531645893" sldId="360"/>
            <ac:spMk id="40" creationId="{ECF14FD3-8E08-4762-B1DE-BECAD18D177B}"/>
          </ac:spMkLst>
        </pc:spChg>
        <pc:cxnChg chg="mod">
          <ac:chgData name="EVELYNSM.YONG" userId="S::evelynsm.yong_gmail.com#ext#@risebcg.onmicrosoft.com::67a27a72-2420-4d38-b745-316a53f4b99a" providerId="AD" clId="Web-{C2525DC1-AD49-4805-9A67-C03488954F44}" dt="2022-01-10T10:59:58.102" v="33"/>
          <ac:cxnSpMkLst>
            <pc:docMk/>
            <pc:sldMk cId="3531645893" sldId="360"/>
            <ac:cxnSpMk id="31" creationId="{F4074082-46FF-4E13-BA1B-8AFDF7803860}"/>
          </ac:cxnSpMkLst>
        </pc:cxnChg>
        <pc:cxnChg chg="mod">
          <ac:chgData name="EVELYNSM.YONG" userId="S::evelynsm.yong_gmail.com#ext#@risebcg.onmicrosoft.com::67a27a72-2420-4d38-b745-316a53f4b99a" providerId="AD" clId="Web-{C2525DC1-AD49-4805-9A67-C03488954F44}" dt="2022-01-10T10:59:55.523" v="32"/>
          <ac:cxnSpMkLst>
            <pc:docMk/>
            <pc:sldMk cId="3531645893" sldId="360"/>
            <ac:cxnSpMk id="39" creationId="{C02C1C41-DC87-44F6-B172-862875871040}"/>
          </ac:cxnSpMkLst>
        </pc:cxnChg>
      </pc:sldChg>
      <pc:sldChg chg="modNotes">
        <pc:chgData name="EVELYNSM.YONG" userId="S::evelynsm.yong_gmail.com#ext#@risebcg.onmicrosoft.com::67a27a72-2420-4d38-b745-316a53f4b99a" providerId="AD" clId="Web-{C2525DC1-AD49-4805-9A67-C03488954F44}" dt="2022-01-10T11:04:24.664" v="69"/>
        <pc:sldMkLst>
          <pc:docMk/>
          <pc:sldMk cId="1638764710" sldId="382"/>
        </pc:sldMkLst>
      </pc:sldChg>
    </pc:docChg>
  </pc:docChgLst>
  <pc:docChgLst>
    <pc:chgData name="EVELYNSM.YONG" userId="S::evelynsm.yong_gmail.com#ext#@risebcg.onmicrosoft.com::67a27a72-2420-4d38-b745-316a53f4b99a" providerId="AD" clId="Web-{79DAD299-5250-429D-A301-8633EC0876C2}"/>
    <pc:docChg chg="modSld">
      <pc:chgData name="EVELYNSM.YONG" userId="S::evelynsm.yong_gmail.com#ext#@risebcg.onmicrosoft.com::67a27a72-2420-4d38-b745-316a53f4b99a" providerId="AD" clId="Web-{79DAD299-5250-429D-A301-8633EC0876C2}" dt="2022-01-11T16:15:22.378" v="815" actId="1076"/>
      <pc:docMkLst>
        <pc:docMk/>
      </pc:docMkLst>
      <pc:sldChg chg="addSp modSp">
        <pc:chgData name="EVELYNSM.YONG" userId="S::evelynsm.yong_gmail.com#ext#@risebcg.onmicrosoft.com::67a27a72-2420-4d38-b745-316a53f4b99a" providerId="AD" clId="Web-{79DAD299-5250-429D-A301-8633EC0876C2}" dt="2022-01-11T15:10:12.056" v="72" actId="1076"/>
        <pc:sldMkLst>
          <pc:docMk/>
          <pc:sldMk cId="2256265757" sldId="315"/>
        </pc:sldMkLst>
        <pc:spChg chg="add mod">
          <ac:chgData name="EVELYNSM.YONG" userId="S::evelynsm.yong_gmail.com#ext#@risebcg.onmicrosoft.com::67a27a72-2420-4d38-b745-316a53f4b99a" providerId="AD" clId="Web-{79DAD299-5250-429D-A301-8633EC0876C2}" dt="2022-01-11T15:10:12.056" v="72" actId="1076"/>
          <ac:spMkLst>
            <pc:docMk/>
            <pc:sldMk cId="2256265757" sldId="315"/>
            <ac:spMk id="66" creationId="{3E4A35EE-7784-4879-A684-E7C411E3406A}"/>
          </ac:spMkLst>
        </pc:spChg>
        <pc:graphicFrameChg chg="add">
          <ac:chgData name="EVELYNSM.YONG" userId="S::evelynsm.yong_gmail.com#ext#@risebcg.onmicrosoft.com::67a27a72-2420-4d38-b745-316a53f4b99a" providerId="AD" clId="Web-{79DAD299-5250-429D-A301-8633EC0876C2}" dt="2022-01-11T15:06:23.118" v="0"/>
          <ac:graphicFrameMkLst>
            <pc:docMk/>
            <pc:sldMk cId="2256265757" sldId="315"/>
            <ac:graphicFrameMk id="5" creationId="{7108A9FD-B557-4083-86FF-9C8FBDE66455}"/>
          </ac:graphicFrameMkLst>
        </pc:graphicFrameChg>
      </pc:sldChg>
      <pc:sldChg chg="delSp">
        <pc:chgData name="EVELYNSM.YONG" userId="S::evelynsm.yong_gmail.com#ext#@risebcg.onmicrosoft.com::67a27a72-2420-4d38-b745-316a53f4b99a" providerId="AD" clId="Web-{79DAD299-5250-429D-A301-8633EC0876C2}" dt="2022-01-11T15:12:55.806" v="144"/>
        <pc:sldMkLst>
          <pc:docMk/>
          <pc:sldMk cId="2316358039" sldId="325"/>
        </pc:sldMkLst>
        <pc:spChg chg="del">
          <ac:chgData name="EVELYNSM.YONG" userId="S::evelynsm.yong_gmail.com#ext#@risebcg.onmicrosoft.com::67a27a72-2420-4d38-b745-316a53f4b99a" providerId="AD" clId="Web-{79DAD299-5250-429D-A301-8633EC0876C2}" dt="2022-01-11T15:12:54.790" v="143"/>
          <ac:spMkLst>
            <pc:docMk/>
            <pc:sldMk cId="2316358039" sldId="325"/>
            <ac:spMk id="18" creationId="{4C8E7E93-D719-4D68-AF75-84A3D92DD60C}"/>
          </ac:spMkLst>
        </pc:spChg>
        <pc:picChg chg="del">
          <ac:chgData name="EVELYNSM.YONG" userId="S::evelynsm.yong_gmail.com#ext#@risebcg.onmicrosoft.com::67a27a72-2420-4d38-b745-316a53f4b99a" providerId="AD" clId="Web-{79DAD299-5250-429D-A301-8633EC0876C2}" dt="2022-01-11T15:12:55.806" v="144"/>
          <ac:picMkLst>
            <pc:docMk/>
            <pc:sldMk cId="2316358039" sldId="325"/>
            <ac:picMk id="19" creationId="{34C08A26-CA1B-4581-85D4-0D95F9633BCA}"/>
          </ac:picMkLst>
        </pc:picChg>
      </pc:sldChg>
      <pc:sldChg chg="modSp">
        <pc:chgData name="EVELYNSM.YONG" userId="S::evelynsm.yong_gmail.com#ext#@risebcg.onmicrosoft.com::67a27a72-2420-4d38-b745-316a53f4b99a" providerId="AD" clId="Web-{79DAD299-5250-429D-A301-8633EC0876C2}" dt="2022-01-11T16:02:34.158" v="735" actId="1076"/>
        <pc:sldMkLst>
          <pc:docMk/>
          <pc:sldMk cId="2160415509" sldId="326"/>
        </pc:sldMkLst>
        <pc:spChg chg="mod">
          <ac:chgData name="EVELYNSM.YONG" userId="S::evelynsm.yong_gmail.com#ext#@risebcg.onmicrosoft.com::67a27a72-2420-4d38-b745-316a53f4b99a" providerId="AD" clId="Web-{79DAD299-5250-429D-A301-8633EC0876C2}" dt="2022-01-11T16:02:34.158" v="735" actId="1076"/>
          <ac:spMkLst>
            <pc:docMk/>
            <pc:sldMk cId="2160415509" sldId="326"/>
            <ac:spMk id="4" creationId="{215644EC-E1A2-4B5F-BA53-79EB189605EC}"/>
          </ac:spMkLst>
        </pc:spChg>
        <pc:spChg chg="mod">
          <ac:chgData name="EVELYNSM.YONG" userId="S::evelynsm.yong_gmail.com#ext#@risebcg.onmicrosoft.com::67a27a72-2420-4d38-b745-316a53f4b99a" providerId="AD" clId="Web-{79DAD299-5250-429D-A301-8633EC0876C2}" dt="2022-01-11T15:08:20.196" v="30" actId="20577"/>
          <ac:spMkLst>
            <pc:docMk/>
            <pc:sldMk cId="2160415509" sldId="326"/>
            <ac:spMk id="11" creationId="{7A860165-0B15-49E4-A7ED-826D9540D919}"/>
          </ac:spMkLst>
        </pc:spChg>
      </pc:sldChg>
      <pc:sldChg chg="addSp delSp modSp">
        <pc:chgData name="EVELYNSM.YONG" userId="S::evelynsm.yong_gmail.com#ext#@risebcg.onmicrosoft.com::67a27a72-2420-4d38-b745-316a53f4b99a" providerId="AD" clId="Web-{79DAD299-5250-429D-A301-8633EC0876C2}" dt="2022-01-11T15:13:37.072" v="153" actId="1076"/>
        <pc:sldMkLst>
          <pc:docMk/>
          <pc:sldMk cId="416007632" sldId="327"/>
        </pc:sldMkLst>
        <pc:spChg chg="del mod">
          <ac:chgData name="EVELYNSM.YONG" userId="S::evelynsm.yong_gmail.com#ext#@risebcg.onmicrosoft.com::67a27a72-2420-4d38-b745-316a53f4b99a" providerId="AD" clId="Web-{79DAD299-5250-429D-A301-8633EC0876C2}" dt="2022-01-11T15:11:40.790" v="121"/>
          <ac:spMkLst>
            <pc:docMk/>
            <pc:sldMk cId="416007632" sldId="327"/>
            <ac:spMk id="6" creationId="{82356653-903F-49D7-901A-A3EB8BDF223D}"/>
          </ac:spMkLst>
        </pc:spChg>
        <pc:spChg chg="mod">
          <ac:chgData name="EVELYNSM.YONG" userId="S::evelynsm.yong_gmail.com#ext#@risebcg.onmicrosoft.com::67a27a72-2420-4d38-b745-316a53f4b99a" providerId="AD" clId="Web-{79DAD299-5250-429D-A301-8633EC0876C2}" dt="2022-01-11T15:11:39.243" v="117" actId="1076"/>
          <ac:spMkLst>
            <pc:docMk/>
            <pc:sldMk cId="416007632" sldId="327"/>
            <ac:spMk id="8" creationId="{E577B412-68A3-4185-A772-40E2096ADDCA}"/>
          </ac:spMkLst>
        </pc:spChg>
        <pc:spChg chg="mod">
          <ac:chgData name="EVELYNSM.YONG" userId="S::evelynsm.yong_gmail.com#ext#@risebcg.onmicrosoft.com::67a27a72-2420-4d38-b745-316a53f4b99a" providerId="AD" clId="Web-{79DAD299-5250-429D-A301-8633EC0876C2}" dt="2022-01-11T15:12:12.806" v="133" actId="1076"/>
          <ac:spMkLst>
            <pc:docMk/>
            <pc:sldMk cId="416007632" sldId="327"/>
            <ac:spMk id="20" creationId="{1085C789-C333-47C0-9A39-FFAFB278B841}"/>
          </ac:spMkLst>
        </pc:spChg>
        <pc:spChg chg="mod">
          <ac:chgData name="EVELYNSM.YONG" userId="S::evelynsm.yong_gmail.com#ext#@risebcg.onmicrosoft.com::67a27a72-2420-4d38-b745-316a53f4b99a" providerId="AD" clId="Web-{79DAD299-5250-429D-A301-8633EC0876C2}" dt="2022-01-11T15:12:31.790" v="139" actId="1076"/>
          <ac:spMkLst>
            <pc:docMk/>
            <pc:sldMk cId="416007632" sldId="327"/>
            <ac:spMk id="22" creationId="{E617BC09-C752-43E7-ACBA-77B43873D3F7}"/>
          </ac:spMkLst>
        </pc:spChg>
        <pc:spChg chg="mod">
          <ac:chgData name="EVELYNSM.YONG" userId="S::evelynsm.yong_gmail.com#ext#@risebcg.onmicrosoft.com::67a27a72-2420-4d38-b745-316a53f4b99a" providerId="AD" clId="Web-{79DAD299-5250-429D-A301-8633EC0876C2}" dt="2022-01-11T15:13:37.072" v="153" actId="1076"/>
          <ac:spMkLst>
            <pc:docMk/>
            <pc:sldMk cId="416007632" sldId="327"/>
            <ac:spMk id="25" creationId="{F9FE7D81-29DC-498D-91D4-543B8A261CE1}"/>
          </ac:spMkLst>
        </pc:spChg>
        <pc:spChg chg="mod">
          <ac:chgData name="EVELYNSM.YONG" userId="S::evelynsm.yong_gmail.com#ext#@risebcg.onmicrosoft.com::67a27a72-2420-4d38-b745-316a53f4b99a" providerId="AD" clId="Web-{79DAD299-5250-429D-A301-8633EC0876C2}" dt="2022-01-11T15:11:39.165" v="114" actId="1076"/>
          <ac:spMkLst>
            <pc:docMk/>
            <pc:sldMk cId="416007632" sldId="327"/>
            <ac:spMk id="32" creationId="{19924F50-9976-41A7-88C1-641F1509CEE0}"/>
          </ac:spMkLst>
        </pc:spChg>
        <pc:spChg chg="mod">
          <ac:chgData name="EVELYNSM.YONG" userId="S::evelynsm.yong_gmail.com#ext#@risebcg.onmicrosoft.com::67a27a72-2420-4d38-b745-316a53f4b99a" providerId="AD" clId="Web-{79DAD299-5250-429D-A301-8633EC0876C2}" dt="2022-01-11T15:13:32.197" v="151" actId="1076"/>
          <ac:spMkLst>
            <pc:docMk/>
            <pc:sldMk cId="416007632" sldId="327"/>
            <ac:spMk id="33" creationId="{C9B7F08E-D629-47BA-B28C-40CF22219379}"/>
          </ac:spMkLst>
        </pc:spChg>
        <pc:spChg chg="mod">
          <ac:chgData name="EVELYNSM.YONG" userId="S::evelynsm.yong_gmail.com#ext#@risebcg.onmicrosoft.com::67a27a72-2420-4d38-b745-316a53f4b99a" providerId="AD" clId="Web-{79DAD299-5250-429D-A301-8633EC0876C2}" dt="2022-01-11T15:13:30.431" v="150" actId="1076"/>
          <ac:spMkLst>
            <pc:docMk/>
            <pc:sldMk cId="416007632" sldId="327"/>
            <ac:spMk id="34" creationId="{06D19D76-F677-4AAA-AA6A-7CA4B9DAF436}"/>
          </ac:spMkLst>
        </pc:spChg>
        <pc:spChg chg="mod">
          <ac:chgData name="EVELYNSM.YONG" userId="S::evelynsm.yong_gmail.com#ext#@risebcg.onmicrosoft.com::67a27a72-2420-4d38-b745-316a53f4b99a" providerId="AD" clId="Web-{79DAD299-5250-429D-A301-8633EC0876C2}" dt="2022-01-11T15:13:28.587" v="149" actId="1076"/>
          <ac:spMkLst>
            <pc:docMk/>
            <pc:sldMk cId="416007632" sldId="327"/>
            <ac:spMk id="37" creationId="{1AA86EF9-D1F2-488E-902B-9C25FAEFDD52}"/>
          </ac:spMkLst>
        </pc:spChg>
        <pc:grpChg chg="add mod">
          <ac:chgData name="EVELYNSM.YONG" userId="S::evelynsm.yong_gmail.com#ext#@risebcg.onmicrosoft.com::67a27a72-2420-4d38-b745-316a53f4b99a" providerId="AD" clId="Web-{79DAD299-5250-429D-A301-8633EC0876C2}" dt="2022-01-11T15:12:28.603" v="137" actId="1076"/>
          <ac:grpSpMkLst>
            <pc:docMk/>
            <pc:sldMk cId="416007632" sldId="327"/>
            <ac:grpSpMk id="3" creationId="{D8298F4A-5213-4A7E-8DC6-09D01E722D62}"/>
          </ac:grpSpMkLst>
        </pc:grpChg>
        <pc:picChg chg="mod">
          <ac:chgData name="EVELYNSM.YONG" userId="S::evelynsm.yong_gmail.com#ext#@risebcg.onmicrosoft.com::67a27a72-2420-4d38-b745-316a53f4b99a" providerId="AD" clId="Web-{79DAD299-5250-429D-A301-8633EC0876C2}" dt="2022-01-11T15:11:39.212" v="116" actId="1076"/>
          <ac:picMkLst>
            <pc:docMk/>
            <pc:sldMk cId="416007632" sldId="327"/>
            <ac:picMk id="7" creationId="{52098F02-F658-4E94-9501-A14F3E2D33CE}"/>
          </ac:picMkLst>
        </pc:picChg>
        <pc:picChg chg="mod">
          <ac:chgData name="EVELYNSM.YONG" userId="S::evelynsm.yong_gmail.com#ext#@risebcg.onmicrosoft.com::67a27a72-2420-4d38-b745-316a53f4b99a" providerId="AD" clId="Web-{79DAD299-5250-429D-A301-8633EC0876C2}" dt="2022-01-11T15:13:37.056" v="152" actId="1076"/>
          <ac:picMkLst>
            <pc:docMk/>
            <pc:sldMk cId="416007632" sldId="327"/>
            <ac:picMk id="9" creationId="{A7D42D63-B632-4192-9AF9-4120DFBDAFF3}"/>
          </ac:picMkLst>
        </pc:picChg>
        <pc:picChg chg="mod">
          <ac:chgData name="EVELYNSM.YONG" userId="S::evelynsm.yong_gmail.com#ext#@risebcg.onmicrosoft.com::67a27a72-2420-4d38-b745-316a53f4b99a" providerId="AD" clId="Web-{79DAD299-5250-429D-A301-8633EC0876C2}" dt="2022-01-11T15:12:31.728" v="138"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79DAD299-5250-429D-A301-8633EC0876C2}" dt="2022-01-11T15:12:18.478" v="135" actId="1076"/>
          <ac:picMkLst>
            <pc:docMk/>
            <pc:sldMk cId="416007632" sldId="327"/>
            <ac:picMk id="23" creationId="{AEC9587C-3F93-4045-ACEB-A1A4AFB0FC11}"/>
          </ac:picMkLst>
        </pc:picChg>
        <pc:picChg chg="mod">
          <ac:chgData name="EVELYNSM.YONG" userId="S::evelynsm.yong_gmail.com#ext#@risebcg.onmicrosoft.com::67a27a72-2420-4d38-b745-316a53f4b99a" providerId="AD" clId="Web-{79DAD299-5250-429D-A301-8633EC0876C2}" dt="2022-01-11T15:11:39.009" v="109" actId="1076"/>
          <ac:picMkLst>
            <pc:docMk/>
            <pc:sldMk cId="416007632" sldId="327"/>
            <ac:picMk id="29" creationId="{4F6899D5-3109-4938-82DA-041DEA46D7EF}"/>
          </ac:picMkLst>
        </pc:picChg>
      </pc:sldChg>
      <pc:sldChg chg="addSp delSp modSp modNotes">
        <pc:chgData name="EVELYNSM.YONG" userId="S::evelynsm.yong_gmail.com#ext#@risebcg.onmicrosoft.com::67a27a72-2420-4d38-b745-316a53f4b99a" providerId="AD" clId="Web-{79DAD299-5250-429D-A301-8633EC0876C2}" dt="2022-01-11T16:15:22.378" v="815" actId="1076"/>
        <pc:sldMkLst>
          <pc:docMk/>
          <pc:sldMk cId="3391215681" sldId="339"/>
        </pc:sldMkLst>
        <pc:spChg chg="del mod topLvl">
          <ac:chgData name="EVELYNSM.YONG" userId="S::evelynsm.yong_gmail.com#ext#@risebcg.onmicrosoft.com::67a27a72-2420-4d38-b745-316a53f4b99a" providerId="AD" clId="Web-{79DAD299-5250-429D-A301-8633EC0876C2}" dt="2022-01-11T15:16:59.354" v="196"/>
          <ac:spMkLst>
            <pc:docMk/>
            <pc:sldMk cId="3391215681" sldId="339"/>
            <ac:spMk id="47" creationId="{B72F6C48-B470-4163-9AC9-2982A10656DA}"/>
          </ac:spMkLst>
        </pc:spChg>
        <pc:spChg chg="mod topLvl">
          <ac:chgData name="EVELYNSM.YONG" userId="S::evelynsm.yong_gmail.com#ext#@risebcg.onmicrosoft.com::67a27a72-2420-4d38-b745-316a53f4b99a" providerId="AD" clId="Web-{79DAD299-5250-429D-A301-8633EC0876C2}" dt="2022-01-11T15:21:24.307" v="311" actId="1076"/>
          <ac:spMkLst>
            <pc:docMk/>
            <pc:sldMk cId="3391215681" sldId="339"/>
            <ac:spMk id="49" creationId="{1A40ECD8-EC71-4C0D-A629-C5042C9FBE1B}"/>
          </ac:spMkLst>
        </pc:spChg>
        <pc:spChg chg="mod topLvl">
          <ac:chgData name="EVELYNSM.YONG" userId="S::evelynsm.yong_gmail.com#ext#@risebcg.onmicrosoft.com::67a27a72-2420-4d38-b745-316a53f4b99a" providerId="AD" clId="Web-{79DAD299-5250-429D-A301-8633EC0876C2}" dt="2022-01-11T15:21:26.901" v="312" actId="1076"/>
          <ac:spMkLst>
            <pc:docMk/>
            <pc:sldMk cId="3391215681" sldId="339"/>
            <ac:spMk id="124" creationId="{C91A31F3-23FB-421F-8BC0-FD3F5F868D91}"/>
          </ac:spMkLst>
        </pc:spChg>
        <pc:grpChg chg="del topLvl">
          <ac:chgData name="EVELYNSM.YONG" userId="S::evelynsm.yong_gmail.com#ext#@risebcg.onmicrosoft.com::67a27a72-2420-4d38-b745-316a53f4b99a" providerId="AD" clId="Web-{79DAD299-5250-429D-A301-8633EC0876C2}" dt="2022-01-11T15:16:48.385" v="193"/>
          <ac:grpSpMkLst>
            <pc:docMk/>
            <pc:sldMk cId="3391215681" sldId="339"/>
            <ac:grpSpMk id="45" creationId="{8DAC9C6C-086A-4E16-A310-6100E5979C46}"/>
          </ac:grpSpMkLst>
        </pc:grpChg>
        <pc:grpChg chg="del mod">
          <ac:chgData name="EVELYNSM.YONG" userId="S::evelynsm.yong_gmail.com#ext#@risebcg.onmicrosoft.com::67a27a72-2420-4d38-b745-316a53f4b99a" providerId="AD" clId="Web-{79DAD299-5250-429D-A301-8633EC0876C2}" dt="2022-01-11T15:16:07.557" v="169"/>
          <ac:grpSpMkLst>
            <pc:docMk/>
            <pc:sldMk cId="3391215681" sldId="339"/>
            <ac:grpSpMk id="70" creationId="{1C6C7C9E-B94C-40CE-A89F-A87214022882}"/>
          </ac:grpSpMkLst>
        </pc:grpChg>
        <pc:grpChg chg="del mod topLvl">
          <ac:chgData name="EVELYNSM.YONG" userId="S::evelynsm.yong_gmail.com#ext#@risebcg.onmicrosoft.com::67a27a72-2420-4d38-b745-316a53f4b99a" providerId="AD" clId="Web-{79DAD299-5250-429D-A301-8633EC0876C2}" dt="2022-01-11T15:54:38.172" v="703"/>
          <ac:grpSpMkLst>
            <pc:docMk/>
            <pc:sldMk cId="3391215681" sldId="339"/>
            <ac:grpSpMk id="417" creationId="{3422634B-E74A-464E-8891-948490F63923}"/>
          </ac:grpSpMkLst>
        </pc:grpChg>
        <pc:grpChg chg="add mod">
          <ac:chgData name="EVELYNSM.YONG" userId="S::evelynsm.yong_gmail.com#ext#@risebcg.onmicrosoft.com::67a27a72-2420-4d38-b745-316a53f4b99a" providerId="AD" clId="Web-{79DAD299-5250-429D-A301-8633EC0876C2}" dt="2022-01-11T16:03:26.908" v="739" actId="1076"/>
          <ac:grpSpMkLst>
            <pc:docMk/>
            <pc:sldMk cId="3391215681" sldId="339"/>
            <ac:grpSpMk id="15152" creationId="{920701E5-CB08-4217-ACA3-DE3EB854DE24}"/>
          </ac:grpSpMkLst>
        </pc:grpChg>
        <pc:graphicFrameChg chg="mod topLvl modGraphic">
          <ac:chgData name="EVELYNSM.YONG" userId="S::evelynsm.yong_gmail.com#ext#@risebcg.onmicrosoft.com::67a27a72-2420-4d38-b745-316a53f4b99a" providerId="AD" clId="Web-{79DAD299-5250-429D-A301-8633EC0876C2}" dt="2022-01-11T16:15:17.050" v="814" actId="20577"/>
          <ac:graphicFrameMkLst>
            <pc:docMk/>
            <pc:sldMk cId="3391215681" sldId="339"/>
            <ac:graphicFrameMk id="28" creationId="{9D58B7B4-DE29-4DDF-BB8A-729D2B705659}"/>
          </ac:graphicFrameMkLst>
        </pc:graphicFrameChg>
        <pc:picChg chg="mod topLvl">
          <ac:chgData name="EVELYNSM.YONG" userId="S::evelynsm.yong_gmail.com#ext#@risebcg.onmicrosoft.com::67a27a72-2420-4d38-b745-316a53f4b99a" providerId="AD" clId="Web-{79DAD299-5250-429D-A301-8633EC0876C2}" dt="2022-01-11T15:39:22.466" v="560" actId="1076"/>
          <ac:picMkLst>
            <pc:docMk/>
            <pc:sldMk cId="3391215681" sldId="339"/>
            <ac:picMk id="107" creationId="{02601E91-3DEE-4781-ACC9-2A3154DCC85D}"/>
          </ac:picMkLst>
        </pc:picChg>
        <pc:picChg chg="mod topLvl">
          <ac:chgData name="EVELYNSM.YONG" userId="S::evelynsm.yong_gmail.com#ext#@risebcg.onmicrosoft.com::67a27a72-2420-4d38-b745-316a53f4b99a" providerId="AD" clId="Web-{79DAD299-5250-429D-A301-8633EC0876C2}" dt="2022-01-11T16:00:44.689" v="733" actId="1076"/>
          <ac:picMkLst>
            <pc:docMk/>
            <pc:sldMk cId="3391215681" sldId="339"/>
            <ac:picMk id="108" creationId="{590458A9-D7D6-4978-B569-22D281AE5CF2}"/>
          </ac:picMkLst>
        </pc:picChg>
        <pc:picChg chg="mod topLvl">
          <ac:chgData name="EVELYNSM.YONG" userId="S::evelynsm.yong_gmail.com#ext#@risebcg.onmicrosoft.com::67a27a72-2420-4d38-b745-316a53f4b99a" providerId="AD" clId="Web-{79DAD299-5250-429D-A301-8633EC0876C2}" dt="2022-01-11T16:13:52.363" v="762" actId="1076"/>
          <ac:picMkLst>
            <pc:docMk/>
            <pc:sldMk cId="3391215681" sldId="339"/>
            <ac:picMk id="127" creationId="{50C2EFDE-AE92-48A3-8F2F-DEC4BC518951}"/>
          </ac:picMkLst>
        </pc:picChg>
        <pc:picChg chg="mod topLvl">
          <ac:chgData name="EVELYNSM.YONG" userId="S::evelynsm.yong_gmail.com#ext#@risebcg.onmicrosoft.com::67a27a72-2420-4d38-b745-316a53f4b99a" providerId="AD" clId="Web-{79DAD299-5250-429D-A301-8633EC0876C2}" dt="2022-01-11T16:12:31.441" v="745" actId="14100"/>
          <ac:picMkLst>
            <pc:docMk/>
            <pc:sldMk cId="3391215681" sldId="339"/>
            <ac:picMk id="1727" creationId="{4F4925B4-226E-4CE5-9A48-DF473BE5B5F7}"/>
          </ac:picMkLst>
        </pc:picChg>
        <pc:picChg chg="mod">
          <ac:chgData name="EVELYNSM.YONG" userId="S::evelynsm.yong_gmail.com#ext#@risebcg.onmicrosoft.com::67a27a72-2420-4d38-b745-316a53f4b99a" providerId="AD" clId="Web-{79DAD299-5250-429D-A301-8633EC0876C2}" dt="2022-01-11T15:15:34.416" v="163" actId="14100"/>
          <ac:picMkLst>
            <pc:docMk/>
            <pc:sldMk cId="3391215681" sldId="339"/>
            <ac:picMk id="3133" creationId="{01E138E9-826C-4F51-97A8-242CE7FFD6DC}"/>
          </ac:picMkLst>
        </pc:picChg>
        <pc:picChg chg="mod topLvl">
          <ac:chgData name="EVELYNSM.YONG" userId="S::evelynsm.yong_gmail.com#ext#@risebcg.onmicrosoft.com::67a27a72-2420-4d38-b745-316a53f4b99a" providerId="AD" clId="Web-{79DAD299-5250-429D-A301-8633EC0876C2}" dt="2022-01-11T15:36:00.591" v="502" actId="1076"/>
          <ac:picMkLst>
            <pc:docMk/>
            <pc:sldMk cId="3391215681" sldId="339"/>
            <ac:picMk id="5328" creationId="{79187648-B5C6-4EDC-88C1-489201FB6DA0}"/>
          </ac:picMkLst>
        </pc:picChg>
        <pc:picChg chg="add mod">
          <ac:chgData name="EVELYNSM.YONG" userId="S::evelynsm.yong_gmail.com#ext#@risebcg.onmicrosoft.com::67a27a72-2420-4d38-b745-316a53f4b99a" providerId="AD" clId="Web-{79DAD299-5250-429D-A301-8633EC0876C2}" dt="2022-01-11T16:15:22.378" v="815" actId="1076"/>
          <ac:picMkLst>
            <pc:docMk/>
            <pc:sldMk cId="3391215681" sldId="339"/>
            <ac:picMk id="9831" creationId="{166FEF12-DB29-4B45-8A48-6A11A089403F}"/>
          </ac:picMkLst>
        </pc:picChg>
      </pc:sldChg>
      <pc:sldChg chg="delSp">
        <pc:chgData name="EVELYNSM.YONG" userId="S::evelynsm.yong_gmail.com#ext#@risebcg.onmicrosoft.com::67a27a72-2420-4d38-b745-316a53f4b99a" providerId="AD" clId="Web-{79DAD299-5250-429D-A301-8633EC0876C2}" dt="2022-01-11T15:12:58.978" v="146"/>
        <pc:sldMkLst>
          <pc:docMk/>
          <pc:sldMk cId="1894441827" sldId="358"/>
        </pc:sldMkLst>
        <pc:spChg chg="del">
          <ac:chgData name="EVELYNSM.YONG" userId="S::evelynsm.yong_gmail.com#ext#@risebcg.onmicrosoft.com::67a27a72-2420-4d38-b745-316a53f4b99a" providerId="AD" clId="Web-{79DAD299-5250-429D-A301-8633EC0876C2}" dt="2022-01-11T15:12:58.212" v="145"/>
          <ac:spMkLst>
            <pc:docMk/>
            <pc:sldMk cId="1894441827" sldId="358"/>
            <ac:spMk id="18" creationId="{4C8E7E93-D719-4D68-AF75-84A3D92DD60C}"/>
          </ac:spMkLst>
        </pc:spChg>
        <pc:picChg chg="del">
          <ac:chgData name="EVELYNSM.YONG" userId="S::evelynsm.yong_gmail.com#ext#@risebcg.onmicrosoft.com::67a27a72-2420-4d38-b745-316a53f4b99a" providerId="AD" clId="Web-{79DAD299-5250-429D-A301-8633EC0876C2}" dt="2022-01-11T15:12:58.978" v="146"/>
          <ac:picMkLst>
            <pc:docMk/>
            <pc:sldMk cId="1894441827" sldId="358"/>
            <ac:picMk id="19" creationId="{34C08A26-CA1B-4581-85D4-0D95F9633BCA}"/>
          </ac:picMkLst>
        </pc:picChg>
      </pc:sldChg>
      <pc:sldChg chg="modSp">
        <pc:chgData name="EVELYNSM.YONG" userId="S::evelynsm.yong_gmail.com#ext#@risebcg.onmicrosoft.com::67a27a72-2420-4d38-b745-316a53f4b99a" providerId="AD" clId="Web-{79DAD299-5250-429D-A301-8633EC0876C2}" dt="2022-01-11T15:12:48.431" v="142" actId="20577"/>
        <pc:sldMkLst>
          <pc:docMk/>
          <pc:sldMk cId="2249197500" sldId="375"/>
        </pc:sldMkLst>
        <pc:spChg chg="mod">
          <ac:chgData name="EVELYNSM.YONG" userId="S::evelynsm.yong_gmail.com#ext#@risebcg.onmicrosoft.com::67a27a72-2420-4d38-b745-316a53f4b99a" providerId="AD" clId="Web-{79DAD299-5250-429D-A301-8633EC0876C2}" dt="2022-01-11T15:12:48.431" v="142" actId="20577"/>
          <ac:spMkLst>
            <pc:docMk/>
            <pc:sldMk cId="2249197500" sldId="375"/>
            <ac:spMk id="2" creationId="{D2AC414D-C8F9-4E07-9D41-5AAD3600E4CA}"/>
          </ac:spMkLst>
        </pc:spChg>
      </pc:sldChg>
      <pc:sldChg chg="modSp">
        <pc:chgData name="EVELYNSM.YONG" userId="S::evelynsm.yong_gmail.com#ext#@risebcg.onmicrosoft.com::67a27a72-2420-4d38-b745-316a53f4b99a" providerId="AD" clId="Web-{79DAD299-5250-429D-A301-8633EC0876C2}" dt="2022-01-11T15:13:21.306" v="148" actId="1076"/>
        <pc:sldMkLst>
          <pc:docMk/>
          <pc:sldMk cId="3505188540" sldId="377"/>
        </pc:sldMkLst>
        <pc:spChg chg="mod">
          <ac:chgData name="EVELYNSM.YONG" userId="S::evelynsm.yong_gmail.com#ext#@risebcg.onmicrosoft.com::67a27a72-2420-4d38-b745-316a53f4b99a" providerId="AD" clId="Web-{79DAD299-5250-429D-A301-8633EC0876C2}" dt="2022-01-11T15:13:15.791" v="147" actId="20577"/>
          <ac:spMkLst>
            <pc:docMk/>
            <pc:sldMk cId="3505188540" sldId="377"/>
            <ac:spMk id="2" creationId="{D2AC414D-C8F9-4E07-9D41-5AAD3600E4CA}"/>
          </ac:spMkLst>
        </pc:spChg>
        <pc:grpChg chg="mod">
          <ac:chgData name="EVELYNSM.YONG" userId="S::evelynsm.yong_gmail.com#ext#@risebcg.onmicrosoft.com::67a27a72-2420-4d38-b745-316a53f4b99a" providerId="AD" clId="Web-{79DAD299-5250-429D-A301-8633EC0876C2}" dt="2022-01-11T15:13:21.306" v="148" actId="1076"/>
          <ac:grpSpMkLst>
            <pc:docMk/>
            <pc:sldMk cId="3505188540" sldId="377"/>
            <ac:grpSpMk id="10" creationId="{258CA1F2-5352-4D56-9429-D795344C6B88}"/>
          </ac:grpSpMkLst>
        </pc:grpChg>
      </pc:sldChg>
      <pc:sldChg chg="addSp delSp modSp modNotes">
        <pc:chgData name="EVELYNSM.YONG" userId="S::evelynsm.yong_gmail.com#ext#@risebcg.onmicrosoft.com::67a27a72-2420-4d38-b745-316a53f4b99a" providerId="AD" clId="Web-{79DAD299-5250-429D-A301-8633EC0876C2}" dt="2022-01-11T15:57:27.954" v="731" actId="14100"/>
        <pc:sldMkLst>
          <pc:docMk/>
          <pc:sldMk cId="59737257" sldId="391"/>
        </pc:sldMkLst>
        <pc:spChg chg="mod topLvl">
          <ac:chgData name="EVELYNSM.YONG" userId="S::evelynsm.yong_gmail.com#ext#@risebcg.onmicrosoft.com::67a27a72-2420-4d38-b745-316a53f4b99a" providerId="AD" clId="Web-{79DAD299-5250-429D-A301-8633EC0876C2}" dt="2022-01-11T15:57:27.954" v="731" actId="14100"/>
          <ac:spMkLst>
            <pc:docMk/>
            <pc:sldMk cId="59737257" sldId="391"/>
            <ac:spMk id="160" creationId="{129EBF9C-3DCE-40EC-8CFB-1CB201B252BE}"/>
          </ac:spMkLst>
        </pc:spChg>
        <pc:spChg chg="mod topLvl">
          <ac:chgData name="EVELYNSM.YONG" userId="S::evelynsm.yong_gmail.com#ext#@risebcg.onmicrosoft.com::67a27a72-2420-4d38-b745-316a53f4b99a" providerId="AD" clId="Web-{79DAD299-5250-429D-A301-8633EC0876C2}" dt="2022-01-11T15:55:35.891" v="715" actId="1076"/>
          <ac:spMkLst>
            <pc:docMk/>
            <pc:sldMk cId="59737257" sldId="391"/>
            <ac:spMk id="211" creationId="{BE8EF75F-4A8F-4CC0-B3A0-4689491D690B}"/>
          </ac:spMkLst>
        </pc:spChg>
        <pc:spChg chg="mod topLvl">
          <ac:chgData name="EVELYNSM.YONG" userId="S::evelynsm.yong_gmail.com#ext#@risebcg.onmicrosoft.com::67a27a72-2420-4d38-b745-316a53f4b99a" providerId="AD" clId="Web-{79DAD299-5250-429D-A301-8633EC0876C2}" dt="2022-01-11T15:55:36.250" v="716" actId="1076"/>
          <ac:spMkLst>
            <pc:docMk/>
            <pc:sldMk cId="59737257" sldId="391"/>
            <ac:spMk id="3097" creationId="{B43BCD4D-C119-4545-A18A-03EFECDDCAC1}"/>
          </ac:spMkLst>
        </pc:spChg>
        <pc:grpChg chg="add del">
          <ac:chgData name="EVELYNSM.YONG" userId="S::evelynsm.yong_gmail.com#ext#@risebcg.onmicrosoft.com::67a27a72-2420-4d38-b745-316a53f4b99a" providerId="AD" clId="Web-{79DAD299-5250-429D-A301-8633EC0876C2}" dt="2022-01-11T15:15:09.791" v="159"/>
          <ac:grpSpMkLst>
            <pc:docMk/>
            <pc:sldMk cId="59737257" sldId="391"/>
            <ac:grpSpMk id="159" creationId="{6CF11143-2C2D-41F3-A344-0766ACFE591C}"/>
          </ac:grpSpMkLst>
        </pc:grpChg>
      </pc:sldChg>
    </pc:docChg>
  </pc:docChgLst>
  <pc:docChgLst>
    <pc:chgData name="wei yuan" userId="S::pwy_92_hotmail.com#ext#@risebcg.onmicrosoft.com::ca38e7f8-9ace-4d94-b37a-86e65e91f2b0" providerId="AD" clId="Web-{ED715E7B-4604-42E7-9143-8C9AAFEFEE22}"/>
    <pc:docChg chg="addSld modSld">
      <pc:chgData name="wei yuan" userId="S::pwy_92_hotmail.com#ext#@risebcg.onmicrosoft.com::ca38e7f8-9ace-4d94-b37a-86e65e91f2b0" providerId="AD" clId="Web-{ED715E7B-4604-42E7-9143-8C9AAFEFEE22}" dt="2022-01-08T16:25:18.505" v="980" actId="1076"/>
      <pc:docMkLst>
        <pc:docMk/>
      </pc:docMkLst>
      <pc:sldChg chg="addSp delSp modSp">
        <pc:chgData name="wei yuan" userId="S::pwy_92_hotmail.com#ext#@risebcg.onmicrosoft.com::ca38e7f8-9ace-4d94-b37a-86e65e91f2b0" providerId="AD" clId="Web-{ED715E7B-4604-42E7-9143-8C9AAFEFEE22}" dt="2022-01-08T16:09:02.745" v="394" actId="20577"/>
        <pc:sldMkLst>
          <pc:docMk/>
          <pc:sldMk cId="2761597836" sldId="317"/>
        </pc:sldMkLst>
        <pc:spChg chg="mod">
          <ac:chgData name="wei yuan" userId="S::pwy_92_hotmail.com#ext#@risebcg.onmicrosoft.com::ca38e7f8-9ace-4d94-b37a-86e65e91f2b0" providerId="AD" clId="Web-{ED715E7B-4604-42E7-9143-8C9AAFEFEE22}" dt="2022-01-08T15:44:53.969" v="22" actId="20577"/>
          <ac:spMkLst>
            <pc:docMk/>
            <pc:sldMk cId="2761597836" sldId="317"/>
            <ac:spMk id="2" creationId="{1CAEE4F4-60D4-46CA-A79F-1CD22235EEA0}"/>
          </ac:spMkLst>
        </pc:spChg>
        <pc:spChg chg="mod">
          <ac:chgData name="wei yuan" userId="S::pwy_92_hotmail.com#ext#@risebcg.onmicrosoft.com::ca38e7f8-9ace-4d94-b37a-86e65e91f2b0" providerId="AD" clId="Web-{ED715E7B-4604-42E7-9143-8C9AAFEFEE22}" dt="2022-01-08T16:09:02.745" v="394" actId="20577"/>
          <ac:spMkLst>
            <pc:docMk/>
            <pc:sldMk cId="2761597836" sldId="317"/>
            <ac:spMk id="3" creationId="{3AAD55FA-63B7-4DBA-8DC0-293DEF7C309C}"/>
          </ac:spMkLst>
        </pc:spChg>
        <pc:spChg chg="add del">
          <ac:chgData name="wei yuan" userId="S::pwy_92_hotmail.com#ext#@risebcg.onmicrosoft.com::ca38e7f8-9ace-4d94-b37a-86e65e91f2b0" providerId="AD" clId="Web-{ED715E7B-4604-42E7-9143-8C9AAFEFEE22}" dt="2022-01-08T15:45:22.001" v="31"/>
          <ac:spMkLst>
            <pc:docMk/>
            <pc:sldMk cId="2761597836" sldId="317"/>
            <ac:spMk id="5" creationId="{A97CD14E-FC1B-4135-BD75-FBF0761B33E1}"/>
          </ac:spMkLst>
        </pc:spChg>
        <pc:picChg chg="add mod">
          <ac:chgData name="wei yuan" userId="S::pwy_92_hotmail.com#ext#@risebcg.onmicrosoft.com::ca38e7f8-9ace-4d94-b37a-86e65e91f2b0" providerId="AD" clId="Web-{ED715E7B-4604-42E7-9143-8C9AAFEFEE22}" dt="2022-01-08T15:50:34.371" v="202" actId="1076"/>
          <ac:picMkLst>
            <pc:docMk/>
            <pc:sldMk cId="2761597836" sldId="317"/>
            <ac:picMk id="4" creationId="{B052766A-13D1-4657-87F7-23139C8B3360}"/>
          </ac:picMkLst>
        </pc:picChg>
        <pc:picChg chg="add mod">
          <ac:chgData name="wei yuan" userId="S::pwy_92_hotmail.com#ext#@risebcg.onmicrosoft.com::ca38e7f8-9ace-4d94-b37a-86e65e91f2b0" providerId="AD" clId="Web-{ED715E7B-4604-42E7-9143-8C9AAFEFEE22}" dt="2022-01-08T16:06:09.178" v="224" actId="1076"/>
          <ac:picMkLst>
            <pc:docMk/>
            <pc:sldMk cId="2761597836" sldId="317"/>
            <ac:picMk id="6" creationId="{7CB028D9-5E81-4D63-A1E2-97D2DBFCDC09}"/>
          </ac:picMkLst>
        </pc:picChg>
      </pc:sldChg>
      <pc:sldChg chg="modSp">
        <pc:chgData name="wei yuan" userId="S::pwy_92_hotmail.com#ext#@risebcg.onmicrosoft.com::ca38e7f8-9ace-4d94-b37a-86e65e91f2b0" providerId="AD" clId="Web-{ED715E7B-4604-42E7-9143-8C9AAFEFEE22}" dt="2022-01-08T14:40:18.732" v="14" actId="20577"/>
        <pc:sldMkLst>
          <pc:docMk/>
          <pc:sldMk cId="2316358039" sldId="325"/>
        </pc:sldMkLst>
        <pc:spChg chg="mod">
          <ac:chgData name="wei yuan" userId="S::pwy_92_hotmail.com#ext#@risebcg.onmicrosoft.com::ca38e7f8-9ace-4d94-b37a-86e65e91f2b0" providerId="AD" clId="Web-{ED715E7B-4604-42E7-9143-8C9AAFEFEE22}" dt="2022-01-08T14:40:18.732" v="14" actId="20577"/>
          <ac:spMkLst>
            <pc:docMk/>
            <pc:sldMk cId="2316358039" sldId="325"/>
            <ac:spMk id="21" creationId="{E9143E79-0358-464A-ACC6-31293226C369}"/>
          </ac:spMkLst>
        </pc:spChg>
      </pc:sldChg>
      <pc:sldChg chg="addSp delSp modSp">
        <pc:chgData name="wei yuan" userId="S::pwy_92_hotmail.com#ext#@risebcg.onmicrosoft.com::ca38e7f8-9ace-4d94-b37a-86e65e91f2b0" providerId="AD" clId="Web-{ED715E7B-4604-42E7-9143-8C9AAFEFEE22}" dt="2022-01-08T14:39:32.995" v="10" actId="1076"/>
        <pc:sldMkLst>
          <pc:docMk/>
          <pc:sldMk cId="2160415509" sldId="326"/>
        </pc:sldMkLst>
        <pc:picChg chg="del mod">
          <ac:chgData name="wei yuan" userId="S::pwy_92_hotmail.com#ext#@risebcg.onmicrosoft.com::ca38e7f8-9ace-4d94-b37a-86e65e91f2b0" providerId="AD" clId="Web-{ED715E7B-4604-42E7-9143-8C9AAFEFEE22}" dt="2022-01-08T14:39:28.479" v="7"/>
          <ac:picMkLst>
            <pc:docMk/>
            <pc:sldMk cId="2160415509" sldId="326"/>
            <ac:picMk id="5" creationId="{8D9C3E5E-0B98-4B88-BFAE-486A9BD232FA}"/>
          </ac:picMkLst>
        </pc:picChg>
        <pc:picChg chg="add mod">
          <ac:chgData name="wei yuan" userId="S::pwy_92_hotmail.com#ext#@risebcg.onmicrosoft.com::ca38e7f8-9ace-4d94-b37a-86e65e91f2b0" providerId="AD" clId="Web-{ED715E7B-4604-42E7-9143-8C9AAFEFEE22}" dt="2022-01-08T14:39:32.995" v="10" actId="1076"/>
          <ac:picMkLst>
            <pc:docMk/>
            <pc:sldMk cId="2160415509" sldId="326"/>
            <ac:picMk id="6" creationId="{BFC712DB-8FC7-4ACB-AF6D-D3D38470A4A2}"/>
          </ac:picMkLst>
        </pc:picChg>
      </pc:sldChg>
      <pc:sldChg chg="addSp delSp modSp add replId">
        <pc:chgData name="wei yuan" userId="S::pwy_92_hotmail.com#ext#@risebcg.onmicrosoft.com::ca38e7f8-9ace-4d94-b37a-86e65e91f2b0" providerId="AD" clId="Web-{ED715E7B-4604-42E7-9143-8C9AAFEFEE22}" dt="2022-01-08T16:25:18.505" v="980" actId="1076"/>
        <pc:sldMkLst>
          <pc:docMk/>
          <pc:sldMk cId="744992136" sldId="357"/>
        </pc:sldMkLst>
        <pc:spChg chg="mod">
          <ac:chgData name="wei yuan" userId="S::pwy_92_hotmail.com#ext#@risebcg.onmicrosoft.com::ca38e7f8-9ace-4d94-b37a-86e65e91f2b0" providerId="AD" clId="Web-{ED715E7B-4604-42E7-9143-8C9AAFEFEE22}" dt="2022-01-08T16:23:50.206" v="971" actId="1076"/>
          <ac:spMkLst>
            <pc:docMk/>
            <pc:sldMk cId="744992136" sldId="357"/>
            <ac:spMk id="2" creationId="{1CAEE4F4-60D4-46CA-A79F-1CD22235EEA0}"/>
          </ac:spMkLst>
        </pc:spChg>
        <pc:spChg chg="mod">
          <ac:chgData name="wei yuan" userId="S::pwy_92_hotmail.com#ext#@risebcg.onmicrosoft.com::ca38e7f8-9ace-4d94-b37a-86e65e91f2b0" providerId="AD" clId="Web-{ED715E7B-4604-42E7-9143-8C9AAFEFEE22}" dt="2022-01-08T16:24:28.613" v="978" actId="20577"/>
          <ac:spMkLst>
            <pc:docMk/>
            <pc:sldMk cId="744992136" sldId="357"/>
            <ac:spMk id="3" creationId="{3AAD55FA-63B7-4DBA-8DC0-293DEF7C309C}"/>
          </ac:spMkLst>
        </pc:spChg>
        <pc:picChg chg="add mod">
          <ac:chgData name="wei yuan" userId="S::pwy_92_hotmail.com#ext#@risebcg.onmicrosoft.com::ca38e7f8-9ace-4d94-b37a-86e65e91f2b0" providerId="AD" clId="Web-{ED715E7B-4604-42E7-9143-8C9AAFEFEE22}" dt="2022-01-08T16:25:18.505" v="980" actId="1076"/>
          <ac:picMkLst>
            <pc:docMk/>
            <pc:sldMk cId="744992136" sldId="357"/>
            <ac:picMk id="4" creationId="{46E58862-E3FD-4841-8757-18ED8AB46909}"/>
          </ac:picMkLst>
        </pc:picChg>
        <pc:picChg chg="add del mod">
          <ac:chgData name="wei yuan" userId="S::pwy_92_hotmail.com#ext#@risebcg.onmicrosoft.com::ca38e7f8-9ace-4d94-b37a-86e65e91f2b0" providerId="AD" clId="Web-{ED715E7B-4604-42E7-9143-8C9AAFEFEE22}" dt="2022-01-08T16:23:37.253" v="962"/>
          <ac:picMkLst>
            <pc:docMk/>
            <pc:sldMk cId="744992136" sldId="357"/>
            <ac:picMk id="5" creationId="{8C6737B0-E6D2-4087-A241-447E2344C1CA}"/>
          </ac:picMkLst>
        </pc:picChg>
      </pc:sldChg>
      <pc:sldChg chg="add replId">
        <pc:chgData name="wei yuan" userId="S::pwy_92_hotmail.com#ext#@risebcg.onmicrosoft.com::ca38e7f8-9ace-4d94-b37a-86e65e91f2b0" providerId="AD" clId="Web-{ED715E7B-4604-42E7-9143-8C9AAFEFEE22}" dt="2022-01-08T16:09:10.307" v="395"/>
        <pc:sldMkLst>
          <pc:docMk/>
          <pc:sldMk cId="1365250593" sldId="359"/>
        </pc:sldMkLst>
      </pc:sldChg>
    </pc:docChg>
  </pc:docChgLst>
  <pc:docChgLst>
    <pc:chgData name="COSMOSFREN" userId="S::cosmosfren_yahoo.com#ext#@risebcg.onmicrosoft.com::5462f5f4-f618-47aa-abd8-fd504e002570" providerId="AD" clId="Web-{F8472AC6-5C98-4D8F-8462-C81CC307D614}"/>
    <pc:docChg chg="addSld delSld modSld sldOrd">
      <pc:chgData name="COSMOSFREN" userId="S::cosmosfren_yahoo.com#ext#@risebcg.onmicrosoft.com::5462f5f4-f618-47aa-abd8-fd504e002570" providerId="AD" clId="Web-{F8472AC6-5C98-4D8F-8462-C81CC307D614}" dt="2022-01-11T15:28:22.650" v="888" actId="20577"/>
      <pc:docMkLst>
        <pc:docMk/>
      </pc:docMkLst>
      <pc:sldChg chg="modNotes">
        <pc:chgData name="COSMOSFREN" userId="S::cosmosfren_yahoo.com#ext#@risebcg.onmicrosoft.com::5462f5f4-f618-47aa-abd8-fd504e002570" providerId="AD" clId="Web-{F8472AC6-5C98-4D8F-8462-C81CC307D614}" dt="2022-01-11T14:45:48.494" v="380"/>
        <pc:sldMkLst>
          <pc:docMk/>
          <pc:sldMk cId="873372039" sldId="275"/>
        </pc:sldMkLst>
      </pc:sldChg>
      <pc:sldChg chg="delSp">
        <pc:chgData name="COSMOSFREN" userId="S::cosmosfren_yahoo.com#ext#@risebcg.onmicrosoft.com::5462f5f4-f618-47aa-abd8-fd504e002570" providerId="AD" clId="Web-{F8472AC6-5C98-4D8F-8462-C81CC307D614}" dt="2022-01-11T15:21:33.328" v="689"/>
        <pc:sldMkLst>
          <pc:docMk/>
          <pc:sldMk cId="2256265757" sldId="315"/>
        </pc:sldMkLst>
        <pc:spChg chg="del">
          <ac:chgData name="COSMOSFREN" userId="S::cosmosfren_yahoo.com#ext#@risebcg.onmicrosoft.com::5462f5f4-f618-47aa-abd8-fd504e002570" providerId="AD" clId="Web-{F8472AC6-5C98-4D8F-8462-C81CC307D614}" dt="2022-01-11T15:21:28.344" v="688"/>
          <ac:spMkLst>
            <pc:docMk/>
            <pc:sldMk cId="2256265757" sldId="315"/>
            <ac:spMk id="17" creationId="{BADD6901-4349-466A-837B-49CC2A6BB764}"/>
          </ac:spMkLst>
        </pc:spChg>
        <pc:picChg chg="del">
          <ac:chgData name="COSMOSFREN" userId="S::cosmosfren_yahoo.com#ext#@risebcg.onmicrosoft.com::5462f5f4-f618-47aa-abd8-fd504e002570" providerId="AD" clId="Web-{F8472AC6-5C98-4D8F-8462-C81CC307D614}" dt="2022-01-11T15:21:33.328" v="689"/>
          <ac:picMkLst>
            <pc:docMk/>
            <pc:sldMk cId="2256265757" sldId="315"/>
            <ac:picMk id="60" creationId="{30AA7644-B695-49AF-A4E1-C86E1691F805}"/>
          </ac:picMkLst>
        </pc:picChg>
      </pc:sldChg>
      <pc:sldChg chg="modSp del">
        <pc:chgData name="COSMOSFREN" userId="S::cosmosfren_yahoo.com#ext#@risebcg.onmicrosoft.com::5462f5f4-f618-47aa-abd8-fd504e002570" providerId="AD" clId="Web-{F8472AC6-5C98-4D8F-8462-C81CC307D614}" dt="2022-01-11T14:42:58.975" v="348"/>
        <pc:sldMkLst>
          <pc:docMk/>
          <pc:sldMk cId="2067521295" sldId="323"/>
        </pc:sldMkLst>
        <pc:spChg chg="mod">
          <ac:chgData name="COSMOSFREN" userId="S::cosmosfren_yahoo.com#ext#@risebcg.onmicrosoft.com::5462f5f4-f618-47aa-abd8-fd504e002570" providerId="AD" clId="Web-{F8472AC6-5C98-4D8F-8462-C81CC307D614}" dt="2022-01-11T14:18:41.538" v="25" actId="20577"/>
          <ac:spMkLst>
            <pc:docMk/>
            <pc:sldMk cId="2067521295" sldId="323"/>
            <ac:spMk id="3" creationId="{FA2505BE-1A50-4419-9F3A-26EF66EDBF4F}"/>
          </ac:spMkLst>
        </pc:spChg>
      </pc:sldChg>
      <pc:sldChg chg="modNotes">
        <pc:chgData name="COSMOSFREN" userId="S::cosmosfren_yahoo.com#ext#@risebcg.onmicrosoft.com::5462f5f4-f618-47aa-abd8-fd504e002570" providerId="AD" clId="Web-{F8472AC6-5C98-4D8F-8462-C81CC307D614}" dt="2022-01-11T15:13:19.926" v="599"/>
        <pc:sldMkLst>
          <pc:docMk/>
          <pc:sldMk cId="2316358039" sldId="325"/>
        </pc:sldMkLst>
      </pc:sldChg>
      <pc:sldChg chg="addSp delSp modSp">
        <pc:chgData name="COSMOSFREN" userId="S::cosmosfren_yahoo.com#ext#@risebcg.onmicrosoft.com::5462f5f4-f618-47aa-abd8-fd504e002570" providerId="AD" clId="Web-{F8472AC6-5C98-4D8F-8462-C81CC307D614}" dt="2022-01-11T15:28:22.650" v="888" actId="20577"/>
        <pc:sldMkLst>
          <pc:docMk/>
          <pc:sldMk cId="416007632" sldId="327"/>
        </pc:sldMkLst>
        <pc:spChg chg="mod">
          <ac:chgData name="COSMOSFREN" userId="S::cosmosfren_yahoo.com#ext#@risebcg.onmicrosoft.com::5462f5f4-f618-47aa-abd8-fd504e002570" providerId="AD" clId="Web-{F8472AC6-5C98-4D8F-8462-C81CC307D614}" dt="2022-01-11T14:25:03.906" v="298" actId="20577"/>
          <ac:spMkLst>
            <pc:docMk/>
            <pc:sldMk cId="416007632" sldId="327"/>
            <ac:spMk id="4" creationId="{F2781DB5-90E2-4089-BA07-2F83778C3F07}"/>
          </ac:spMkLst>
        </pc:spChg>
        <pc:spChg chg="mod">
          <ac:chgData name="COSMOSFREN" userId="S::cosmosfren_yahoo.com#ext#@risebcg.onmicrosoft.com::5462f5f4-f618-47aa-abd8-fd504e002570" providerId="AD" clId="Web-{F8472AC6-5C98-4D8F-8462-C81CC307D614}" dt="2022-01-11T14:24:28.936" v="289" actId="14100"/>
          <ac:spMkLst>
            <pc:docMk/>
            <pc:sldMk cId="416007632" sldId="327"/>
            <ac:spMk id="5" creationId="{AA1B9715-B961-42AF-90C9-79A87F13D1B8}"/>
          </ac:spMkLst>
        </pc:spChg>
        <pc:spChg chg="mod">
          <ac:chgData name="COSMOSFREN" userId="S::cosmosfren_yahoo.com#ext#@risebcg.onmicrosoft.com::5462f5f4-f618-47aa-abd8-fd504e002570" providerId="AD" clId="Web-{F8472AC6-5C98-4D8F-8462-C81CC307D614}" dt="2022-01-11T15:24:13.691" v="720" actId="1076"/>
          <ac:spMkLst>
            <pc:docMk/>
            <pc:sldMk cId="416007632" sldId="327"/>
            <ac:spMk id="20" creationId="{1085C789-C333-47C0-9A39-FFAFB278B841}"/>
          </ac:spMkLst>
        </pc:spChg>
        <pc:spChg chg="add mod">
          <ac:chgData name="COSMOSFREN" userId="S::cosmosfren_yahoo.com#ext#@risebcg.onmicrosoft.com::5462f5f4-f618-47aa-abd8-fd504e002570" providerId="AD" clId="Web-{F8472AC6-5C98-4D8F-8462-C81CC307D614}" dt="2022-01-11T15:28:22.650" v="888" actId="20577"/>
          <ac:spMkLst>
            <pc:docMk/>
            <pc:sldMk cId="416007632" sldId="327"/>
            <ac:spMk id="21" creationId="{346E0901-D4AC-43CB-8815-64588832102C}"/>
          </ac:spMkLst>
        </pc:spChg>
        <pc:spChg chg="mod">
          <ac:chgData name="COSMOSFREN" userId="S::cosmosfren_yahoo.com#ext#@risebcg.onmicrosoft.com::5462f5f4-f618-47aa-abd8-fd504e002570" providerId="AD" clId="Web-{F8472AC6-5C98-4D8F-8462-C81CC307D614}" dt="2022-01-11T14:49:02.874" v="399" actId="20577"/>
          <ac:spMkLst>
            <pc:docMk/>
            <pc:sldMk cId="416007632" sldId="327"/>
            <ac:spMk id="22" creationId="{E617BC09-C752-43E7-ACBA-77B43873D3F7}"/>
          </ac:spMkLst>
        </pc:spChg>
        <pc:spChg chg="del mod">
          <ac:chgData name="COSMOSFREN" userId="S::cosmosfren_yahoo.com#ext#@risebcg.onmicrosoft.com::5462f5f4-f618-47aa-abd8-fd504e002570" providerId="AD" clId="Web-{F8472AC6-5C98-4D8F-8462-C81CC307D614}" dt="2022-01-11T14:49:42.218" v="424"/>
          <ac:spMkLst>
            <pc:docMk/>
            <pc:sldMk cId="416007632" sldId="327"/>
            <ac:spMk id="24" creationId="{FCD07FE6-FEC4-42CE-B115-94F5F23C6A71}"/>
          </ac:spMkLst>
        </pc:spChg>
        <pc:spChg chg="mod">
          <ac:chgData name="COSMOSFREN" userId="S::cosmosfren_yahoo.com#ext#@risebcg.onmicrosoft.com::5462f5f4-f618-47aa-abd8-fd504e002570" providerId="AD" clId="Web-{F8472AC6-5C98-4D8F-8462-C81CC307D614}" dt="2022-01-11T14:48:56.655" v="389" actId="20577"/>
          <ac:spMkLst>
            <pc:docMk/>
            <pc:sldMk cId="416007632" sldId="327"/>
            <ac:spMk id="25" creationId="{F9FE7D81-29DC-498D-91D4-543B8A261CE1}"/>
          </ac:spMkLst>
        </pc:spChg>
        <pc:spChg chg="mod">
          <ac:chgData name="COSMOSFREN" userId="S::cosmosfren_yahoo.com#ext#@risebcg.onmicrosoft.com::5462f5f4-f618-47aa-abd8-fd504e002570" providerId="AD" clId="Web-{F8472AC6-5C98-4D8F-8462-C81CC307D614}" dt="2022-01-11T14:26:33.142" v="342" actId="14100"/>
          <ac:spMkLst>
            <pc:docMk/>
            <pc:sldMk cId="416007632" sldId="327"/>
            <ac:spMk id="32" creationId="{19924F50-9976-41A7-88C1-641F1509CEE0}"/>
          </ac:spMkLst>
        </pc:spChg>
        <pc:spChg chg="mod">
          <ac:chgData name="COSMOSFREN" userId="S::cosmosfren_yahoo.com#ext#@risebcg.onmicrosoft.com::5462f5f4-f618-47aa-abd8-fd504e002570" providerId="AD" clId="Web-{F8472AC6-5C98-4D8F-8462-C81CC307D614}" dt="2022-01-11T14:25:52.641" v="338" actId="1076"/>
          <ac:spMkLst>
            <pc:docMk/>
            <pc:sldMk cId="416007632" sldId="327"/>
            <ac:spMk id="33" creationId="{C9B7F08E-D629-47BA-B28C-40CF22219379}"/>
          </ac:spMkLst>
        </pc:spChg>
        <pc:spChg chg="mod">
          <ac:chgData name="COSMOSFREN" userId="S::cosmosfren_yahoo.com#ext#@risebcg.onmicrosoft.com::5462f5f4-f618-47aa-abd8-fd504e002570" providerId="AD" clId="Web-{F8472AC6-5C98-4D8F-8462-C81CC307D614}" dt="2022-01-11T15:26:24.163" v="823" actId="1076"/>
          <ac:spMkLst>
            <pc:docMk/>
            <pc:sldMk cId="416007632" sldId="327"/>
            <ac:spMk id="34" creationId="{06D19D76-F677-4AAA-AA6A-7CA4B9DAF436}"/>
          </ac:spMkLst>
        </pc:spChg>
        <pc:spChg chg="del mod">
          <ac:chgData name="COSMOSFREN" userId="S::cosmosfren_yahoo.com#ext#@risebcg.onmicrosoft.com::5462f5f4-f618-47aa-abd8-fd504e002570" providerId="AD" clId="Web-{F8472AC6-5C98-4D8F-8462-C81CC307D614}" dt="2022-01-11T14:49:44.999" v="425"/>
          <ac:spMkLst>
            <pc:docMk/>
            <pc:sldMk cId="416007632" sldId="327"/>
            <ac:spMk id="35" creationId="{E20AAA99-395B-4009-AF86-AC6B211B7758}"/>
          </ac:spMkLst>
        </pc:spChg>
        <pc:spChg chg="mod">
          <ac:chgData name="COSMOSFREN" userId="S::cosmosfren_yahoo.com#ext#@risebcg.onmicrosoft.com::5462f5f4-f618-47aa-abd8-fd504e002570" providerId="AD" clId="Web-{F8472AC6-5C98-4D8F-8462-C81CC307D614}" dt="2022-01-11T15:26:22.460" v="822" actId="1076"/>
          <ac:spMkLst>
            <pc:docMk/>
            <pc:sldMk cId="416007632" sldId="327"/>
            <ac:spMk id="37" creationId="{1AA86EF9-D1F2-488E-902B-9C25FAEFDD52}"/>
          </ac:spMkLst>
        </pc:spChg>
        <pc:grpChg chg="mod">
          <ac:chgData name="COSMOSFREN" userId="S::cosmosfren_yahoo.com#ext#@risebcg.onmicrosoft.com::5462f5f4-f618-47aa-abd8-fd504e002570" providerId="AD" clId="Web-{F8472AC6-5C98-4D8F-8462-C81CC307D614}" dt="2022-01-11T15:24:11.379" v="719" actId="1076"/>
          <ac:grpSpMkLst>
            <pc:docMk/>
            <pc:sldMk cId="416007632" sldId="327"/>
            <ac:grpSpMk id="3" creationId="{D8298F4A-5213-4A7E-8DC6-09D01E722D62}"/>
          </ac:grpSpMkLst>
        </pc:grpChg>
        <pc:picChg chg="mod">
          <ac:chgData name="COSMOSFREN" userId="S::cosmosfren_yahoo.com#ext#@risebcg.onmicrosoft.com::5462f5f4-f618-47aa-abd8-fd504e002570" providerId="AD" clId="Web-{F8472AC6-5C98-4D8F-8462-C81CC307D614}" dt="2022-01-11T14:24:42.796" v="293" actId="1076"/>
          <ac:picMkLst>
            <pc:docMk/>
            <pc:sldMk cId="416007632" sldId="327"/>
            <ac:picMk id="7" creationId="{52098F02-F658-4E94-9501-A14F3E2D33CE}"/>
          </ac:picMkLst>
        </pc:picChg>
        <pc:picChg chg="mod">
          <ac:chgData name="COSMOSFREN" userId="S::cosmosfren_yahoo.com#ext#@risebcg.onmicrosoft.com::5462f5f4-f618-47aa-abd8-fd504e002570" providerId="AD" clId="Web-{F8472AC6-5C98-4D8F-8462-C81CC307D614}" dt="2022-01-11T14:24:48.749" v="295" actId="1076"/>
          <ac:picMkLst>
            <pc:docMk/>
            <pc:sldMk cId="416007632" sldId="327"/>
            <ac:picMk id="9" creationId="{A7D42D63-B632-4192-9AF9-4120DFBDAFF3}"/>
          </ac:picMkLst>
        </pc:picChg>
        <pc:picChg chg="del">
          <ac:chgData name="COSMOSFREN" userId="S::cosmosfren_yahoo.com#ext#@risebcg.onmicrosoft.com::5462f5f4-f618-47aa-abd8-fd504e002570" providerId="AD" clId="Web-{F8472AC6-5C98-4D8F-8462-C81CC307D614}" dt="2022-01-11T14:49:30.374" v="421"/>
          <ac:picMkLst>
            <pc:docMk/>
            <pc:sldMk cId="416007632" sldId="327"/>
            <ac:picMk id="21" creationId="{270AFCE7-EE99-4D66-AE35-2E7503A46115}"/>
          </ac:picMkLst>
        </pc:picChg>
        <pc:picChg chg="mod">
          <ac:chgData name="COSMOSFREN" userId="S::cosmosfren_yahoo.com#ext#@risebcg.onmicrosoft.com::5462f5f4-f618-47aa-abd8-fd504e002570" providerId="AD" clId="Web-{F8472AC6-5C98-4D8F-8462-C81CC307D614}" dt="2022-01-11T14:51:05.173" v="436" actId="1076"/>
          <ac:picMkLst>
            <pc:docMk/>
            <pc:sldMk cId="416007632" sldId="327"/>
            <ac:picMk id="23" creationId="{AEC9587C-3F93-4045-ACEB-A1A4AFB0FC11}"/>
          </ac:picMkLst>
        </pc:picChg>
        <pc:picChg chg="mod">
          <ac:chgData name="COSMOSFREN" userId="S::cosmosfren_yahoo.com#ext#@risebcg.onmicrosoft.com::5462f5f4-f618-47aa-abd8-fd504e002570" providerId="AD" clId="Web-{F8472AC6-5C98-4D8F-8462-C81CC307D614}" dt="2022-01-11T14:51:01.814" v="435" actId="1076"/>
          <ac:picMkLst>
            <pc:docMk/>
            <pc:sldMk cId="416007632" sldId="327"/>
            <ac:picMk id="29" creationId="{4F6899D5-3109-4938-82DA-041DEA46D7EF}"/>
          </ac:picMkLst>
        </pc:picChg>
      </pc:sldChg>
      <pc:sldChg chg="delSp modSp">
        <pc:chgData name="COSMOSFREN" userId="S::cosmosfren_yahoo.com#ext#@risebcg.onmicrosoft.com::5462f5f4-f618-47aa-abd8-fd504e002570" providerId="AD" clId="Web-{F8472AC6-5C98-4D8F-8462-C81CC307D614}" dt="2022-01-11T15:15:17.163" v="606" actId="1076"/>
        <pc:sldMkLst>
          <pc:docMk/>
          <pc:sldMk cId="3391215681" sldId="339"/>
        </pc:sldMkLst>
        <pc:spChg chg="del">
          <ac:chgData name="COSMOSFREN" userId="S::cosmosfren_yahoo.com#ext#@risebcg.onmicrosoft.com::5462f5f4-f618-47aa-abd8-fd504e002570" providerId="AD" clId="Web-{F8472AC6-5C98-4D8F-8462-C81CC307D614}" dt="2022-01-11T15:14:37.693" v="600"/>
          <ac:spMkLst>
            <pc:docMk/>
            <pc:sldMk cId="3391215681" sldId="339"/>
            <ac:spMk id="211" creationId="{BE8EF75F-4A8F-4CC0-B3A0-4689491D690B}"/>
          </ac:spMkLst>
        </pc:spChg>
        <pc:grpChg chg="mod">
          <ac:chgData name="COSMOSFREN" userId="S::cosmosfren_yahoo.com#ext#@risebcg.onmicrosoft.com::5462f5f4-f618-47aa-abd8-fd504e002570" providerId="AD" clId="Web-{F8472AC6-5C98-4D8F-8462-C81CC307D614}" dt="2022-01-11T15:15:17.163" v="606" actId="1076"/>
          <ac:grpSpMkLst>
            <pc:docMk/>
            <pc:sldMk cId="3391215681" sldId="339"/>
            <ac:grpSpMk id="70" creationId="{1C6C7C9E-B94C-40CE-A89F-A87214022882}"/>
          </ac:grpSpMkLst>
        </pc:grpChg>
        <pc:grpChg chg="del">
          <ac:chgData name="COSMOSFREN" userId="S::cosmosfren_yahoo.com#ext#@risebcg.onmicrosoft.com::5462f5f4-f618-47aa-abd8-fd504e002570" providerId="AD" clId="Web-{F8472AC6-5C98-4D8F-8462-C81CC307D614}" dt="2022-01-11T15:14:40.568" v="601"/>
          <ac:grpSpMkLst>
            <pc:docMk/>
            <pc:sldMk cId="3391215681" sldId="339"/>
            <ac:grpSpMk id="159" creationId="{6CF11143-2C2D-41F3-A344-0766ACFE591C}"/>
          </ac:grpSpMkLst>
        </pc:grpChg>
      </pc:sldChg>
      <pc:sldChg chg="del">
        <pc:chgData name="COSMOSFREN" userId="S::cosmosfren_yahoo.com#ext#@risebcg.onmicrosoft.com::5462f5f4-f618-47aa-abd8-fd504e002570" providerId="AD" clId="Web-{F8472AC6-5C98-4D8F-8462-C81CC307D614}" dt="2022-01-11T15:18:32.183" v="607"/>
        <pc:sldMkLst>
          <pc:docMk/>
          <pc:sldMk cId="2249197500" sldId="375"/>
        </pc:sldMkLst>
      </pc:sldChg>
      <pc:sldChg chg="del">
        <pc:chgData name="COSMOSFREN" userId="S::cosmosfren_yahoo.com#ext#@risebcg.onmicrosoft.com::5462f5f4-f618-47aa-abd8-fd504e002570" providerId="AD" clId="Web-{F8472AC6-5C98-4D8F-8462-C81CC307D614}" dt="2022-01-11T15:18:35.777" v="608"/>
        <pc:sldMkLst>
          <pc:docMk/>
          <pc:sldMk cId="1064641949" sldId="376"/>
        </pc:sldMkLst>
      </pc:sldChg>
      <pc:sldChg chg="del">
        <pc:chgData name="COSMOSFREN" userId="S::cosmosfren_yahoo.com#ext#@risebcg.onmicrosoft.com::5462f5f4-f618-47aa-abd8-fd504e002570" providerId="AD" clId="Web-{F8472AC6-5C98-4D8F-8462-C81CC307D614}" dt="2022-01-11T15:18:39.449" v="609"/>
        <pc:sldMkLst>
          <pc:docMk/>
          <pc:sldMk cId="3505188540" sldId="377"/>
        </pc:sldMkLst>
      </pc:sldChg>
      <pc:sldChg chg="del">
        <pc:chgData name="COSMOSFREN" userId="S::cosmosfren_yahoo.com#ext#@risebcg.onmicrosoft.com::5462f5f4-f618-47aa-abd8-fd504e002570" providerId="AD" clId="Web-{F8472AC6-5C98-4D8F-8462-C81CC307D614}" dt="2022-01-11T15:18:42.152" v="610"/>
        <pc:sldMkLst>
          <pc:docMk/>
          <pc:sldMk cId="4119151274" sldId="378"/>
        </pc:sldMkLst>
      </pc:sldChg>
      <pc:sldChg chg="del">
        <pc:chgData name="COSMOSFREN" userId="S::cosmosfren_yahoo.com#ext#@risebcg.onmicrosoft.com::5462f5f4-f618-47aa-abd8-fd504e002570" providerId="AD" clId="Web-{F8472AC6-5C98-4D8F-8462-C81CC307D614}" dt="2022-01-11T15:18:44.355" v="611"/>
        <pc:sldMkLst>
          <pc:docMk/>
          <pc:sldMk cId="1638764710" sldId="382"/>
        </pc:sldMkLst>
      </pc:sldChg>
      <pc:sldChg chg="addSp delSp modSp modNotes">
        <pc:chgData name="COSMOSFREN" userId="S::cosmosfren_yahoo.com#ext#@risebcg.onmicrosoft.com::5462f5f4-f618-47aa-abd8-fd504e002570" providerId="AD" clId="Web-{F8472AC6-5C98-4D8F-8462-C81CC307D614}" dt="2022-01-11T14:45:33.697" v="378" actId="14100"/>
        <pc:sldMkLst>
          <pc:docMk/>
          <pc:sldMk cId="531825606" sldId="383"/>
        </pc:sldMkLst>
        <pc:spChg chg="del mod">
          <ac:chgData name="COSMOSFREN" userId="S::cosmosfren_yahoo.com#ext#@risebcg.onmicrosoft.com::5462f5f4-f618-47aa-abd8-fd504e002570" providerId="AD" clId="Web-{F8472AC6-5C98-4D8F-8462-C81CC307D614}" dt="2022-01-11T14:43:52.523" v="359"/>
          <ac:spMkLst>
            <pc:docMk/>
            <pc:sldMk cId="531825606" sldId="383"/>
            <ac:spMk id="2" creationId="{ABE39F15-1818-4D2D-A322-2BE665A44DF0}"/>
          </ac:spMkLst>
        </pc:spChg>
        <pc:spChg chg="mod">
          <ac:chgData name="COSMOSFREN" userId="S::cosmosfren_yahoo.com#ext#@risebcg.onmicrosoft.com::5462f5f4-f618-47aa-abd8-fd504e002570" providerId="AD" clId="Web-{F8472AC6-5C98-4D8F-8462-C81CC307D614}" dt="2022-01-11T14:44:03.773" v="361" actId="20577"/>
          <ac:spMkLst>
            <pc:docMk/>
            <pc:sldMk cId="531825606" sldId="383"/>
            <ac:spMk id="3" creationId="{9771EDC6-5C2F-4F03-A28A-6F11306CF575}"/>
          </ac:spMkLst>
        </pc:spChg>
        <pc:spChg chg="add">
          <ac:chgData name="COSMOSFREN" userId="S::cosmosfren_yahoo.com#ext#@risebcg.onmicrosoft.com::5462f5f4-f618-47aa-abd8-fd504e002570" providerId="AD" clId="Web-{F8472AC6-5C98-4D8F-8462-C81CC307D614}" dt="2022-01-11T14:45:02.165" v="369"/>
          <ac:spMkLst>
            <pc:docMk/>
            <pc:sldMk cId="531825606" sldId="383"/>
            <ac:spMk id="4" creationId="{BCA9CE95-6D94-484F-9121-CEC75A5CFF1D}"/>
          </ac:spMkLst>
        </pc:spChg>
        <pc:spChg chg="add mod">
          <ac:chgData name="COSMOSFREN" userId="S::cosmosfren_yahoo.com#ext#@risebcg.onmicrosoft.com::5462f5f4-f618-47aa-abd8-fd504e002570" providerId="AD" clId="Web-{F8472AC6-5C98-4D8F-8462-C81CC307D614}" dt="2022-01-11T14:45:33.697" v="378" actId="14100"/>
          <ac:spMkLst>
            <pc:docMk/>
            <pc:sldMk cId="531825606" sldId="383"/>
            <ac:spMk id="5" creationId="{91143AFA-D739-4BBB-A32B-96E9A56D82A0}"/>
          </ac:spMkLst>
        </pc:spChg>
      </pc:sldChg>
      <pc:sldChg chg="new del">
        <pc:chgData name="COSMOSFREN" userId="S::cosmosfren_yahoo.com#ext#@risebcg.onmicrosoft.com::5462f5f4-f618-47aa-abd8-fd504e002570" providerId="AD" clId="Web-{F8472AC6-5C98-4D8F-8462-C81CC307D614}" dt="2022-01-11T14:37:51.531" v="345"/>
        <pc:sldMkLst>
          <pc:docMk/>
          <pc:sldMk cId="2489240074" sldId="390"/>
        </pc:sldMkLst>
      </pc:sldChg>
      <pc:sldChg chg="delSp add ord replId modNotes">
        <pc:chgData name="COSMOSFREN" userId="S::cosmosfren_yahoo.com#ext#@risebcg.onmicrosoft.com::5462f5f4-f618-47aa-abd8-fd504e002570" providerId="AD" clId="Web-{F8472AC6-5C98-4D8F-8462-C81CC307D614}" dt="2022-01-11T15:20:28.342" v="687"/>
        <pc:sldMkLst>
          <pc:docMk/>
          <pc:sldMk cId="59737257" sldId="391"/>
        </pc:sldMkLst>
        <pc:grpChg chg="del">
          <ac:chgData name="COSMOSFREN" userId="S::cosmosfren_yahoo.com#ext#@risebcg.onmicrosoft.com::5462f5f4-f618-47aa-abd8-fd504e002570" providerId="AD" clId="Web-{F8472AC6-5C98-4D8F-8462-C81CC307D614}" dt="2022-01-11T14:38:08.985" v="346"/>
          <ac:grpSpMkLst>
            <pc:docMk/>
            <pc:sldMk cId="59737257" sldId="391"/>
            <ac:grpSpMk id="70" creationId="{1C6C7C9E-B94C-40CE-A89F-A87214022882}"/>
          </ac:grpSpMkLst>
        </pc:grpChg>
      </pc:sldChg>
    </pc:docChg>
  </pc:docChgLst>
  <pc:docChgLst>
    <pc:chgData name="wei yuan" userId="S::pwy_92_hotmail.com#ext#@risebcg.onmicrosoft.com::ca38e7f8-9ace-4d94-b37a-86e65e91f2b0" providerId="AD" clId="Web-{D6BD7DF4-3C9F-4137-8A2D-DF66B7201CEC}"/>
    <pc:docChg chg="modSld">
      <pc:chgData name="wei yuan" userId="S::pwy_92_hotmail.com#ext#@risebcg.onmicrosoft.com::ca38e7f8-9ace-4d94-b37a-86e65e91f2b0" providerId="AD" clId="Web-{D6BD7DF4-3C9F-4137-8A2D-DF66B7201CEC}" dt="2022-01-11T14:45:11.460" v="94" actId="1076"/>
      <pc:docMkLst>
        <pc:docMk/>
      </pc:docMkLst>
      <pc:sldChg chg="addSp delSp modSp">
        <pc:chgData name="wei yuan" userId="S::pwy_92_hotmail.com#ext#@risebcg.onmicrosoft.com::ca38e7f8-9ace-4d94-b37a-86e65e91f2b0" providerId="AD" clId="Web-{D6BD7DF4-3C9F-4137-8A2D-DF66B7201CEC}" dt="2022-01-11T14:45:11.460" v="94" actId="1076"/>
        <pc:sldMkLst>
          <pc:docMk/>
          <pc:sldMk cId="416007632" sldId="327"/>
        </pc:sldMkLst>
        <pc:spChg chg="mod">
          <ac:chgData name="wei yuan" userId="S::pwy_92_hotmail.com#ext#@risebcg.onmicrosoft.com::ca38e7f8-9ace-4d94-b37a-86e65e91f2b0" providerId="AD" clId="Web-{D6BD7DF4-3C9F-4137-8A2D-DF66B7201CEC}" dt="2022-01-11T14:43:39.052" v="55" actId="1076"/>
          <ac:spMkLst>
            <pc:docMk/>
            <pc:sldMk cId="416007632" sldId="327"/>
            <ac:spMk id="2" creationId="{ED14AA63-35D8-4136-8B2F-DE1837A583A2}"/>
          </ac:spMkLst>
        </pc:spChg>
        <pc:spChg chg="add">
          <ac:chgData name="wei yuan" userId="S::pwy_92_hotmail.com#ext#@risebcg.onmicrosoft.com::ca38e7f8-9ace-4d94-b37a-86e65e91f2b0" providerId="AD" clId="Web-{D6BD7DF4-3C9F-4137-8A2D-DF66B7201CEC}" dt="2022-01-11T14:42:07.176" v="8"/>
          <ac:spMkLst>
            <pc:docMk/>
            <pc:sldMk cId="416007632" sldId="327"/>
            <ac:spMk id="3" creationId="{0E8B9B04-0C42-416D-B18D-3ECA00E11847}"/>
          </ac:spMkLst>
        </pc:spChg>
        <pc:spChg chg="add">
          <ac:chgData name="wei yuan" userId="S::pwy_92_hotmail.com#ext#@risebcg.onmicrosoft.com::ca38e7f8-9ace-4d94-b37a-86e65e91f2b0" providerId="AD" clId="Web-{D6BD7DF4-3C9F-4137-8A2D-DF66B7201CEC}" dt="2022-01-11T14:42:11.207" v="9"/>
          <ac:spMkLst>
            <pc:docMk/>
            <pc:sldMk cId="416007632" sldId="327"/>
            <ac:spMk id="4" creationId="{1B5960F9-544A-4161-A172-6B4C977A2156}"/>
          </ac:spMkLst>
        </pc:spChg>
        <pc:spChg chg="add del">
          <ac:chgData name="wei yuan" userId="S::pwy_92_hotmail.com#ext#@risebcg.onmicrosoft.com::ca38e7f8-9ace-4d94-b37a-86e65e91f2b0" providerId="AD" clId="Web-{D6BD7DF4-3C9F-4137-8A2D-DF66B7201CEC}" dt="2022-01-11T14:41:55.425" v="7"/>
          <ac:spMkLst>
            <pc:docMk/>
            <pc:sldMk cId="416007632" sldId="327"/>
            <ac:spMk id="17" creationId="{A342E76F-CBEB-45ED-8735-A83C6AD5D2B1}"/>
          </ac:spMkLst>
        </pc:spChg>
        <pc:spChg chg="add mod">
          <ac:chgData name="wei yuan" userId="S::pwy_92_hotmail.com#ext#@risebcg.onmicrosoft.com::ca38e7f8-9ace-4d94-b37a-86e65e91f2b0" providerId="AD" clId="Web-{D6BD7DF4-3C9F-4137-8A2D-DF66B7201CEC}" dt="2022-01-11T14:43:28.630" v="47" actId="20577"/>
          <ac:spMkLst>
            <pc:docMk/>
            <pc:sldMk cId="416007632" sldId="327"/>
            <ac:spMk id="20" creationId="{1085C789-C333-47C0-9A39-FFAFB278B841}"/>
          </ac:spMkLst>
        </pc:spChg>
        <pc:spChg chg="mod">
          <ac:chgData name="wei yuan" userId="S::pwy_92_hotmail.com#ext#@risebcg.onmicrosoft.com::ca38e7f8-9ace-4d94-b37a-86e65e91f2b0" providerId="AD" clId="Web-{D6BD7DF4-3C9F-4137-8A2D-DF66B7201CEC}" dt="2022-01-11T14:45:00.600" v="90" actId="1076"/>
          <ac:spMkLst>
            <pc:docMk/>
            <pc:sldMk cId="416007632" sldId="327"/>
            <ac:spMk id="22" creationId="{E617BC09-C752-43E7-ACBA-77B43873D3F7}"/>
          </ac:spMkLst>
        </pc:spChg>
        <pc:spChg chg="mod">
          <ac:chgData name="wei yuan" userId="S::pwy_92_hotmail.com#ext#@risebcg.onmicrosoft.com::ca38e7f8-9ace-4d94-b37a-86e65e91f2b0" providerId="AD" clId="Web-{D6BD7DF4-3C9F-4137-8A2D-DF66B7201CEC}" dt="2022-01-11T14:43:34.255" v="53" actId="20577"/>
          <ac:spMkLst>
            <pc:docMk/>
            <pc:sldMk cId="416007632" sldId="327"/>
            <ac:spMk id="24" creationId="{FCD07FE6-FEC4-42CE-B115-94F5F23C6A71}"/>
          </ac:spMkLst>
        </pc:spChg>
        <pc:spChg chg="mod">
          <ac:chgData name="wei yuan" userId="S::pwy_92_hotmail.com#ext#@risebcg.onmicrosoft.com::ca38e7f8-9ace-4d94-b37a-86e65e91f2b0" providerId="AD" clId="Web-{D6BD7DF4-3C9F-4137-8A2D-DF66B7201CEC}" dt="2022-01-11T14:44:58.116" v="89" actId="1076"/>
          <ac:spMkLst>
            <pc:docMk/>
            <pc:sldMk cId="416007632" sldId="327"/>
            <ac:spMk id="25" creationId="{F9FE7D81-29DC-498D-91D4-543B8A261CE1}"/>
          </ac:spMkLst>
        </pc:spChg>
        <pc:spChg chg="mod">
          <ac:chgData name="wei yuan" userId="S::pwy_92_hotmail.com#ext#@risebcg.onmicrosoft.com::ca38e7f8-9ace-4d94-b37a-86e65e91f2b0" providerId="AD" clId="Web-{D6BD7DF4-3C9F-4137-8A2D-DF66B7201CEC}" dt="2022-01-11T14:44:20.506" v="65" actId="1076"/>
          <ac:spMkLst>
            <pc:docMk/>
            <pc:sldMk cId="416007632" sldId="327"/>
            <ac:spMk id="33" creationId="{C9B7F08E-D629-47BA-B28C-40CF22219379}"/>
          </ac:spMkLst>
        </pc:spChg>
        <pc:spChg chg="mod">
          <ac:chgData name="wei yuan" userId="S::pwy_92_hotmail.com#ext#@risebcg.onmicrosoft.com::ca38e7f8-9ace-4d94-b37a-86e65e91f2b0" providerId="AD" clId="Web-{D6BD7DF4-3C9F-4137-8A2D-DF66B7201CEC}" dt="2022-01-11T14:45:06.053" v="92" actId="1076"/>
          <ac:spMkLst>
            <pc:docMk/>
            <pc:sldMk cId="416007632" sldId="327"/>
            <ac:spMk id="34" creationId="{06D19D76-F677-4AAA-AA6A-7CA4B9DAF436}"/>
          </ac:spMkLst>
        </pc:spChg>
        <pc:spChg chg="mod">
          <ac:chgData name="wei yuan" userId="S::pwy_92_hotmail.com#ext#@risebcg.onmicrosoft.com::ca38e7f8-9ace-4d94-b37a-86e65e91f2b0" providerId="AD" clId="Web-{D6BD7DF4-3C9F-4137-8A2D-DF66B7201CEC}" dt="2022-01-11T14:45:08.788" v="93" actId="1076"/>
          <ac:spMkLst>
            <pc:docMk/>
            <pc:sldMk cId="416007632" sldId="327"/>
            <ac:spMk id="35" creationId="{E20AAA99-395B-4009-AF86-AC6B211B7758}"/>
          </ac:spMkLst>
        </pc:spChg>
        <pc:spChg chg="mod">
          <ac:chgData name="wei yuan" userId="S::pwy_92_hotmail.com#ext#@risebcg.onmicrosoft.com::ca38e7f8-9ace-4d94-b37a-86e65e91f2b0" providerId="AD" clId="Web-{D6BD7DF4-3C9F-4137-8A2D-DF66B7201CEC}" dt="2022-01-11T14:44:29.662" v="68" actId="1076"/>
          <ac:spMkLst>
            <pc:docMk/>
            <pc:sldMk cId="416007632" sldId="327"/>
            <ac:spMk id="37" creationId="{1AA86EF9-D1F2-488E-902B-9C25FAEFDD52}"/>
          </ac:spMkLst>
        </pc:spChg>
        <pc:picChg chg="mod">
          <ac:chgData name="wei yuan" userId="S::pwy_92_hotmail.com#ext#@risebcg.onmicrosoft.com::ca38e7f8-9ace-4d94-b37a-86e65e91f2b0" providerId="AD" clId="Web-{D6BD7DF4-3C9F-4137-8A2D-DF66B7201CEC}" dt="2022-01-11T14:44:37.037" v="70" actId="1076"/>
          <ac:picMkLst>
            <pc:docMk/>
            <pc:sldMk cId="416007632" sldId="327"/>
            <ac:picMk id="9" creationId="{A7D42D63-B632-4192-9AF9-4120DFBDAFF3}"/>
          </ac:picMkLst>
        </pc:picChg>
        <pc:picChg chg="mod">
          <ac:chgData name="wei yuan" userId="S::pwy_92_hotmail.com#ext#@risebcg.onmicrosoft.com::ca38e7f8-9ace-4d94-b37a-86e65e91f2b0" providerId="AD" clId="Web-{D6BD7DF4-3C9F-4137-8A2D-DF66B7201CEC}" dt="2022-01-11T14:45:03.334" v="91" actId="1076"/>
          <ac:picMkLst>
            <pc:docMk/>
            <pc:sldMk cId="416007632" sldId="327"/>
            <ac:picMk id="13" creationId="{9D9C893F-03E6-48D6-942D-542F03E4CD7B}"/>
          </ac:picMkLst>
        </pc:picChg>
        <pc:picChg chg="mod">
          <ac:chgData name="wei yuan" userId="S::pwy_92_hotmail.com#ext#@risebcg.onmicrosoft.com::ca38e7f8-9ace-4d94-b37a-86e65e91f2b0" providerId="AD" clId="Web-{D6BD7DF4-3C9F-4137-8A2D-DF66B7201CEC}" dt="2022-01-11T14:45:11.460" v="94" actId="1076"/>
          <ac:picMkLst>
            <pc:docMk/>
            <pc:sldMk cId="416007632" sldId="327"/>
            <ac:picMk id="21" creationId="{270AFCE7-EE99-4D66-AE35-2E7503A46115}"/>
          </ac:picMkLst>
        </pc:picChg>
        <pc:picChg chg="mod">
          <ac:chgData name="wei yuan" userId="S::pwy_92_hotmail.com#ext#@risebcg.onmicrosoft.com::ca38e7f8-9ace-4d94-b37a-86e65e91f2b0" providerId="AD" clId="Web-{D6BD7DF4-3C9F-4137-8A2D-DF66B7201CEC}" dt="2022-01-11T14:44:02.568" v="60" actId="1076"/>
          <ac:picMkLst>
            <pc:docMk/>
            <pc:sldMk cId="416007632" sldId="327"/>
            <ac:picMk id="23" creationId="{AEC9587C-3F93-4045-ACEB-A1A4AFB0FC11}"/>
          </ac:picMkLst>
        </pc:picChg>
        <pc:picChg chg="mod">
          <ac:chgData name="wei yuan" userId="S::pwy_92_hotmail.com#ext#@risebcg.onmicrosoft.com::ca38e7f8-9ace-4d94-b37a-86e65e91f2b0" providerId="AD" clId="Web-{D6BD7DF4-3C9F-4137-8A2D-DF66B7201CEC}" dt="2022-01-11T14:44:02.584" v="61" actId="1076"/>
          <ac:picMkLst>
            <pc:docMk/>
            <pc:sldMk cId="416007632" sldId="327"/>
            <ac:picMk id="29" creationId="{4F6899D5-3109-4938-82DA-041DEA46D7EF}"/>
          </ac:picMkLst>
        </pc:picChg>
      </pc:sldChg>
    </pc:docChg>
  </pc:docChgLst>
  <pc:docChgLst>
    <pc:chgData name="WONGYONGLIN91" userId="S::wongyonglin91_gmail.com#ext#@risebcg.onmicrosoft.com::b2d94f93-e580-4f0d-9dda-2138509d25ae" providerId="AD" clId="Web-{6F35DDEF-8826-4C84-9907-7B864915BAD9}"/>
    <pc:docChg chg="addSld modSld">
      <pc:chgData name="WONGYONGLIN91" userId="S::wongyonglin91_gmail.com#ext#@risebcg.onmicrosoft.com::b2d94f93-e580-4f0d-9dda-2138509d25ae" providerId="AD" clId="Web-{6F35DDEF-8826-4C84-9907-7B864915BAD9}" dt="2022-01-10T13:24:19.747" v="45"/>
      <pc:docMkLst>
        <pc:docMk/>
      </pc:docMkLst>
      <pc:sldChg chg="delSp modSp">
        <pc:chgData name="WONGYONGLIN91" userId="S::wongyonglin91_gmail.com#ext#@risebcg.onmicrosoft.com::b2d94f93-e580-4f0d-9dda-2138509d25ae" providerId="AD" clId="Web-{6F35DDEF-8826-4C84-9907-7B864915BAD9}" dt="2022-01-10T13:24:19.747" v="45"/>
        <pc:sldMkLst>
          <pc:docMk/>
          <pc:sldMk cId="3758978858" sldId="379"/>
        </pc:sldMkLst>
        <pc:spChg chg="mod">
          <ac:chgData name="WONGYONGLIN91" userId="S::wongyonglin91_gmail.com#ext#@risebcg.onmicrosoft.com::b2d94f93-e580-4f0d-9dda-2138509d25ae" providerId="AD" clId="Web-{6F35DDEF-8826-4C84-9907-7B864915BAD9}" dt="2022-01-10T13:23:52.574" v="40" actId="20577"/>
          <ac:spMkLst>
            <pc:docMk/>
            <pc:sldMk cId="3758978858" sldId="379"/>
            <ac:spMk id="2" creationId="{C8764925-553F-46C0-AD49-7EDC41FA393B}"/>
          </ac:spMkLst>
        </pc:spChg>
        <pc:spChg chg="mod">
          <ac:chgData name="WONGYONGLIN91" userId="S::wongyonglin91_gmail.com#ext#@risebcg.onmicrosoft.com::b2d94f93-e580-4f0d-9dda-2138509d25ae" providerId="AD" clId="Web-{6F35DDEF-8826-4C84-9907-7B864915BAD9}" dt="2022-01-10T13:23:59.637" v="41" actId="1076"/>
          <ac:spMkLst>
            <pc:docMk/>
            <pc:sldMk cId="3758978858" sldId="379"/>
            <ac:spMk id="3" creationId="{D93B70F6-8F9F-4D73-AE2A-A23E51FFBBC3}"/>
          </ac:spMkLst>
        </pc:spChg>
        <pc:picChg chg="mod">
          <ac:chgData name="WONGYONGLIN91" userId="S::wongyonglin91_gmail.com#ext#@risebcg.onmicrosoft.com::b2d94f93-e580-4f0d-9dda-2138509d25ae" providerId="AD" clId="Web-{6F35DDEF-8826-4C84-9907-7B864915BAD9}" dt="2022-01-10T13:24:05.590" v="43" actId="1076"/>
          <ac:picMkLst>
            <pc:docMk/>
            <pc:sldMk cId="3758978858" sldId="379"/>
            <ac:picMk id="4" creationId="{645E4C34-8A7C-455C-918F-46EBACD32826}"/>
          </ac:picMkLst>
        </pc:picChg>
        <pc:picChg chg="del mod">
          <ac:chgData name="WONGYONGLIN91" userId="S::wongyonglin91_gmail.com#ext#@risebcg.onmicrosoft.com::b2d94f93-e580-4f0d-9dda-2138509d25ae" providerId="AD" clId="Web-{6F35DDEF-8826-4C84-9907-7B864915BAD9}" dt="2022-01-10T13:24:19.747" v="45"/>
          <ac:picMkLst>
            <pc:docMk/>
            <pc:sldMk cId="3758978858" sldId="379"/>
            <ac:picMk id="5" creationId="{4C0717A3-F270-40BA-91D9-A08D7039A05B}"/>
          </ac:picMkLst>
        </pc:picChg>
        <pc:picChg chg="mod">
          <ac:chgData name="WONGYONGLIN91" userId="S::wongyonglin91_gmail.com#ext#@risebcg.onmicrosoft.com::b2d94f93-e580-4f0d-9dda-2138509d25ae" providerId="AD" clId="Web-{6F35DDEF-8826-4C84-9907-7B864915BAD9}" dt="2022-01-10T13:24:03.715" v="42" actId="1076"/>
          <ac:picMkLst>
            <pc:docMk/>
            <pc:sldMk cId="3758978858" sldId="379"/>
            <ac:picMk id="6" creationId="{18A63D16-B496-4004-AB0A-2AAA668E85F4}"/>
          </ac:picMkLst>
        </pc:picChg>
      </pc:sldChg>
      <pc:sldChg chg="add replId">
        <pc:chgData name="WONGYONGLIN91" userId="S::wongyonglin91_gmail.com#ext#@risebcg.onmicrosoft.com::b2d94f93-e580-4f0d-9dda-2138509d25ae" providerId="AD" clId="Web-{6F35DDEF-8826-4C84-9907-7B864915BAD9}" dt="2022-01-10T13:22:22.979" v="0"/>
        <pc:sldMkLst>
          <pc:docMk/>
          <pc:sldMk cId="1360270799" sldId="384"/>
        </pc:sldMkLst>
      </pc:sldChg>
    </pc:docChg>
  </pc:docChgLst>
  <pc:docChgLst>
    <pc:chgData name="WESLEY.TBW" userId="S::wesley.tbw_gmail.com#ext#@risebcg.onmicrosoft.com::1034df62-ee6d-4b2f-8a56-03c4406a0a8a" providerId="AD" clId="Web-{D85AE390-7E41-40BF-A7F8-D1E85EDA5A44}"/>
    <pc:docChg chg="addSld modSld">
      <pc:chgData name="WESLEY.TBW" userId="S::wesley.tbw_gmail.com#ext#@risebcg.onmicrosoft.com::1034df62-ee6d-4b2f-8a56-03c4406a0a8a" providerId="AD" clId="Web-{D85AE390-7E41-40BF-A7F8-D1E85EDA5A44}" dt="2022-01-10T09:48:19.945" v="853"/>
      <pc:docMkLst>
        <pc:docMk/>
      </pc:docMkLst>
      <pc:sldChg chg="modSp modNotes">
        <pc:chgData name="WESLEY.TBW" userId="S::wesley.tbw_gmail.com#ext#@risebcg.onmicrosoft.com::1034df62-ee6d-4b2f-8a56-03c4406a0a8a" providerId="AD" clId="Web-{D85AE390-7E41-40BF-A7F8-D1E85EDA5A44}" dt="2022-01-10T08:20:29.072" v="750"/>
        <pc:sldMkLst>
          <pc:docMk/>
          <pc:sldMk cId="2256265757" sldId="315"/>
        </pc:sldMkLst>
        <pc:graphicFrameChg chg="mod modGraphic">
          <ac:chgData name="WESLEY.TBW" userId="S::wesley.tbw_gmail.com#ext#@risebcg.onmicrosoft.com::1034df62-ee6d-4b2f-8a56-03c4406a0a8a" providerId="AD" clId="Web-{D85AE390-7E41-40BF-A7F8-D1E85EDA5A44}" dt="2022-01-10T07:03:53.050" v="241" actId="20577"/>
          <ac:graphicFrameMkLst>
            <pc:docMk/>
            <pc:sldMk cId="2256265757" sldId="315"/>
            <ac:graphicFrameMk id="18" creationId="{2289CFB1-4EE4-43EC-A8B5-4E5FC402B3C5}"/>
          </ac:graphicFrameMkLst>
        </pc:graphicFrameChg>
      </pc:sldChg>
      <pc:sldChg chg="addSp delSp modSp modNotes">
        <pc:chgData name="WESLEY.TBW" userId="S::wesley.tbw_gmail.com#ext#@risebcg.onmicrosoft.com::1034df62-ee6d-4b2f-8a56-03c4406a0a8a" providerId="AD" clId="Web-{D85AE390-7E41-40BF-A7F8-D1E85EDA5A44}" dt="2022-01-10T08:42:54.034" v="771"/>
        <pc:sldMkLst>
          <pc:docMk/>
          <pc:sldMk cId="4084366951" sldId="318"/>
        </pc:sldMkLst>
        <pc:spChg chg="add mod">
          <ac:chgData name="WESLEY.TBW" userId="S::wesley.tbw_gmail.com#ext#@risebcg.onmicrosoft.com::1034df62-ee6d-4b2f-8a56-03c4406a0a8a" providerId="AD" clId="Web-{D85AE390-7E41-40BF-A7F8-D1E85EDA5A44}" dt="2022-01-10T07:25:28.464" v="264" actId="14100"/>
          <ac:spMkLst>
            <pc:docMk/>
            <pc:sldMk cId="4084366951" sldId="318"/>
            <ac:spMk id="3" creationId="{8217E3E6-EBA6-4390-8CAA-BF07F6ECED4C}"/>
          </ac:spMkLst>
        </pc:spChg>
        <pc:spChg chg="mod">
          <ac:chgData name="WESLEY.TBW" userId="S::wesley.tbw_gmail.com#ext#@risebcg.onmicrosoft.com::1034df62-ee6d-4b2f-8a56-03c4406a0a8a" providerId="AD" clId="Web-{D85AE390-7E41-40BF-A7F8-D1E85EDA5A44}" dt="2022-01-10T07:27:37.560" v="285" actId="1076"/>
          <ac:spMkLst>
            <pc:docMk/>
            <pc:sldMk cId="4084366951" sldId="318"/>
            <ac:spMk id="4" creationId="{513CAA53-13D7-4313-8D45-14F4147EA5D0}"/>
          </ac:spMkLst>
        </pc:spChg>
        <pc:spChg chg="add mod">
          <ac:chgData name="WESLEY.TBW" userId="S::wesley.tbw_gmail.com#ext#@risebcg.onmicrosoft.com::1034df62-ee6d-4b2f-8a56-03c4406a0a8a" providerId="AD" clId="Web-{D85AE390-7E41-40BF-A7F8-D1E85EDA5A44}" dt="2022-01-10T07:27:46.764" v="287" actId="14100"/>
          <ac:spMkLst>
            <pc:docMk/>
            <pc:sldMk cId="4084366951" sldId="318"/>
            <ac:spMk id="9" creationId="{A9CC2315-97DB-4A2D-A986-E4654B36B78A}"/>
          </ac:spMkLst>
        </pc:spChg>
        <pc:spChg chg="add mod">
          <ac:chgData name="WESLEY.TBW" userId="S::wesley.tbw_gmail.com#ext#@risebcg.onmicrosoft.com::1034df62-ee6d-4b2f-8a56-03c4406a0a8a" providerId="AD" clId="Web-{D85AE390-7E41-40BF-A7F8-D1E85EDA5A44}" dt="2022-01-10T07:32:30.519" v="356" actId="20577"/>
          <ac:spMkLst>
            <pc:docMk/>
            <pc:sldMk cId="4084366951" sldId="318"/>
            <ac:spMk id="11" creationId="{A6F20F02-BD7A-4398-8CBB-C5E420FA8443}"/>
          </ac:spMkLst>
        </pc:spChg>
        <pc:spChg chg="add del mod">
          <ac:chgData name="WESLEY.TBW" userId="S::wesley.tbw_gmail.com#ext#@risebcg.onmicrosoft.com::1034df62-ee6d-4b2f-8a56-03c4406a0a8a" providerId="AD" clId="Web-{D85AE390-7E41-40BF-A7F8-D1E85EDA5A44}" dt="2022-01-10T07:28:17.030" v="291"/>
          <ac:spMkLst>
            <pc:docMk/>
            <pc:sldMk cId="4084366951" sldId="318"/>
            <ac:spMk id="13" creationId="{DB01F585-4E85-4619-B369-6B1D83E61F0B}"/>
          </ac:spMkLst>
        </pc:spChg>
        <pc:cxnChg chg="add del mod">
          <ac:chgData name="WESLEY.TBW" userId="S::wesley.tbw_gmail.com#ext#@risebcg.onmicrosoft.com::1034df62-ee6d-4b2f-8a56-03c4406a0a8a" providerId="AD" clId="Web-{D85AE390-7E41-40BF-A7F8-D1E85EDA5A44}" dt="2022-01-10T07:25:53.621" v="269"/>
          <ac:cxnSpMkLst>
            <pc:docMk/>
            <pc:sldMk cId="4084366951" sldId="318"/>
            <ac:cxnSpMk id="5" creationId="{3B94711B-385A-4B30-B4C2-763F43BF49F1}"/>
          </ac:cxnSpMkLst>
        </pc:cxnChg>
        <pc:cxnChg chg="add del mod">
          <ac:chgData name="WESLEY.TBW" userId="S::wesley.tbw_gmail.com#ext#@risebcg.onmicrosoft.com::1034df62-ee6d-4b2f-8a56-03c4406a0a8a" providerId="AD" clId="Web-{D85AE390-7E41-40BF-A7F8-D1E85EDA5A44}" dt="2022-01-10T07:26:12.215" v="273"/>
          <ac:cxnSpMkLst>
            <pc:docMk/>
            <pc:sldMk cId="4084366951" sldId="318"/>
            <ac:cxnSpMk id="7" creationId="{3D1FE921-BB5C-4C6D-A3FF-09A94C47081D}"/>
          </ac:cxnSpMkLst>
        </pc:cxnChg>
        <pc:cxnChg chg="add del mod">
          <ac:chgData name="WESLEY.TBW" userId="S::wesley.tbw_gmail.com#ext#@risebcg.onmicrosoft.com::1034df62-ee6d-4b2f-8a56-03c4406a0a8a" providerId="AD" clId="Web-{D85AE390-7E41-40BF-A7F8-D1E85EDA5A44}" dt="2022-01-10T07:26:59.513" v="278"/>
          <ac:cxnSpMkLst>
            <pc:docMk/>
            <pc:sldMk cId="4084366951" sldId="318"/>
            <ac:cxnSpMk id="8" creationId="{A1F88323-C31C-49AF-8E88-B4F6BB2D81E3}"/>
          </ac:cxnSpMkLst>
        </pc:cxnChg>
      </pc:sldChg>
      <pc:sldChg chg="addAnim delAnim modAnim">
        <pc:chgData name="WESLEY.TBW" userId="S::wesley.tbw_gmail.com#ext#@risebcg.onmicrosoft.com::1034df62-ee6d-4b2f-8a56-03c4406a0a8a" providerId="AD" clId="Web-{D85AE390-7E41-40BF-A7F8-D1E85EDA5A44}" dt="2022-01-10T09:48:19.945" v="853"/>
        <pc:sldMkLst>
          <pc:docMk/>
          <pc:sldMk cId="2316358039" sldId="325"/>
        </pc:sldMkLst>
      </pc:sldChg>
      <pc:sldChg chg="addAnim modAnim">
        <pc:chgData name="WESLEY.TBW" userId="S::wesley.tbw_gmail.com#ext#@risebcg.onmicrosoft.com::1034df62-ee6d-4b2f-8a56-03c4406a0a8a" providerId="AD" clId="Web-{D85AE390-7E41-40BF-A7F8-D1E85EDA5A44}" dt="2022-01-10T09:47:36.350" v="850"/>
        <pc:sldMkLst>
          <pc:docMk/>
          <pc:sldMk cId="2160415509" sldId="326"/>
        </pc:sldMkLst>
      </pc:sldChg>
      <pc:sldChg chg="addSp modSp modNotes">
        <pc:chgData name="WESLEY.TBW" userId="S::wesley.tbw_gmail.com#ext#@risebcg.onmicrosoft.com::1034df62-ee6d-4b2f-8a56-03c4406a0a8a" providerId="AD" clId="Web-{D85AE390-7E41-40BF-A7F8-D1E85EDA5A44}" dt="2022-01-10T09:38:39.915" v="835" actId="1076"/>
        <pc:sldMkLst>
          <pc:docMk/>
          <pc:sldMk cId="1249418479" sldId="334"/>
        </pc:sldMkLst>
        <pc:spChg chg="add mod">
          <ac:chgData name="WESLEY.TBW" userId="S::wesley.tbw_gmail.com#ext#@risebcg.onmicrosoft.com::1034df62-ee6d-4b2f-8a56-03c4406a0a8a" providerId="AD" clId="Web-{D85AE390-7E41-40BF-A7F8-D1E85EDA5A44}" dt="2022-01-10T09:38:29.634" v="830" actId="20577"/>
          <ac:spMkLst>
            <pc:docMk/>
            <pc:sldMk cId="1249418479" sldId="334"/>
            <ac:spMk id="10" creationId="{D34D6A7A-78CE-4CCE-9DC5-BD86F4FD8AC4}"/>
          </ac:spMkLst>
        </pc:spChg>
        <pc:spChg chg="add mod">
          <ac:chgData name="WESLEY.TBW" userId="S::wesley.tbw_gmail.com#ext#@risebcg.onmicrosoft.com::1034df62-ee6d-4b2f-8a56-03c4406a0a8a" providerId="AD" clId="Web-{D85AE390-7E41-40BF-A7F8-D1E85EDA5A44}" dt="2022-01-10T09:38:39.915" v="835" actId="1076"/>
          <ac:spMkLst>
            <pc:docMk/>
            <pc:sldMk cId="1249418479" sldId="334"/>
            <ac:spMk id="16" creationId="{9A8FC709-A485-422C-BA50-F810E51C8CD2}"/>
          </ac:spMkLst>
        </pc:spChg>
      </pc:sldChg>
      <pc:sldChg chg="addSp modSp">
        <pc:chgData name="WESLEY.TBW" userId="S::wesley.tbw_gmail.com#ext#@risebcg.onmicrosoft.com::1034df62-ee6d-4b2f-8a56-03c4406a0a8a" providerId="AD" clId="Web-{D85AE390-7E41-40BF-A7F8-D1E85EDA5A44}" dt="2022-01-10T09:47:11.287" v="848" actId="1076"/>
        <pc:sldMkLst>
          <pc:docMk/>
          <pc:sldMk cId="3391215681" sldId="339"/>
        </pc:sldMkLst>
        <pc:spChg chg="mod">
          <ac:chgData name="WESLEY.TBW" userId="S::wesley.tbw_gmail.com#ext#@risebcg.onmicrosoft.com::1034df62-ee6d-4b2f-8a56-03c4406a0a8a" providerId="AD" clId="Web-{D85AE390-7E41-40BF-A7F8-D1E85EDA5A44}" dt="2022-01-10T09:44:57.659" v="837" actId="1076"/>
          <ac:spMkLst>
            <pc:docMk/>
            <pc:sldMk cId="3391215681" sldId="339"/>
            <ac:spMk id="47" creationId="{B72F6C48-B470-4163-9AC9-2982A10656DA}"/>
          </ac:spMkLst>
        </pc:spChg>
        <pc:grpChg chg="add mod">
          <ac:chgData name="WESLEY.TBW" userId="S::wesley.tbw_gmail.com#ext#@risebcg.onmicrosoft.com::1034df62-ee6d-4b2f-8a56-03c4406a0a8a" providerId="AD" clId="Web-{D85AE390-7E41-40BF-A7F8-D1E85EDA5A44}" dt="2022-01-10T09:46:42.521" v="842" actId="1076"/>
          <ac:grpSpMkLst>
            <pc:docMk/>
            <pc:sldMk cId="3391215681" sldId="339"/>
            <ac:grpSpMk id="45" creationId="{8DAC9C6C-086A-4E16-A310-6100E5979C46}"/>
          </ac:grpSpMkLst>
        </pc:grpChg>
        <pc:grpChg chg="add mod">
          <ac:chgData name="WESLEY.TBW" userId="S::wesley.tbw_gmail.com#ext#@risebcg.onmicrosoft.com::1034df62-ee6d-4b2f-8a56-03c4406a0a8a" providerId="AD" clId="Web-{D85AE390-7E41-40BF-A7F8-D1E85EDA5A44}" dt="2022-01-10T09:47:09.115" v="847" actId="1076"/>
          <ac:grpSpMkLst>
            <pc:docMk/>
            <pc:sldMk cId="3391215681" sldId="339"/>
            <ac:grpSpMk id="46" creationId="{4ABE6692-7EE9-44C2-9397-CB90DBA38CB3}"/>
          </ac:grpSpMkLst>
        </pc:grpChg>
        <pc:grpChg chg="add mod">
          <ac:chgData name="WESLEY.TBW" userId="S::wesley.tbw_gmail.com#ext#@risebcg.onmicrosoft.com::1034df62-ee6d-4b2f-8a56-03c4406a0a8a" providerId="AD" clId="Web-{D85AE390-7E41-40BF-A7F8-D1E85EDA5A44}" dt="2022-01-10T09:47:11.287" v="848" actId="1076"/>
          <ac:grpSpMkLst>
            <pc:docMk/>
            <pc:sldMk cId="3391215681" sldId="339"/>
            <ac:grpSpMk id="70" creationId="{1C6C7C9E-B94C-40CE-A89F-A87214022882}"/>
          </ac:grpSpMkLst>
        </pc:grpChg>
      </pc:sldChg>
      <pc:sldChg chg="modSp modNotes">
        <pc:chgData name="WESLEY.TBW" userId="S::wesley.tbw_gmail.com#ext#@risebcg.onmicrosoft.com::1034df62-ee6d-4b2f-8a56-03c4406a0a8a" providerId="AD" clId="Web-{D85AE390-7E41-40BF-A7F8-D1E85EDA5A44}" dt="2022-01-10T08:01:07.019" v="377" actId="1076"/>
        <pc:sldMkLst>
          <pc:docMk/>
          <pc:sldMk cId="4159389698" sldId="342"/>
        </pc:sldMkLst>
        <pc:spChg chg="mod">
          <ac:chgData name="WESLEY.TBW" userId="S::wesley.tbw_gmail.com#ext#@risebcg.onmicrosoft.com::1034df62-ee6d-4b2f-8a56-03c4406a0a8a" providerId="AD" clId="Web-{D85AE390-7E41-40BF-A7F8-D1E85EDA5A44}" dt="2022-01-10T08:01:07.019" v="377" actId="1076"/>
          <ac:spMkLst>
            <pc:docMk/>
            <pc:sldMk cId="4159389698" sldId="342"/>
            <ac:spMk id="23" creationId="{41AFB02C-DB44-4F3C-812B-7D52A88090A6}"/>
          </ac:spMkLst>
        </pc:spChg>
      </pc:sldChg>
      <pc:sldChg chg="new">
        <pc:chgData name="WESLEY.TBW" userId="S::wesley.tbw_gmail.com#ext#@risebcg.onmicrosoft.com::1034df62-ee6d-4b2f-8a56-03c4406a0a8a" providerId="AD" clId="Web-{D85AE390-7E41-40BF-A7F8-D1E85EDA5A44}" dt="2022-01-10T08:42:56.081" v="772"/>
        <pc:sldMkLst>
          <pc:docMk/>
          <pc:sldMk cId="1067422059" sldId="372"/>
        </pc:sldMkLst>
      </pc:sldChg>
      <pc:sldChg chg="delSp modSp">
        <pc:chgData name="WESLEY.TBW" userId="S::wesley.tbw_gmail.com#ext#@risebcg.onmicrosoft.com::1034df62-ee6d-4b2f-8a56-03c4406a0a8a" providerId="AD" clId="Web-{D85AE390-7E41-40BF-A7F8-D1E85EDA5A44}" dt="2022-01-10T08:44:03.676" v="787" actId="1076"/>
        <pc:sldMkLst>
          <pc:docMk/>
          <pc:sldMk cId="3904895489" sldId="373"/>
        </pc:sldMkLst>
        <pc:spChg chg="mod">
          <ac:chgData name="WESLEY.TBW" userId="S::wesley.tbw_gmail.com#ext#@risebcg.onmicrosoft.com::1034df62-ee6d-4b2f-8a56-03c4406a0a8a" providerId="AD" clId="Web-{D85AE390-7E41-40BF-A7F8-D1E85EDA5A44}" dt="2022-01-10T08:44:03.676" v="787" actId="1076"/>
          <ac:spMkLst>
            <pc:docMk/>
            <pc:sldMk cId="3904895489" sldId="373"/>
            <ac:spMk id="2" creationId="{BCD53564-10CC-4ECC-9580-BB1CFAAE4632}"/>
          </ac:spMkLst>
        </pc:spChg>
        <pc:spChg chg="del">
          <ac:chgData name="WESLEY.TBW" userId="S::wesley.tbw_gmail.com#ext#@risebcg.onmicrosoft.com::1034df62-ee6d-4b2f-8a56-03c4406a0a8a" providerId="AD" clId="Web-{D85AE390-7E41-40BF-A7F8-D1E85EDA5A44}" dt="2022-01-10T08:43:58.364" v="784"/>
          <ac:spMkLst>
            <pc:docMk/>
            <pc:sldMk cId="3904895489" sldId="373"/>
            <ac:spMk id="3" creationId="{0525AA1D-6C37-4E65-82C3-B6D9FA5B86E8}"/>
          </ac:spMkLst>
        </pc:spChg>
      </pc:sldChg>
      <pc:sldChg chg="delSp modSp new">
        <pc:chgData name="WESLEY.TBW" userId="S::wesley.tbw_gmail.com#ext#@risebcg.onmicrosoft.com::1034df62-ee6d-4b2f-8a56-03c4406a0a8a" providerId="AD" clId="Web-{D85AE390-7E41-40BF-A7F8-D1E85EDA5A44}" dt="2022-01-10T08:44:11.239" v="790" actId="14100"/>
        <pc:sldMkLst>
          <pc:docMk/>
          <pc:sldMk cId="1525880247" sldId="374"/>
        </pc:sldMkLst>
        <pc:spChg chg="mod">
          <ac:chgData name="WESLEY.TBW" userId="S::wesley.tbw_gmail.com#ext#@risebcg.onmicrosoft.com::1034df62-ee6d-4b2f-8a56-03c4406a0a8a" providerId="AD" clId="Web-{D85AE390-7E41-40BF-A7F8-D1E85EDA5A44}" dt="2022-01-10T08:44:11.239" v="790" actId="14100"/>
          <ac:spMkLst>
            <pc:docMk/>
            <pc:sldMk cId="1525880247" sldId="374"/>
            <ac:spMk id="2" creationId="{A39A4D9F-6CD8-4720-9D48-D7FA06F4715B}"/>
          </ac:spMkLst>
        </pc:spChg>
        <pc:spChg chg="del">
          <ac:chgData name="WESLEY.TBW" userId="S::wesley.tbw_gmail.com#ext#@risebcg.onmicrosoft.com::1034df62-ee6d-4b2f-8a56-03c4406a0a8a" providerId="AD" clId="Web-{D85AE390-7E41-40BF-A7F8-D1E85EDA5A44}" dt="2022-01-10T08:44:06.864" v="788"/>
          <ac:spMkLst>
            <pc:docMk/>
            <pc:sldMk cId="1525880247" sldId="374"/>
            <ac:spMk id="3" creationId="{E67C9140-7DD7-49FE-8C79-DF8CC373CFEC}"/>
          </ac:spMkLst>
        </pc:spChg>
      </pc:sldChg>
    </pc:docChg>
  </pc:docChgLst>
  <pc:docChgLst>
    <pc:chgData name="WESLEY.TBW" userId="S::wesley.tbw_gmail.com#ext#@risebcg.onmicrosoft.com::1034df62-ee6d-4b2f-8a56-03c4406a0a8a" providerId="AD" clId="Web-{0830A887-6C9B-4A6F-BE69-9E706E02DBA8}"/>
    <pc:docChg chg="modSld">
      <pc:chgData name="WESLEY.TBW" userId="S::wesley.tbw_gmail.com#ext#@risebcg.onmicrosoft.com::1034df62-ee6d-4b2f-8a56-03c4406a0a8a" providerId="AD" clId="Web-{0830A887-6C9B-4A6F-BE69-9E706E02DBA8}" dt="2022-01-10T05:12:22.313" v="417"/>
      <pc:docMkLst>
        <pc:docMk/>
      </pc:docMkLst>
      <pc:sldChg chg="modNotes">
        <pc:chgData name="WESLEY.TBW" userId="S::wesley.tbw_gmail.com#ext#@risebcg.onmicrosoft.com::1034df62-ee6d-4b2f-8a56-03c4406a0a8a" providerId="AD" clId="Web-{0830A887-6C9B-4A6F-BE69-9E706E02DBA8}" dt="2022-01-10T05:10:28.279" v="372"/>
        <pc:sldMkLst>
          <pc:docMk/>
          <pc:sldMk cId="4084366951" sldId="318"/>
        </pc:sldMkLst>
      </pc:sldChg>
      <pc:sldChg chg="modSp modNotes">
        <pc:chgData name="WESLEY.TBW" userId="S::wesley.tbw_gmail.com#ext#@risebcg.onmicrosoft.com::1034df62-ee6d-4b2f-8a56-03c4406a0a8a" providerId="AD" clId="Web-{0830A887-6C9B-4A6F-BE69-9E706E02DBA8}" dt="2022-01-10T05:12:22.313" v="417"/>
        <pc:sldMkLst>
          <pc:docMk/>
          <pc:sldMk cId="4159389698" sldId="342"/>
        </pc:sldMkLst>
        <pc:spChg chg="mod">
          <ac:chgData name="WESLEY.TBW" userId="S::wesley.tbw_gmail.com#ext#@risebcg.onmicrosoft.com::1034df62-ee6d-4b2f-8a56-03c4406a0a8a" providerId="AD" clId="Web-{0830A887-6C9B-4A6F-BE69-9E706E02DBA8}" dt="2022-01-10T04:33:30.319" v="4" actId="20577"/>
          <ac:spMkLst>
            <pc:docMk/>
            <pc:sldMk cId="4159389698" sldId="342"/>
            <ac:spMk id="23" creationId="{41AFB02C-DB44-4F3C-812B-7D52A88090A6}"/>
          </ac:spMkLst>
        </pc:spChg>
        <pc:spChg chg="mod">
          <ac:chgData name="WESLEY.TBW" userId="S::wesley.tbw_gmail.com#ext#@risebcg.onmicrosoft.com::1034df62-ee6d-4b2f-8a56-03c4406a0a8a" providerId="AD" clId="Web-{0830A887-6C9B-4A6F-BE69-9E706E02DBA8}" dt="2022-01-10T04:35:15.868" v="43" actId="20577"/>
          <ac:spMkLst>
            <pc:docMk/>
            <pc:sldMk cId="4159389698" sldId="342"/>
            <ac:spMk id="27" creationId="{DCFD4D3C-02DB-4109-AE1E-9B21315DB83D}"/>
          </ac:spMkLst>
        </pc:spChg>
      </pc:sldChg>
    </pc:docChg>
  </pc:docChgLst>
  <pc:docChgLst>
    <pc:chgData name="EVELYNSM.YONG" userId="S::evelynsm.yong_gmail.com#ext#@risebcg.onmicrosoft.com::67a27a72-2420-4d38-b745-316a53f4b99a" providerId="AD" clId="Web-{B3D6AD75-5C2B-429E-AEC9-A42607A550DC}"/>
    <pc:docChg chg="addSld delSld modSld">
      <pc:chgData name="EVELYNSM.YONG" userId="S::evelynsm.yong_gmail.com#ext#@risebcg.onmicrosoft.com::67a27a72-2420-4d38-b745-316a53f4b99a" providerId="AD" clId="Web-{B3D6AD75-5C2B-429E-AEC9-A42607A550DC}" dt="2022-01-10T05:20:00.031" v="4764" actId="14100"/>
      <pc:docMkLst>
        <pc:docMk/>
      </pc:docMkLst>
      <pc:sldChg chg="addSp modSp">
        <pc:chgData name="EVELYNSM.YONG" userId="S::evelynsm.yong_gmail.com#ext#@risebcg.onmicrosoft.com::67a27a72-2420-4d38-b745-316a53f4b99a" providerId="AD" clId="Web-{B3D6AD75-5C2B-429E-AEC9-A42607A550DC}" dt="2022-01-10T05:20:00.031" v="4764" actId="14100"/>
        <pc:sldMkLst>
          <pc:docMk/>
          <pc:sldMk cId="2160415509" sldId="326"/>
        </pc:sldMkLst>
        <pc:spChg chg="mod">
          <ac:chgData name="EVELYNSM.YONG" userId="S::evelynsm.yong_gmail.com#ext#@risebcg.onmicrosoft.com::67a27a72-2420-4d38-b745-316a53f4b99a" providerId="AD" clId="Web-{B3D6AD75-5C2B-429E-AEC9-A42607A550DC}" dt="2022-01-10T05:17:45.763" v="4760"/>
          <ac:spMkLst>
            <pc:docMk/>
            <pc:sldMk cId="2160415509" sldId="326"/>
            <ac:spMk id="3" creationId="{A06E2C6C-AA2D-4DBA-B448-457815C4CAD3}"/>
          </ac:spMkLst>
        </pc:spChg>
        <pc:spChg chg="mod">
          <ac:chgData name="EVELYNSM.YONG" userId="S::evelynsm.yong_gmail.com#ext#@risebcg.onmicrosoft.com::67a27a72-2420-4d38-b745-316a53f4b99a" providerId="AD" clId="Web-{B3D6AD75-5C2B-429E-AEC9-A42607A550DC}" dt="2022-01-10T04:45:29.279" v="4706" actId="1076"/>
          <ac:spMkLst>
            <pc:docMk/>
            <pc:sldMk cId="2160415509" sldId="326"/>
            <ac:spMk id="4" creationId="{215644EC-E1A2-4B5F-BA53-79EB189605EC}"/>
          </ac:spMkLst>
        </pc:spChg>
        <pc:spChg chg="mod">
          <ac:chgData name="EVELYNSM.YONG" userId="S::evelynsm.yong_gmail.com#ext#@risebcg.onmicrosoft.com::67a27a72-2420-4d38-b745-316a53f4b99a" providerId="AD" clId="Web-{B3D6AD75-5C2B-429E-AEC9-A42607A550DC}" dt="2022-01-10T05:20:00.031" v="4764" actId="14100"/>
          <ac:spMkLst>
            <pc:docMk/>
            <pc:sldMk cId="2160415509" sldId="326"/>
            <ac:spMk id="7" creationId="{EE72E06D-8EAE-4242-B1FE-DB5A60BCC68C}"/>
          </ac:spMkLst>
        </pc:spChg>
        <pc:spChg chg="add mod">
          <ac:chgData name="EVELYNSM.YONG" userId="S::evelynsm.yong_gmail.com#ext#@risebcg.onmicrosoft.com::67a27a72-2420-4d38-b745-316a53f4b99a" providerId="AD" clId="Web-{B3D6AD75-5C2B-429E-AEC9-A42607A550DC}" dt="2022-01-10T05:17:57.670" v="4762"/>
          <ac:spMkLst>
            <pc:docMk/>
            <pc:sldMk cId="2160415509" sldId="326"/>
            <ac:spMk id="10" creationId="{F403E5AA-CAF9-429E-AF8A-D6CAE94AE104}"/>
          </ac:spMkLst>
        </pc:spChg>
        <pc:spChg chg="add mod">
          <ac:chgData name="EVELYNSM.YONG" userId="S::evelynsm.yong_gmail.com#ext#@risebcg.onmicrosoft.com::67a27a72-2420-4d38-b745-316a53f4b99a" providerId="AD" clId="Web-{B3D6AD75-5C2B-429E-AEC9-A42607A550DC}" dt="2022-01-10T05:17:54.982" v="4761"/>
          <ac:spMkLst>
            <pc:docMk/>
            <pc:sldMk cId="2160415509" sldId="326"/>
            <ac:spMk id="12" creationId="{E8C9A459-A11F-4DB3-BC61-E14A0DC903CB}"/>
          </ac:spMkLst>
        </pc:spChg>
        <pc:picChg chg="mod">
          <ac:chgData name="EVELYNSM.YONG" userId="S::evelynsm.yong_gmail.com#ext#@risebcg.onmicrosoft.com::67a27a72-2420-4d38-b745-316a53f4b99a" providerId="AD" clId="Web-{B3D6AD75-5C2B-429E-AEC9-A42607A550DC}" dt="2022-01-10T04:45:25.810" v="4705" actId="14100"/>
          <ac:picMkLst>
            <pc:docMk/>
            <pc:sldMk cId="2160415509" sldId="326"/>
            <ac:picMk id="6" creationId="{BFC712DB-8FC7-4ACB-AF6D-D3D38470A4A2}"/>
          </ac:picMkLst>
        </pc:picChg>
      </pc:sldChg>
      <pc:sldChg chg="modSp modNotes">
        <pc:chgData name="EVELYNSM.YONG" userId="S::evelynsm.yong_gmail.com#ext#@risebcg.onmicrosoft.com::67a27a72-2420-4d38-b745-316a53f4b99a" providerId="AD" clId="Web-{B3D6AD75-5C2B-429E-AEC9-A42607A550DC}" dt="2022-01-10T04:39:30.930" v="4661"/>
        <pc:sldMkLst>
          <pc:docMk/>
          <pc:sldMk cId="2652119032" sldId="335"/>
        </pc:sldMkLst>
        <pc:spChg chg="mod">
          <ac:chgData name="EVELYNSM.YONG" userId="S::evelynsm.yong_gmail.com#ext#@risebcg.onmicrosoft.com::67a27a72-2420-4d38-b745-316a53f4b99a" providerId="AD" clId="Web-{B3D6AD75-5C2B-429E-AEC9-A42607A550DC}" dt="2022-01-10T02:38:51.956" v="863" actId="14100"/>
          <ac:spMkLst>
            <pc:docMk/>
            <pc:sldMk cId="2652119032" sldId="335"/>
            <ac:spMk id="11" creationId="{48FA4A77-CB38-4FAD-81FC-6F8B79C30622}"/>
          </ac:spMkLst>
        </pc:spChg>
        <pc:spChg chg="mod">
          <ac:chgData name="EVELYNSM.YONG" userId="S::evelynsm.yong_gmail.com#ext#@risebcg.onmicrosoft.com::67a27a72-2420-4d38-b745-316a53f4b99a" providerId="AD" clId="Web-{B3D6AD75-5C2B-429E-AEC9-A42607A550DC}" dt="2022-01-10T02:57:17.239" v="1616" actId="20577"/>
          <ac:spMkLst>
            <pc:docMk/>
            <pc:sldMk cId="2652119032" sldId="335"/>
            <ac:spMk id="28" creationId="{81280F0F-FE44-494C-A80A-92667A5E77F5}"/>
          </ac:spMkLst>
        </pc:spChg>
      </pc:sldChg>
      <pc:sldChg chg="modSp modNotes">
        <pc:chgData name="EVELYNSM.YONG" userId="S::evelynsm.yong_gmail.com#ext#@risebcg.onmicrosoft.com::67a27a72-2420-4d38-b745-316a53f4b99a" providerId="AD" clId="Web-{B3D6AD75-5C2B-429E-AEC9-A42607A550DC}" dt="2022-01-10T04:47:47.016" v="4755" actId="14100"/>
        <pc:sldMkLst>
          <pc:docMk/>
          <pc:sldMk cId="3391215681" sldId="339"/>
        </pc:sldMkLst>
        <pc:spChg chg="mod">
          <ac:chgData name="EVELYNSM.YONG" userId="S::evelynsm.yong_gmail.com#ext#@risebcg.onmicrosoft.com::67a27a72-2420-4d38-b745-316a53f4b99a" providerId="AD" clId="Web-{B3D6AD75-5C2B-429E-AEC9-A42607A550DC}" dt="2022-01-10T04:47:47.016" v="4755"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B3D6AD75-5C2B-429E-AEC9-A42607A550DC}" dt="2022-01-10T03:16:38.039" v="2677" actId="20577"/>
          <ac:spMkLst>
            <pc:docMk/>
            <pc:sldMk cId="3391215681" sldId="339"/>
            <ac:spMk id="124" creationId="{C91A31F3-23FB-421F-8BC0-FD3F5F868D91}"/>
          </ac:spMkLst>
        </pc:spChg>
        <pc:spChg chg="mod">
          <ac:chgData name="EVELYNSM.YONG" userId="S::evelynsm.yong_gmail.com#ext#@risebcg.onmicrosoft.com::67a27a72-2420-4d38-b745-316a53f4b99a" providerId="AD" clId="Web-{B3D6AD75-5C2B-429E-AEC9-A42607A550DC}" dt="2022-01-10T04:47:27" v="4750" actId="14100"/>
          <ac:spMkLst>
            <pc:docMk/>
            <pc:sldMk cId="3391215681" sldId="339"/>
            <ac:spMk id="160" creationId="{129EBF9C-3DCE-40EC-8CFB-1CB201B252BE}"/>
          </ac:spMkLst>
        </pc:spChg>
        <pc:spChg chg="mod">
          <ac:chgData name="EVELYNSM.YONG" userId="S::evelynsm.yong_gmail.com#ext#@risebcg.onmicrosoft.com::67a27a72-2420-4d38-b745-316a53f4b99a" providerId="AD" clId="Web-{B3D6AD75-5C2B-429E-AEC9-A42607A550DC}" dt="2022-01-10T04:47:44.109" v="4754" actId="14100"/>
          <ac:spMkLst>
            <pc:docMk/>
            <pc:sldMk cId="3391215681" sldId="339"/>
            <ac:spMk id="229" creationId="{8CB63044-5013-4EFC-B813-E8D7A72DE7FF}"/>
          </ac:spMkLst>
        </pc:spChg>
      </pc:sldChg>
      <pc:sldChg chg="modSp">
        <pc:chgData name="EVELYNSM.YONG" userId="S::evelynsm.yong_gmail.com#ext#@risebcg.onmicrosoft.com::67a27a72-2420-4d38-b745-316a53f4b99a" providerId="AD" clId="Web-{B3D6AD75-5C2B-429E-AEC9-A42607A550DC}" dt="2022-01-10T04:24:21.275" v="4634" actId="1076"/>
        <pc:sldMkLst>
          <pc:docMk/>
          <pc:sldMk cId="4159389698" sldId="342"/>
        </pc:sldMkLst>
        <pc:grpChg chg="mod">
          <ac:chgData name="EVELYNSM.YONG" userId="S::evelynsm.yong_gmail.com#ext#@risebcg.onmicrosoft.com::67a27a72-2420-4d38-b745-316a53f4b99a" providerId="AD" clId="Web-{B3D6AD75-5C2B-429E-AEC9-A42607A550DC}" dt="2022-01-10T04:24:21.275" v="4634" actId="1076"/>
          <ac:grpSpMkLst>
            <pc:docMk/>
            <pc:sldMk cId="4159389698" sldId="342"/>
            <ac:grpSpMk id="3" creationId="{3C647BC6-D86E-4327-A9F1-DF57F60FD454}"/>
          </ac:grpSpMkLst>
        </pc:grpChg>
      </pc:sldChg>
      <pc:sldChg chg="modNotes">
        <pc:chgData name="EVELYNSM.YONG" userId="S::evelynsm.yong_gmail.com#ext#@risebcg.onmicrosoft.com::67a27a72-2420-4d38-b745-316a53f4b99a" providerId="AD" clId="Web-{B3D6AD75-5C2B-429E-AEC9-A42607A550DC}" dt="2022-01-10T04:43:44.574" v="4670"/>
        <pc:sldMkLst>
          <pc:docMk/>
          <pc:sldMk cId="1894441827" sldId="358"/>
        </pc:sldMkLst>
      </pc:sldChg>
      <pc:sldChg chg="addSp delSp modSp modNotes">
        <pc:chgData name="EVELYNSM.YONG" userId="S::evelynsm.yong_gmail.com#ext#@risebcg.onmicrosoft.com::67a27a72-2420-4d38-b745-316a53f4b99a" providerId="AD" clId="Web-{B3D6AD75-5C2B-429E-AEC9-A42607A550DC}" dt="2022-01-10T04:48:09.797" v="4759" actId="1076"/>
        <pc:sldMkLst>
          <pc:docMk/>
          <pc:sldMk cId="3531645893" sldId="360"/>
        </pc:sldMkLst>
        <pc:spChg chg="mod ord">
          <ac:chgData name="EVELYNSM.YONG" userId="S::evelynsm.yong_gmail.com#ext#@risebcg.onmicrosoft.com::67a27a72-2420-4d38-b745-316a53f4b99a" providerId="AD" clId="Web-{B3D6AD75-5C2B-429E-AEC9-A42607A550DC}" dt="2022-01-10T04:48:09.797" v="4759" actId="1076"/>
          <ac:spMkLst>
            <pc:docMk/>
            <pc:sldMk cId="3531645893" sldId="360"/>
            <ac:spMk id="5" creationId="{1999C9A4-8C8B-43CC-B77D-B8C58575D4DE}"/>
          </ac:spMkLst>
        </pc:spChg>
        <pc:spChg chg="mod">
          <ac:chgData name="EVELYNSM.YONG" userId="S::evelynsm.yong_gmail.com#ext#@risebcg.onmicrosoft.com::67a27a72-2420-4d38-b745-316a53f4b99a" providerId="AD" clId="Web-{B3D6AD75-5C2B-429E-AEC9-A42607A550DC}" dt="2022-01-10T02:30:07.432" v="310" actId="1076"/>
          <ac:spMkLst>
            <pc:docMk/>
            <pc:sldMk cId="3531645893" sldId="360"/>
            <ac:spMk id="9" creationId="{E3C0B427-9E9D-47EC-AFD8-3D8F22D59FE9}"/>
          </ac:spMkLst>
        </pc:spChg>
        <pc:spChg chg="mod">
          <ac:chgData name="EVELYNSM.YONG" userId="S::evelynsm.yong_gmail.com#ext#@risebcg.onmicrosoft.com::67a27a72-2420-4d38-b745-316a53f4b99a" providerId="AD" clId="Web-{B3D6AD75-5C2B-429E-AEC9-A42607A550DC}" dt="2022-01-10T02:17:37.670" v="22" actId="1076"/>
          <ac:spMkLst>
            <pc:docMk/>
            <pc:sldMk cId="3531645893" sldId="360"/>
            <ac:spMk id="15" creationId="{EA512C5C-B61E-4EDE-A2CD-308BFA2920DA}"/>
          </ac:spMkLst>
        </pc:spChg>
        <pc:spChg chg="add mod ord">
          <ac:chgData name="EVELYNSM.YONG" userId="S::evelynsm.yong_gmail.com#ext#@risebcg.onmicrosoft.com::67a27a72-2420-4d38-b745-316a53f4b99a" providerId="AD" clId="Web-{B3D6AD75-5C2B-429E-AEC9-A42607A550DC}" dt="2022-01-10T04:47:58.985" v="4756" actId="1076"/>
          <ac:spMkLst>
            <pc:docMk/>
            <pc:sldMk cId="3531645893" sldId="360"/>
            <ac:spMk id="18" creationId="{83C6C493-EE06-4670-B1AB-91DD5175B793}"/>
          </ac:spMkLst>
        </pc:spChg>
        <pc:spChg chg="mod">
          <ac:chgData name="EVELYNSM.YONG" userId="S::evelynsm.yong_gmail.com#ext#@risebcg.onmicrosoft.com::67a27a72-2420-4d38-b745-316a53f4b99a" providerId="AD" clId="Web-{B3D6AD75-5C2B-429E-AEC9-A42607A550DC}" dt="2022-01-10T04:48:04.688" v="4757" actId="1076"/>
          <ac:spMkLst>
            <pc:docMk/>
            <pc:sldMk cId="3531645893" sldId="360"/>
            <ac:spMk id="19" creationId="{950C64E7-6661-4AEA-8068-716AD3707128}"/>
          </ac:spMkLst>
        </pc:spChg>
        <pc:spChg chg="mod">
          <ac:chgData name="EVELYNSM.YONG" userId="S::evelynsm.yong_gmail.com#ext#@risebcg.onmicrosoft.com::67a27a72-2420-4d38-b745-316a53f4b99a" providerId="AD" clId="Web-{B3D6AD75-5C2B-429E-AEC9-A42607A550DC}" dt="2022-01-10T02:30:04.151" v="306"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B3D6AD75-5C2B-429E-AEC9-A42607A550DC}" dt="2022-01-10T02:30:04.166" v="307" actId="1076"/>
          <ac:spMkLst>
            <pc:docMk/>
            <pc:sldMk cId="3531645893" sldId="360"/>
            <ac:spMk id="22" creationId="{31E2D2F4-E28C-4B52-9C47-E50AD68240D1}"/>
          </ac:spMkLst>
        </pc:spChg>
        <pc:spChg chg="mod">
          <ac:chgData name="EVELYNSM.YONG" userId="S::evelynsm.yong_gmail.com#ext#@risebcg.onmicrosoft.com::67a27a72-2420-4d38-b745-316a53f4b99a" providerId="AD" clId="Web-{B3D6AD75-5C2B-429E-AEC9-A42607A550DC}" dt="2022-01-10T02:30:04.182" v="308"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B3D6AD75-5C2B-429E-AEC9-A42607A550DC}" dt="2022-01-10T02:30:04.182" v="309" actId="1076"/>
          <ac:spMkLst>
            <pc:docMk/>
            <pc:sldMk cId="3531645893" sldId="360"/>
            <ac:spMk id="24" creationId="{CEFC4E90-FB9D-4E3E-86B1-5712D705BC99}"/>
          </ac:spMkLst>
        </pc:spChg>
        <pc:spChg chg="add mod ord">
          <ac:chgData name="EVELYNSM.YONG" userId="S::evelynsm.yong_gmail.com#ext#@risebcg.onmicrosoft.com::67a27a72-2420-4d38-b745-316a53f4b99a" providerId="AD" clId="Web-{B3D6AD75-5C2B-429E-AEC9-A42607A550DC}" dt="2022-01-10T02:29:26.072" v="295"/>
          <ac:spMkLst>
            <pc:docMk/>
            <pc:sldMk cId="3531645893" sldId="360"/>
            <ac:spMk id="25" creationId="{F2D8752B-46CF-482C-9E54-5BF79DDF6A1D}"/>
          </ac:spMkLst>
        </pc:spChg>
        <pc:grpChg chg="del">
          <ac:chgData name="EVELYNSM.YONG" userId="S::evelynsm.yong_gmail.com#ext#@risebcg.onmicrosoft.com::67a27a72-2420-4d38-b745-316a53f4b99a" providerId="AD" clId="Web-{B3D6AD75-5C2B-429E-AEC9-A42607A550DC}" dt="2022-01-10T02:14:14.354" v="6"/>
          <ac:grpSpMkLst>
            <pc:docMk/>
            <pc:sldMk cId="3531645893" sldId="360"/>
            <ac:grpSpMk id="4" creationId="{61B1B73A-FFA9-4E13-9361-87D7D06DE48D}"/>
          </ac:grpSpMkLst>
        </pc:grpChg>
        <pc:picChg chg="add mod ord">
          <ac:chgData name="EVELYNSM.YONG" userId="S::evelynsm.yong_gmail.com#ext#@risebcg.onmicrosoft.com::67a27a72-2420-4d38-b745-316a53f4b99a" providerId="AD" clId="Web-{B3D6AD75-5C2B-429E-AEC9-A42607A550DC}" dt="2022-01-10T02:29:25.838" v="285"/>
          <ac:picMkLst>
            <pc:docMk/>
            <pc:sldMk cId="3531645893" sldId="360"/>
            <ac:picMk id="2" creationId="{D0C0A48E-43AC-4647-84A5-DAC9A37420F4}"/>
          </ac:picMkLst>
        </pc:picChg>
        <pc:picChg chg="del mod">
          <ac:chgData name="EVELYNSM.YONG" userId="S::evelynsm.yong_gmail.com#ext#@risebcg.onmicrosoft.com::67a27a72-2420-4d38-b745-316a53f4b99a" providerId="AD" clId="Web-{B3D6AD75-5C2B-429E-AEC9-A42607A550DC}" dt="2022-01-10T02:17:29.233" v="16"/>
          <ac:picMkLst>
            <pc:docMk/>
            <pc:sldMk cId="3531645893" sldId="360"/>
            <ac:picMk id="3" creationId="{D5FC14B1-A770-4155-9046-CEE54A573DFA}"/>
          </ac:picMkLst>
        </pc:picChg>
        <pc:picChg chg="add mod ord">
          <ac:chgData name="EVELYNSM.YONG" userId="S::evelynsm.yong_gmail.com#ext#@risebcg.onmicrosoft.com::67a27a72-2420-4d38-b745-316a53f4b99a" providerId="AD" clId="Web-{B3D6AD75-5C2B-429E-AEC9-A42607A550DC}" dt="2022-01-10T04:48:09.782" v="4758" actId="1076"/>
          <ac:picMkLst>
            <pc:docMk/>
            <pc:sldMk cId="3531645893" sldId="360"/>
            <ac:picMk id="6" creationId="{EF6EAEC0-2A43-4308-9642-0428A55E7A00}"/>
          </ac:picMkLst>
        </pc:picChg>
        <pc:picChg chg="add del">
          <ac:chgData name="EVELYNSM.YONG" userId="S::evelynsm.yong_gmail.com#ext#@risebcg.onmicrosoft.com::67a27a72-2420-4d38-b745-316a53f4b99a" providerId="AD" clId="Web-{B3D6AD75-5C2B-429E-AEC9-A42607A550DC}" dt="2022-01-10T02:28:19.258" v="269"/>
          <ac:picMkLst>
            <pc:docMk/>
            <pc:sldMk cId="3531645893" sldId="360"/>
            <ac:picMk id="21" creationId="{F2A86FE3-E47A-47C4-B0E5-37857BCB76CC}"/>
          </ac:picMkLst>
        </pc:picChg>
      </pc:sldChg>
      <pc:sldChg chg="modSp add del">
        <pc:chgData name="EVELYNSM.YONG" userId="S::evelynsm.yong_gmail.com#ext#@risebcg.onmicrosoft.com::67a27a72-2420-4d38-b745-316a53f4b99a" providerId="AD" clId="Web-{B3D6AD75-5C2B-429E-AEC9-A42607A550DC}" dt="2022-01-10T02:18:32.437" v="25"/>
        <pc:sldMkLst>
          <pc:docMk/>
          <pc:sldMk cId="1849268947" sldId="369"/>
        </pc:sldMkLst>
        <pc:picChg chg="mod">
          <ac:chgData name="EVELYNSM.YONG" userId="S::evelynsm.yong_gmail.com#ext#@risebcg.onmicrosoft.com::67a27a72-2420-4d38-b745-316a53f4b99a" providerId="AD" clId="Web-{B3D6AD75-5C2B-429E-AEC9-A42607A550DC}" dt="2022-01-10T02:17:14.560" v="11" actId="1076"/>
          <ac:picMkLst>
            <pc:docMk/>
            <pc:sldMk cId="1849268947" sldId="369"/>
            <ac:picMk id="4" creationId="{4488F9E0-EA70-4592-AD9F-77C2FC333B9B}"/>
          </ac:picMkLst>
        </pc:picChg>
      </pc:sldChg>
    </pc:docChg>
  </pc:docChgLst>
  <pc:docChgLst>
    <pc:chgData name="COSMOSFREN" userId="S::cosmosfren_yahoo.com#ext#@risebcg.onmicrosoft.com::5462f5f4-f618-47aa-abd8-fd504e002570" providerId="AD" clId="Web-{E4B2E7FC-2D8C-47A5-B122-28DCEC8EB684}"/>
    <pc:docChg chg="addSld delSld modSld">
      <pc:chgData name="COSMOSFREN" userId="S::cosmosfren_yahoo.com#ext#@risebcg.onmicrosoft.com::5462f5f4-f618-47aa-abd8-fd504e002570" providerId="AD" clId="Web-{E4B2E7FC-2D8C-47A5-B122-28DCEC8EB684}" dt="2022-01-10T09:48:50.502" v="94"/>
      <pc:docMkLst>
        <pc:docMk/>
      </pc:docMkLst>
      <pc:sldChg chg="modNotes">
        <pc:chgData name="COSMOSFREN" userId="S::cosmosfren_yahoo.com#ext#@risebcg.onmicrosoft.com::5462f5f4-f618-47aa-abd8-fd504e002570" providerId="AD" clId="Web-{E4B2E7FC-2D8C-47A5-B122-28DCEC8EB684}" dt="2022-01-10T09:48:50.502" v="94"/>
        <pc:sldMkLst>
          <pc:docMk/>
          <pc:sldMk cId="3944993204" sldId="370"/>
        </pc:sldMkLst>
      </pc:sldChg>
      <pc:sldChg chg="new del">
        <pc:chgData name="COSMOSFREN" userId="S::cosmosfren_yahoo.com#ext#@risebcg.onmicrosoft.com::5462f5f4-f618-47aa-abd8-fd504e002570" providerId="AD" clId="Web-{E4B2E7FC-2D8C-47A5-B122-28DCEC8EB684}" dt="2022-01-10T09:43:01.260" v="46"/>
        <pc:sldMkLst>
          <pc:docMk/>
          <pc:sldMk cId="2292648902" sldId="381"/>
        </pc:sldMkLst>
      </pc:sldChg>
      <pc:sldChg chg="modSp add replId modNotes">
        <pc:chgData name="COSMOSFREN" userId="S::cosmosfren_yahoo.com#ext#@risebcg.onmicrosoft.com::5462f5f4-f618-47aa-abd8-fd504e002570" providerId="AD" clId="Web-{E4B2E7FC-2D8C-47A5-B122-28DCEC8EB684}" dt="2022-01-10T09:43:17.932" v="70"/>
        <pc:sldMkLst>
          <pc:docMk/>
          <pc:sldMk cId="1638764710" sldId="382"/>
        </pc:sldMkLst>
        <pc:spChg chg="mod">
          <ac:chgData name="COSMOSFREN" userId="S::cosmosfren_yahoo.com#ext#@risebcg.onmicrosoft.com::5462f5f4-f618-47aa-abd8-fd504e002570" providerId="AD" clId="Web-{E4B2E7FC-2D8C-47A5-B122-28DCEC8EB684}" dt="2022-01-10T09:43:10.963" v="69" actId="20577"/>
          <ac:spMkLst>
            <pc:docMk/>
            <pc:sldMk cId="1638764710" sldId="382"/>
            <ac:spMk id="2" creationId="{D2AC414D-C8F9-4E07-9D41-5AAD3600E4CA}"/>
          </ac:spMkLst>
        </pc:spChg>
      </pc:sldChg>
    </pc:docChg>
  </pc:docChgLst>
  <pc:docChgLst>
    <pc:chgData name="COSMOSFREN" userId="S::cosmosfren_yahoo.com#ext#@risebcg.onmicrosoft.com::5462f5f4-f618-47aa-abd8-fd504e002570" providerId="AD" clId="Web-{3625D650-8AB3-4B5A-869D-8C0B5837D27D}"/>
    <pc:docChg chg="modSld">
      <pc:chgData name="COSMOSFREN" userId="S::cosmosfren_yahoo.com#ext#@risebcg.onmicrosoft.com::5462f5f4-f618-47aa-abd8-fd504e002570" providerId="AD" clId="Web-{3625D650-8AB3-4B5A-869D-8C0B5837D27D}" dt="2022-01-12T09:58:35.258" v="406"/>
      <pc:docMkLst>
        <pc:docMk/>
      </pc:docMkLst>
      <pc:sldChg chg="modNotes">
        <pc:chgData name="COSMOSFREN" userId="S::cosmosfren_yahoo.com#ext#@risebcg.onmicrosoft.com::5462f5f4-f618-47aa-abd8-fd504e002570" providerId="AD" clId="Web-{3625D650-8AB3-4B5A-869D-8C0B5837D27D}" dt="2022-01-12T09:58:35.258" v="406"/>
        <pc:sldMkLst>
          <pc:docMk/>
          <pc:sldMk cId="2316358039" sldId="325"/>
        </pc:sldMkLst>
      </pc:sldChg>
      <pc:sldChg chg="modNotes">
        <pc:chgData name="COSMOSFREN" userId="S::cosmosfren_yahoo.com#ext#@risebcg.onmicrosoft.com::5462f5f4-f618-47aa-abd8-fd504e002570" providerId="AD" clId="Web-{3625D650-8AB3-4B5A-869D-8C0B5837D27D}" dt="2022-01-12T09:57:58.914" v="402"/>
        <pc:sldMkLst>
          <pc:docMk/>
          <pc:sldMk cId="2160415509" sldId="326"/>
        </pc:sldMkLst>
      </pc:sldChg>
      <pc:sldChg chg="modNotes">
        <pc:chgData name="COSMOSFREN" userId="S::cosmosfren_yahoo.com#ext#@risebcg.onmicrosoft.com::5462f5f4-f618-47aa-abd8-fd504e002570" providerId="AD" clId="Web-{3625D650-8AB3-4B5A-869D-8C0B5837D27D}" dt="2022-01-12T09:55:52.880" v="399"/>
        <pc:sldMkLst>
          <pc:docMk/>
          <pc:sldMk cId="1894441827" sldId="358"/>
        </pc:sldMkLst>
      </pc:sldChg>
      <pc:sldChg chg="modNotes">
        <pc:chgData name="COSMOSFREN" userId="S::cosmosfren_yahoo.com#ext#@risebcg.onmicrosoft.com::5462f5f4-f618-47aa-abd8-fd504e002570" providerId="AD" clId="Web-{3625D650-8AB3-4B5A-869D-8C0B5837D27D}" dt="2022-01-12T09:56:19.818" v="401"/>
        <pc:sldMkLst>
          <pc:docMk/>
          <pc:sldMk cId="531825606" sldId="383"/>
        </pc:sldMkLst>
      </pc:sldChg>
      <pc:sldChg chg="modSp modNotes">
        <pc:chgData name="COSMOSFREN" userId="S::cosmosfren_yahoo.com#ext#@risebcg.onmicrosoft.com::5462f5f4-f618-47aa-abd8-fd504e002570" providerId="AD" clId="Web-{3625D650-8AB3-4B5A-869D-8C0B5837D27D}" dt="2022-01-12T09:52:49.112" v="325"/>
        <pc:sldMkLst>
          <pc:docMk/>
          <pc:sldMk cId="59737257" sldId="391"/>
        </pc:sldMkLst>
        <pc:spChg chg="mod">
          <ac:chgData name="COSMOSFREN" userId="S::cosmosfren_yahoo.com#ext#@risebcg.onmicrosoft.com::5462f5f4-f618-47aa-abd8-fd504e002570" providerId="AD" clId="Web-{3625D650-8AB3-4B5A-869D-8C0B5837D27D}" dt="2022-01-12T09:48:56.061" v="186" actId="20577"/>
          <ac:spMkLst>
            <pc:docMk/>
            <pc:sldMk cId="59737257" sldId="391"/>
            <ac:spMk id="160" creationId="{129EBF9C-3DCE-40EC-8CFB-1CB201B252BE}"/>
          </ac:spMkLst>
        </pc:spChg>
      </pc:sldChg>
    </pc:docChg>
  </pc:docChgLst>
  <pc:docChgLst>
    <pc:chgData name="EVELYNSM.YONG" userId="S::evelynsm.yong_gmail.com#ext#@risebcg.onmicrosoft.com::67a27a72-2420-4d38-b745-316a53f4b99a" providerId="AD" clId="Web-{D34622ED-5D20-46FD-8FBB-2439B7EBD9E0}"/>
    <pc:docChg chg="modSld">
      <pc:chgData name="EVELYNSM.YONG" userId="S::evelynsm.yong_gmail.com#ext#@risebcg.onmicrosoft.com::67a27a72-2420-4d38-b745-316a53f4b99a" providerId="AD" clId="Web-{D34622ED-5D20-46FD-8FBB-2439B7EBD9E0}" dt="2022-01-11T13:53:11.558" v="107" actId="1076"/>
      <pc:docMkLst>
        <pc:docMk/>
      </pc:docMkLst>
      <pc:sldChg chg="modSp">
        <pc:chgData name="EVELYNSM.YONG" userId="S::evelynsm.yong_gmail.com#ext#@risebcg.onmicrosoft.com::67a27a72-2420-4d38-b745-316a53f4b99a" providerId="AD" clId="Web-{D34622ED-5D20-46FD-8FBB-2439B7EBD9E0}" dt="2022-01-11T13:50:34.164" v="75" actId="14100"/>
        <pc:sldMkLst>
          <pc:docMk/>
          <pc:sldMk cId="4084366951" sldId="318"/>
        </pc:sldMkLst>
        <pc:spChg chg="mod">
          <ac:chgData name="EVELYNSM.YONG" userId="S::evelynsm.yong_gmail.com#ext#@risebcg.onmicrosoft.com::67a27a72-2420-4d38-b745-316a53f4b99a" providerId="AD" clId="Web-{D34622ED-5D20-46FD-8FBB-2439B7EBD9E0}" dt="2022-01-11T13:50:34.164" v="75" actId="14100"/>
          <ac:spMkLst>
            <pc:docMk/>
            <pc:sldMk cId="4084366951" sldId="318"/>
            <ac:spMk id="32" creationId="{41E099E5-F68B-4939-9F7A-B9CC2E5F333A}"/>
          </ac:spMkLst>
        </pc:spChg>
      </pc:sldChg>
      <pc:sldChg chg="modSp">
        <pc:chgData name="EVELYNSM.YONG" userId="S::evelynsm.yong_gmail.com#ext#@risebcg.onmicrosoft.com::67a27a72-2420-4d38-b745-316a53f4b99a" providerId="AD" clId="Web-{D34622ED-5D20-46FD-8FBB-2439B7EBD9E0}" dt="2022-01-11T13:30:26.141" v="1" actId="1076"/>
        <pc:sldMkLst>
          <pc:docMk/>
          <pc:sldMk cId="2316358039" sldId="325"/>
        </pc:sldMkLst>
        <pc:spChg chg="mod">
          <ac:chgData name="EVELYNSM.YONG" userId="S::evelynsm.yong_gmail.com#ext#@risebcg.onmicrosoft.com::67a27a72-2420-4d38-b745-316a53f4b99a" providerId="AD" clId="Web-{D34622ED-5D20-46FD-8FBB-2439B7EBD9E0}" dt="2022-01-11T13:30:26.141" v="1" actId="1076"/>
          <ac:spMkLst>
            <pc:docMk/>
            <pc:sldMk cId="2316358039" sldId="325"/>
            <ac:spMk id="6" creationId="{208993E5-B009-40A8-BC89-286E139EA12D}"/>
          </ac:spMkLst>
        </pc:spChg>
        <pc:spChg chg="mod">
          <ac:chgData name="EVELYNSM.YONG" userId="S::evelynsm.yong_gmail.com#ext#@risebcg.onmicrosoft.com::67a27a72-2420-4d38-b745-316a53f4b99a" providerId="AD" clId="Web-{D34622ED-5D20-46FD-8FBB-2439B7EBD9E0}" dt="2022-01-11T13:26:20.011" v="0" actId="1076"/>
          <ac:spMkLst>
            <pc:docMk/>
            <pc:sldMk cId="2316358039" sldId="325"/>
            <ac:spMk id="7" creationId="{94FE5CC3-34DB-4563-9D82-37FBEA4166BF}"/>
          </ac:spMkLst>
        </pc:spChg>
      </pc:sldChg>
      <pc:sldChg chg="delSp modSp">
        <pc:chgData name="EVELYNSM.YONG" userId="S::evelynsm.yong_gmail.com#ext#@risebcg.onmicrosoft.com::67a27a72-2420-4d38-b745-316a53f4b99a" providerId="AD" clId="Web-{D34622ED-5D20-46FD-8FBB-2439B7EBD9E0}" dt="2022-01-11T13:53:11.558" v="107" actId="1076"/>
        <pc:sldMkLst>
          <pc:docMk/>
          <pc:sldMk cId="416007632" sldId="327"/>
        </pc:sldMkLst>
        <pc:spChg chg="mod">
          <ac:chgData name="EVELYNSM.YONG" userId="S::evelynsm.yong_gmail.com#ext#@risebcg.onmicrosoft.com::67a27a72-2420-4d38-b745-316a53f4b99a" providerId="AD" clId="Web-{D34622ED-5D20-46FD-8FBB-2439B7EBD9E0}" dt="2022-01-11T13:53:11.386" v="92" actId="1076"/>
          <ac:spMkLst>
            <pc:docMk/>
            <pc:sldMk cId="416007632" sldId="327"/>
            <ac:spMk id="4" creationId="{F2781DB5-90E2-4089-BA07-2F83778C3F07}"/>
          </ac:spMkLst>
        </pc:spChg>
        <pc:spChg chg="mod">
          <ac:chgData name="EVELYNSM.YONG" userId="S::evelynsm.yong_gmail.com#ext#@risebcg.onmicrosoft.com::67a27a72-2420-4d38-b745-316a53f4b99a" providerId="AD" clId="Web-{D34622ED-5D20-46FD-8FBB-2439B7EBD9E0}" dt="2022-01-11T13:53:11.402" v="93" actId="1076"/>
          <ac:spMkLst>
            <pc:docMk/>
            <pc:sldMk cId="416007632" sldId="327"/>
            <ac:spMk id="5" creationId="{AA1B9715-B961-42AF-90C9-79A87F13D1B8}"/>
          </ac:spMkLst>
        </pc:spChg>
        <pc:spChg chg="del">
          <ac:chgData name="EVELYNSM.YONG" userId="S::evelynsm.yong_gmail.com#ext#@risebcg.onmicrosoft.com::67a27a72-2420-4d38-b745-316a53f4b99a" providerId="AD" clId="Web-{D34622ED-5D20-46FD-8FBB-2439B7EBD9E0}" dt="2022-01-11T13:44:33.360" v="31"/>
          <ac:spMkLst>
            <pc:docMk/>
            <pc:sldMk cId="416007632" sldId="327"/>
            <ac:spMk id="6" creationId="{6CA25206-3BE3-4E79-8C96-46DAFD7B69D2}"/>
          </ac:spMkLst>
        </pc:spChg>
        <pc:spChg chg="mod">
          <ac:chgData name="EVELYNSM.YONG" userId="S::evelynsm.yong_gmail.com#ext#@risebcg.onmicrosoft.com::67a27a72-2420-4d38-b745-316a53f4b99a" providerId="AD" clId="Web-{D34622ED-5D20-46FD-8FBB-2439B7EBD9E0}" dt="2022-01-11T13:53:11.433" v="96" actId="1076"/>
          <ac:spMkLst>
            <pc:docMk/>
            <pc:sldMk cId="416007632" sldId="327"/>
            <ac:spMk id="10" creationId="{6903E9BF-EB5F-4900-A7C3-8046B86C2485}"/>
          </ac:spMkLst>
        </pc:spChg>
        <pc:spChg chg="mod">
          <ac:chgData name="EVELYNSM.YONG" userId="S::evelynsm.yong_gmail.com#ext#@risebcg.onmicrosoft.com::67a27a72-2420-4d38-b745-316a53f4b99a" providerId="AD" clId="Web-{D34622ED-5D20-46FD-8FBB-2439B7EBD9E0}" dt="2022-01-11T13:53:11.448" v="97" actId="1076"/>
          <ac:spMkLst>
            <pc:docMk/>
            <pc:sldMk cId="416007632" sldId="327"/>
            <ac:spMk id="11" creationId="{41409821-5DD4-4CE8-8A23-90E7022670FB}"/>
          </ac:spMkLst>
        </pc:spChg>
        <pc:spChg chg="mod">
          <ac:chgData name="EVELYNSM.YONG" userId="S::evelynsm.yong_gmail.com#ext#@risebcg.onmicrosoft.com::67a27a72-2420-4d38-b745-316a53f4b99a" providerId="AD" clId="Web-{D34622ED-5D20-46FD-8FBB-2439B7EBD9E0}" dt="2022-01-11T13:53:11.464" v="99" actId="1076"/>
          <ac:spMkLst>
            <pc:docMk/>
            <pc:sldMk cId="416007632" sldId="327"/>
            <ac:spMk id="17" creationId="{A342E76F-CBEB-45ED-8735-A83C6AD5D2B1}"/>
          </ac:spMkLst>
        </pc:spChg>
        <pc:spChg chg="del">
          <ac:chgData name="EVELYNSM.YONG" userId="S::evelynsm.yong_gmail.com#ext#@risebcg.onmicrosoft.com::67a27a72-2420-4d38-b745-316a53f4b99a" providerId="AD" clId="Web-{D34622ED-5D20-46FD-8FBB-2439B7EBD9E0}" dt="2022-01-11T13:44:33.360" v="30"/>
          <ac:spMkLst>
            <pc:docMk/>
            <pc:sldMk cId="416007632" sldId="327"/>
            <ac:spMk id="22" creationId="{87580016-E389-450C-958C-6E89567535CD}"/>
          </ac:spMkLst>
        </pc:spChg>
        <pc:spChg chg="del">
          <ac:chgData name="EVELYNSM.YONG" userId="S::evelynsm.yong_gmail.com#ext#@risebcg.onmicrosoft.com::67a27a72-2420-4d38-b745-316a53f4b99a" providerId="AD" clId="Web-{D34622ED-5D20-46FD-8FBB-2439B7EBD9E0}" dt="2022-01-11T13:44:33.360" v="29"/>
          <ac:spMkLst>
            <pc:docMk/>
            <pc:sldMk cId="416007632" sldId="327"/>
            <ac:spMk id="25" creationId="{4F00FEED-ACFF-47D3-8E58-F08ED7F24610}"/>
          </ac:spMkLst>
        </pc:spChg>
        <pc:spChg chg="del">
          <ac:chgData name="EVELYNSM.YONG" userId="S::evelynsm.yong_gmail.com#ext#@risebcg.onmicrosoft.com::67a27a72-2420-4d38-b745-316a53f4b99a" providerId="AD" clId="Web-{D34622ED-5D20-46FD-8FBB-2439B7EBD9E0}" dt="2022-01-11T13:44:33.360" v="28"/>
          <ac:spMkLst>
            <pc:docMk/>
            <pc:sldMk cId="416007632" sldId="327"/>
            <ac:spMk id="26" creationId="{F04C1B96-7F9F-4AB4-AD9F-542885D1602E}"/>
          </ac:spMkLst>
        </pc:spChg>
        <pc:spChg chg="del">
          <ac:chgData name="EVELYNSM.YONG" userId="S::evelynsm.yong_gmail.com#ext#@risebcg.onmicrosoft.com::67a27a72-2420-4d38-b745-316a53f4b99a" providerId="AD" clId="Web-{D34622ED-5D20-46FD-8FBB-2439B7EBD9E0}" dt="2022-01-11T13:44:33.360" v="27"/>
          <ac:spMkLst>
            <pc:docMk/>
            <pc:sldMk cId="416007632" sldId="327"/>
            <ac:spMk id="27" creationId="{577D7F9D-08BA-4DFF-A12D-161776ED3231}"/>
          </ac:spMkLst>
        </pc:spChg>
        <pc:spChg chg="mod">
          <ac:chgData name="EVELYNSM.YONG" userId="S::evelynsm.yong_gmail.com#ext#@risebcg.onmicrosoft.com::67a27a72-2420-4d38-b745-316a53f4b99a" providerId="AD" clId="Web-{D34622ED-5D20-46FD-8FBB-2439B7EBD9E0}" dt="2022-01-11T13:53:11.511" v="103" actId="1076"/>
          <ac:spMkLst>
            <pc:docMk/>
            <pc:sldMk cId="416007632" sldId="327"/>
            <ac:spMk id="32" creationId="{19924F50-9976-41A7-88C1-641F1509CEE0}"/>
          </ac:spMkLst>
        </pc:spChg>
        <pc:spChg chg="mod">
          <ac:chgData name="EVELYNSM.YONG" userId="S::evelynsm.yong_gmail.com#ext#@risebcg.onmicrosoft.com::67a27a72-2420-4d38-b745-316a53f4b99a" providerId="AD" clId="Web-{D34622ED-5D20-46FD-8FBB-2439B7EBD9E0}" dt="2022-01-11T13:53:11.527" v="104" actId="1076"/>
          <ac:spMkLst>
            <pc:docMk/>
            <pc:sldMk cId="416007632" sldId="327"/>
            <ac:spMk id="33" creationId="{C9B7F08E-D629-47BA-B28C-40CF22219379}"/>
          </ac:spMkLst>
        </pc:spChg>
        <pc:spChg chg="mod">
          <ac:chgData name="EVELYNSM.YONG" userId="S::evelynsm.yong_gmail.com#ext#@risebcg.onmicrosoft.com::67a27a72-2420-4d38-b745-316a53f4b99a" providerId="AD" clId="Web-{D34622ED-5D20-46FD-8FBB-2439B7EBD9E0}" dt="2022-01-11T13:53:11.527" v="105" actId="1076"/>
          <ac:spMkLst>
            <pc:docMk/>
            <pc:sldMk cId="416007632" sldId="327"/>
            <ac:spMk id="34" creationId="{06D19D76-F677-4AAA-AA6A-7CA4B9DAF436}"/>
          </ac:spMkLst>
        </pc:spChg>
        <pc:spChg chg="mod">
          <ac:chgData name="EVELYNSM.YONG" userId="S::evelynsm.yong_gmail.com#ext#@risebcg.onmicrosoft.com::67a27a72-2420-4d38-b745-316a53f4b99a" providerId="AD" clId="Web-{D34622ED-5D20-46FD-8FBB-2439B7EBD9E0}" dt="2022-01-11T13:53:11.542" v="106" actId="1076"/>
          <ac:spMkLst>
            <pc:docMk/>
            <pc:sldMk cId="416007632" sldId="327"/>
            <ac:spMk id="35" creationId="{E20AAA99-395B-4009-AF86-AC6B211B7758}"/>
          </ac:spMkLst>
        </pc:spChg>
        <pc:spChg chg="mod">
          <ac:chgData name="EVELYNSM.YONG" userId="S::evelynsm.yong_gmail.com#ext#@risebcg.onmicrosoft.com::67a27a72-2420-4d38-b745-316a53f4b99a" providerId="AD" clId="Web-{D34622ED-5D20-46FD-8FBB-2439B7EBD9E0}" dt="2022-01-11T13:53:11.558" v="107" actId="1076"/>
          <ac:spMkLst>
            <pc:docMk/>
            <pc:sldMk cId="416007632" sldId="327"/>
            <ac:spMk id="37" creationId="{1AA86EF9-D1F2-488E-902B-9C25FAEFDD52}"/>
          </ac:spMkLst>
        </pc:spChg>
        <pc:picChg chg="mod">
          <ac:chgData name="EVELYNSM.YONG" userId="S::evelynsm.yong_gmail.com#ext#@risebcg.onmicrosoft.com::67a27a72-2420-4d38-b745-316a53f4b99a" providerId="AD" clId="Web-{D34622ED-5D20-46FD-8FBB-2439B7EBD9E0}" dt="2022-01-11T13:53:11.417" v="94" actId="1076"/>
          <ac:picMkLst>
            <pc:docMk/>
            <pc:sldMk cId="416007632" sldId="327"/>
            <ac:picMk id="7" creationId="{52098F02-F658-4E94-9501-A14F3E2D33CE}"/>
          </ac:picMkLst>
        </pc:picChg>
        <pc:picChg chg="mod">
          <ac:chgData name="EVELYNSM.YONG" userId="S::evelynsm.yong_gmail.com#ext#@risebcg.onmicrosoft.com::67a27a72-2420-4d38-b745-316a53f4b99a" providerId="AD" clId="Web-{D34622ED-5D20-46FD-8FBB-2439B7EBD9E0}" dt="2022-01-11T13:53:11.417" v="95" actId="1076"/>
          <ac:picMkLst>
            <pc:docMk/>
            <pc:sldMk cId="416007632" sldId="327"/>
            <ac:picMk id="9" creationId="{A7D42D63-B632-4192-9AF9-4120DFBDAFF3}"/>
          </ac:picMkLst>
        </pc:picChg>
        <pc:picChg chg="mod">
          <ac:chgData name="EVELYNSM.YONG" userId="S::evelynsm.yong_gmail.com#ext#@risebcg.onmicrosoft.com::67a27a72-2420-4d38-b745-316a53f4b99a" providerId="AD" clId="Web-{D34622ED-5D20-46FD-8FBB-2439B7EBD9E0}" dt="2022-01-11T13:53:11.448" v="98"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D34622ED-5D20-46FD-8FBB-2439B7EBD9E0}" dt="2022-01-11T13:53:11.480" v="100" actId="1076"/>
          <ac:picMkLst>
            <pc:docMk/>
            <pc:sldMk cId="416007632" sldId="327"/>
            <ac:picMk id="21" creationId="{270AFCE7-EE99-4D66-AE35-2E7503A46115}"/>
          </ac:picMkLst>
        </pc:picChg>
        <pc:picChg chg="mod">
          <ac:chgData name="EVELYNSM.YONG" userId="S::evelynsm.yong_gmail.com#ext#@risebcg.onmicrosoft.com::67a27a72-2420-4d38-b745-316a53f4b99a" providerId="AD" clId="Web-{D34622ED-5D20-46FD-8FBB-2439B7EBD9E0}" dt="2022-01-11T13:53:11.495" v="101" actId="1076"/>
          <ac:picMkLst>
            <pc:docMk/>
            <pc:sldMk cId="416007632" sldId="327"/>
            <ac:picMk id="23" creationId="{AEC9587C-3F93-4045-ACEB-A1A4AFB0FC11}"/>
          </ac:picMkLst>
        </pc:picChg>
        <pc:picChg chg="mod">
          <ac:chgData name="EVELYNSM.YONG" userId="S::evelynsm.yong_gmail.com#ext#@risebcg.onmicrosoft.com::67a27a72-2420-4d38-b745-316a53f4b99a" providerId="AD" clId="Web-{D34622ED-5D20-46FD-8FBB-2439B7EBD9E0}" dt="2022-01-11T13:53:11.495" v="102" actId="1076"/>
          <ac:picMkLst>
            <pc:docMk/>
            <pc:sldMk cId="416007632" sldId="327"/>
            <ac:picMk id="29" creationId="{4F6899D5-3109-4938-82DA-041DEA46D7EF}"/>
          </ac:picMkLst>
        </pc:picChg>
      </pc:sldChg>
    </pc:docChg>
  </pc:docChgLst>
  <pc:docChgLst>
    <pc:chgData name="WONGYONGLIN91" userId="S::wongyonglin91_gmail.com#ext#@risebcg.onmicrosoft.com::b2d94f93-e580-4f0d-9dda-2138509d25ae" providerId="AD" clId="Web-{940EB643-9B50-475F-88A8-837EF9A8DAAB}"/>
    <pc:docChg chg="modSld">
      <pc:chgData name="WONGYONGLIN91" userId="S::wongyonglin91_gmail.com#ext#@risebcg.onmicrosoft.com::b2d94f93-e580-4f0d-9dda-2138509d25ae" providerId="AD" clId="Web-{940EB643-9B50-475F-88A8-837EF9A8DAAB}" dt="2022-01-13T04:48:20.152" v="52"/>
      <pc:docMkLst>
        <pc:docMk/>
      </pc:docMkLst>
      <pc:sldChg chg="modNotes">
        <pc:chgData name="WONGYONGLIN91" userId="S::wongyonglin91_gmail.com#ext#@risebcg.onmicrosoft.com::b2d94f93-e580-4f0d-9dda-2138509d25ae" providerId="AD" clId="Web-{940EB643-9B50-475F-88A8-837EF9A8DAAB}" dt="2022-01-13T04:48:20.152" v="52"/>
        <pc:sldMkLst>
          <pc:docMk/>
          <pc:sldMk cId="3391215681" sldId="339"/>
        </pc:sldMkLst>
      </pc:sldChg>
    </pc:docChg>
  </pc:docChgLst>
  <pc:docChgLst>
    <pc:chgData name="EVELYNSM.YONG" userId="S::evelynsm.yong_gmail.com#ext#@risebcg.onmicrosoft.com::67a27a72-2420-4d38-b745-316a53f4b99a" providerId="AD" clId="Web-{C756623E-E047-4D85-B2E6-F6F5645BBAF1}"/>
    <pc:docChg chg="modSld">
      <pc:chgData name="EVELYNSM.YONG" userId="S::evelynsm.yong_gmail.com#ext#@risebcg.onmicrosoft.com::67a27a72-2420-4d38-b745-316a53f4b99a" providerId="AD" clId="Web-{C756623E-E047-4D85-B2E6-F6F5645BBAF1}" dt="2022-01-13T04:20:48.978" v="32" actId="14100"/>
      <pc:docMkLst>
        <pc:docMk/>
      </pc:docMkLst>
      <pc:sldChg chg="modSp">
        <pc:chgData name="EVELYNSM.YONG" userId="S::evelynsm.yong_gmail.com#ext#@risebcg.onmicrosoft.com::67a27a72-2420-4d38-b745-316a53f4b99a" providerId="AD" clId="Web-{C756623E-E047-4D85-B2E6-F6F5645BBAF1}" dt="2022-01-13T04:18:16.553" v="30" actId="14100"/>
        <pc:sldMkLst>
          <pc:docMk/>
          <pc:sldMk cId="416007632" sldId="327"/>
        </pc:sldMkLst>
        <pc:spChg chg="mod">
          <ac:chgData name="EVELYNSM.YONG" userId="S::evelynsm.yong_gmail.com#ext#@risebcg.onmicrosoft.com::67a27a72-2420-4d38-b745-316a53f4b99a" providerId="AD" clId="Web-{C756623E-E047-4D85-B2E6-F6F5645BBAF1}" dt="2022-01-13T04:17:41.052" v="27" actId="20577"/>
          <ac:spMkLst>
            <pc:docMk/>
            <pc:sldMk cId="416007632" sldId="327"/>
            <ac:spMk id="34" creationId="{06D19D76-F677-4AAA-AA6A-7CA4B9DAF436}"/>
          </ac:spMkLst>
        </pc:spChg>
        <pc:spChg chg="mod">
          <ac:chgData name="EVELYNSM.YONG" userId="S::evelynsm.yong_gmail.com#ext#@risebcg.onmicrosoft.com::67a27a72-2420-4d38-b745-316a53f4b99a" providerId="AD" clId="Web-{C756623E-E047-4D85-B2E6-F6F5645BBAF1}" dt="2022-01-13T04:18:16.553" v="30" actId="14100"/>
          <ac:spMkLst>
            <pc:docMk/>
            <pc:sldMk cId="416007632" sldId="327"/>
            <ac:spMk id="37" creationId="{1AA86EF9-D1F2-488E-902B-9C25FAEFDD52}"/>
          </ac:spMkLst>
        </pc:spChg>
      </pc:sldChg>
      <pc:sldChg chg="modSp">
        <pc:chgData name="EVELYNSM.YONG" userId="S::evelynsm.yong_gmail.com#ext#@risebcg.onmicrosoft.com::67a27a72-2420-4d38-b745-316a53f4b99a" providerId="AD" clId="Web-{C756623E-E047-4D85-B2E6-F6F5645BBAF1}" dt="2022-01-13T04:18:42.412" v="31" actId="14100"/>
        <pc:sldMkLst>
          <pc:docMk/>
          <pc:sldMk cId="3391215681" sldId="339"/>
        </pc:sldMkLst>
        <pc:spChg chg="mod">
          <ac:chgData name="EVELYNSM.YONG" userId="S::evelynsm.yong_gmail.com#ext#@risebcg.onmicrosoft.com::67a27a72-2420-4d38-b745-316a53f4b99a" providerId="AD" clId="Web-{C756623E-E047-4D85-B2E6-F6F5645BBAF1}" dt="2022-01-13T04:18:42.412" v="31" actId="14100"/>
          <ac:spMkLst>
            <pc:docMk/>
            <pc:sldMk cId="3391215681" sldId="339"/>
            <ac:spMk id="19270" creationId="{D7F98B1E-399D-4B27-B39F-F1A610F49BA9}"/>
          </ac:spMkLst>
        </pc:spChg>
      </pc:sldChg>
      <pc:sldChg chg="modSp">
        <pc:chgData name="EVELYNSM.YONG" userId="S::evelynsm.yong_gmail.com#ext#@risebcg.onmicrosoft.com::67a27a72-2420-4d38-b745-316a53f4b99a" providerId="AD" clId="Web-{C756623E-E047-4D85-B2E6-F6F5645BBAF1}" dt="2022-01-13T04:20:48.978" v="32" actId="14100"/>
        <pc:sldMkLst>
          <pc:docMk/>
          <pc:sldMk cId="59737257" sldId="391"/>
        </pc:sldMkLst>
        <pc:spChg chg="mod">
          <ac:chgData name="EVELYNSM.YONG" userId="S::evelynsm.yong_gmail.com#ext#@risebcg.onmicrosoft.com::67a27a72-2420-4d38-b745-316a53f4b99a" providerId="AD" clId="Web-{C756623E-E047-4D85-B2E6-F6F5645BBAF1}" dt="2022-01-13T04:20:48.978" v="32" actId="14100"/>
          <ac:spMkLst>
            <pc:docMk/>
            <pc:sldMk cId="59737257" sldId="391"/>
            <ac:spMk id="160" creationId="{129EBF9C-3DCE-40EC-8CFB-1CB201B252BE}"/>
          </ac:spMkLst>
        </pc:spChg>
      </pc:sldChg>
      <pc:sldChg chg="modSp">
        <pc:chgData name="EVELYNSM.YONG" userId="S::evelynsm.yong_gmail.com#ext#@risebcg.onmicrosoft.com::67a27a72-2420-4d38-b745-316a53f4b99a" providerId="AD" clId="Web-{C756623E-E047-4D85-B2E6-F6F5645BBAF1}" dt="2022-01-13T04:15:01.158" v="24" actId="1076"/>
        <pc:sldMkLst>
          <pc:docMk/>
          <pc:sldMk cId="3581566203" sldId="396"/>
        </pc:sldMkLst>
        <pc:spChg chg="mod">
          <ac:chgData name="EVELYNSM.YONG" userId="S::evelynsm.yong_gmail.com#ext#@risebcg.onmicrosoft.com::67a27a72-2420-4d38-b745-316a53f4b99a" providerId="AD" clId="Web-{C756623E-E047-4D85-B2E6-F6F5645BBAF1}" dt="2022-01-13T04:14:46.783" v="20" actId="1076"/>
          <ac:spMkLst>
            <pc:docMk/>
            <pc:sldMk cId="3581566203" sldId="396"/>
            <ac:spMk id="10" creationId="{C7E09FAF-0290-407B-B54A-2BF23284E185}"/>
          </ac:spMkLst>
        </pc:spChg>
        <pc:spChg chg="mod">
          <ac:chgData name="EVELYNSM.YONG" userId="S::evelynsm.yong_gmail.com#ext#@risebcg.onmicrosoft.com::67a27a72-2420-4d38-b745-316a53f4b99a" providerId="AD" clId="Web-{C756623E-E047-4D85-B2E6-F6F5645BBAF1}" dt="2022-01-13T04:14:46.814" v="22" actId="1076"/>
          <ac:spMkLst>
            <pc:docMk/>
            <pc:sldMk cId="3581566203" sldId="396"/>
            <ac:spMk id="11" creationId="{48FA4A77-CB38-4FAD-81FC-6F8B79C30622}"/>
          </ac:spMkLst>
        </pc:spChg>
        <pc:spChg chg="mod">
          <ac:chgData name="EVELYNSM.YONG" userId="S::evelynsm.yong_gmail.com#ext#@risebcg.onmicrosoft.com::67a27a72-2420-4d38-b745-316a53f4b99a" providerId="AD" clId="Web-{C756623E-E047-4D85-B2E6-F6F5645BBAF1}" dt="2022-01-13T04:14:49.017" v="23" actId="1076"/>
          <ac:spMkLst>
            <pc:docMk/>
            <pc:sldMk cId="3581566203" sldId="396"/>
            <ac:spMk id="12" creationId="{F05B709A-466D-402E-A9B4-4A89DE56E885}"/>
          </ac:spMkLst>
        </pc:spChg>
        <pc:picChg chg="mod">
          <ac:chgData name="EVELYNSM.YONG" userId="S::evelynsm.yong_gmail.com#ext#@risebcg.onmicrosoft.com::67a27a72-2420-4d38-b745-316a53f4b99a" providerId="AD" clId="Web-{C756623E-E047-4D85-B2E6-F6F5645BBAF1}" dt="2022-01-13T04:11:47.607" v="2" actId="1076"/>
          <ac:picMkLst>
            <pc:docMk/>
            <pc:sldMk cId="3581566203" sldId="396"/>
            <ac:picMk id="2" creationId="{6BBE8389-1D25-4379-BF1C-7067429B2BEC}"/>
          </ac:picMkLst>
        </pc:picChg>
        <pc:picChg chg="mod">
          <ac:chgData name="EVELYNSM.YONG" userId="S::evelynsm.yong_gmail.com#ext#@risebcg.onmicrosoft.com::67a27a72-2420-4d38-b745-316a53f4b99a" providerId="AD" clId="Web-{C756623E-E047-4D85-B2E6-F6F5645BBAF1}" dt="2022-01-13T04:14:46.767" v="19" actId="1076"/>
          <ac:picMkLst>
            <pc:docMk/>
            <pc:sldMk cId="3581566203" sldId="396"/>
            <ac:picMk id="39" creationId="{6D100E40-F0A0-4C81-AFE6-66AAB66A847B}"/>
          </ac:picMkLst>
        </pc:picChg>
        <pc:picChg chg="mod">
          <ac:chgData name="EVELYNSM.YONG" userId="S::evelynsm.yong_gmail.com#ext#@risebcg.onmicrosoft.com::67a27a72-2420-4d38-b745-316a53f4b99a" providerId="AD" clId="Web-{C756623E-E047-4D85-B2E6-F6F5645BBAF1}" dt="2022-01-13T04:15:01.158" v="24" actId="1076"/>
          <ac:picMkLst>
            <pc:docMk/>
            <pc:sldMk cId="3581566203" sldId="396"/>
            <ac:picMk id="42" creationId="{EEF785FC-B0A1-4C7B-971D-1AC4D6CB007F}"/>
          </ac:picMkLst>
        </pc:picChg>
      </pc:sldChg>
    </pc:docChg>
  </pc:docChgLst>
  <pc:docChgLst>
    <pc:chgData name="COSMOSFREN" userId="S::cosmosfren_yahoo.com#ext#@risebcg.onmicrosoft.com::5462f5f4-f618-47aa-abd8-fd504e002570" providerId="AD" clId="Web-{FE7A7410-B3C7-4707-853A-BB53FCF4B11C}"/>
    <pc:docChg chg="modSld sldOrd">
      <pc:chgData name="COSMOSFREN" userId="S::cosmosfren_yahoo.com#ext#@risebcg.onmicrosoft.com::5462f5f4-f618-47aa-abd8-fd504e002570" providerId="AD" clId="Web-{FE7A7410-B3C7-4707-853A-BB53FCF4B11C}" dt="2022-01-09T06:53:57.815" v="2"/>
      <pc:docMkLst>
        <pc:docMk/>
      </pc:docMkLst>
      <pc:sldChg chg="ord">
        <pc:chgData name="COSMOSFREN" userId="S::cosmosfren_yahoo.com#ext#@risebcg.onmicrosoft.com::5462f5f4-f618-47aa-abd8-fd504e002570" providerId="AD" clId="Web-{FE7A7410-B3C7-4707-853A-BB53FCF4B11C}" dt="2022-01-09T06:53:57.815" v="2"/>
        <pc:sldMkLst>
          <pc:docMk/>
          <pc:sldMk cId="1791060006" sldId="319"/>
        </pc:sldMkLst>
      </pc:sldChg>
      <pc:sldChg chg="modSp">
        <pc:chgData name="COSMOSFREN" userId="S::cosmosfren_yahoo.com#ext#@risebcg.onmicrosoft.com::5462f5f4-f618-47aa-abd8-fd504e002570" providerId="AD" clId="Web-{FE7A7410-B3C7-4707-853A-BB53FCF4B11C}" dt="2022-01-09T06:53:47.347" v="1" actId="20577"/>
        <pc:sldMkLst>
          <pc:docMk/>
          <pc:sldMk cId="2652119032" sldId="335"/>
        </pc:sldMkLst>
        <pc:spChg chg="mod">
          <ac:chgData name="COSMOSFREN" userId="S::cosmosfren_yahoo.com#ext#@risebcg.onmicrosoft.com::5462f5f4-f618-47aa-abd8-fd504e002570" providerId="AD" clId="Web-{FE7A7410-B3C7-4707-853A-BB53FCF4B11C}" dt="2022-01-09T06:53:47.347" v="1" actId="20577"/>
          <ac:spMkLst>
            <pc:docMk/>
            <pc:sldMk cId="2652119032" sldId="335"/>
            <ac:spMk id="10" creationId="{5B136050-0C52-4973-B00A-9438EBC773F2}"/>
          </ac:spMkLst>
        </pc:spChg>
      </pc:sldChg>
    </pc:docChg>
  </pc:docChgLst>
  <pc:docChgLst>
    <pc:chgData name="WONGYONGLIN91" userId="S::wongyonglin91_gmail.com#ext#@risebcg.onmicrosoft.com::b2d94f93-e580-4f0d-9dda-2138509d25ae" providerId="AD" clId="Web-{C2689611-F562-4134-AD43-73D7DCE046D6}"/>
    <pc:docChg chg="addSld modSld sldOrd">
      <pc:chgData name="WONGYONGLIN91" userId="S::wongyonglin91_gmail.com#ext#@risebcg.onmicrosoft.com::b2d94f93-e580-4f0d-9dda-2138509d25ae" providerId="AD" clId="Web-{C2689611-F562-4134-AD43-73D7DCE046D6}" dt="2022-01-10T08:43:10.639" v="75"/>
      <pc:docMkLst>
        <pc:docMk/>
      </pc:docMkLst>
      <pc:sldChg chg="ord">
        <pc:chgData name="WONGYONGLIN91" userId="S::wongyonglin91_gmail.com#ext#@risebcg.onmicrosoft.com::b2d94f93-e580-4f0d-9dda-2138509d25ae" providerId="AD" clId="Web-{C2689611-F562-4134-AD43-73D7DCE046D6}" dt="2022-01-10T05:42:31.593" v="0"/>
        <pc:sldMkLst>
          <pc:docMk/>
          <pc:sldMk cId="165658709" sldId="355"/>
        </pc:sldMkLst>
      </pc:sldChg>
      <pc:sldChg chg="modNotes">
        <pc:chgData name="WONGYONGLIN91" userId="S::wongyonglin91_gmail.com#ext#@risebcg.onmicrosoft.com::b2d94f93-e580-4f0d-9dda-2138509d25ae" providerId="AD" clId="Web-{C2689611-F562-4134-AD43-73D7DCE046D6}" dt="2022-01-10T07:03:38.546" v="57"/>
        <pc:sldMkLst>
          <pc:docMk/>
          <pc:sldMk cId="1894441827" sldId="358"/>
        </pc:sldMkLst>
      </pc:sldChg>
      <pc:sldChg chg="addSp delSp modSp add replId">
        <pc:chgData name="WONGYONGLIN91" userId="S::wongyonglin91_gmail.com#ext#@risebcg.onmicrosoft.com::b2d94f93-e580-4f0d-9dda-2138509d25ae" providerId="AD" clId="Web-{C2689611-F562-4134-AD43-73D7DCE046D6}" dt="2022-01-10T07:07:58.202" v="74" actId="20577"/>
        <pc:sldMkLst>
          <pc:docMk/>
          <pc:sldMk cId="3295041884" sldId="369"/>
        </pc:sldMkLst>
        <pc:spChg chg="mod">
          <ac:chgData name="WONGYONGLIN91" userId="S::wongyonglin91_gmail.com#ext#@risebcg.onmicrosoft.com::b2d94f93-e580-4f0d-9dda-2138509d25ae" providerId="AD" clId="Web-{C2689611-F562-4134-AD43-73D7DCE046D6}" dt="2022-01-10T06:39:37.862" v="12" actId="20577"/>
          <ac:spMkLst>
            <pc:docMk/>
            <pc:sldMk cId="3295041884" sldId="369"/>
            <ac:spMk id="4" creationId="{19708EDC-3A90-4EC0-A789-51301070BDC6}"/>
          </ac:spMkLst>
        </pc:spChg>
        <pc:spChg chg="mod">
          <ac:chgData name="WONGYONGLIN91" userId="S::wongyonglin91_gmail.com#ext#@risebcg.onmicrosoft.com::b2d94f93-e580-4f0d-9dda-2138509d25ae" providerId="AD" clId="Web-{C2689611-F562-4134-AD43-73D7DCE046D6}" dt="2022-01-10T07:07:42.936" v="63" actId="20577"/>
          <ac:spMkLst>
            <pc:docMk/>
            <pc:sldMk cId="3295041884" sldId="369"/>
            <ac:spMk id="7" creationId="{5040411B-0A54-429E-94AB-0F4DA7C1917E}"/>
          </ac:spMkLst>
        </pc:spChg>
        <pc:spChg chg="mod">
          <ac:chgData name="WONGYONGLIN91" userId="S::wongyonglin91_gmail.com#ext#@risebcg.onmicrosoft.com::b2d94f93-e580-4f0d-9dda-2138509d25ae" providerId="AD" clId="Web-{C2689611-F562-4134-AD43-73D7DCE046D6}" dt="2022-01-10T07:07:58.202" v="74" actId="20577"/>
          <ac:spMkLst>
            <pc:docMk/>
            <pc:sldMk cId="3295041884" sldId="369"/>
            <ac:spMk id="12" creationId="{844D08C5-3EE5-4BAC-9392-6CA8001CAD4E}"/>
          </ac:spMkLst>
        </pc:spChg>
        <pc:spChg chg="del">
          <ac:chgData name="WONGYONGLIN91" userId="S::wongyonglin91_gmail.com#ext#@risebcg.onmicrosoft.com::b2d94f93-e580-4f0d-9dda-2138509d25ae" providerId="AD" clId="Web-{C2689611-F562-4134-AD43-73D7DCE046D6}" dt="2022-01-10T06:39:42.331" v="14"/>
          <ac:spMkLst>
            <pc:docMk/>
            <pc:sldMk cId="3295041884" sldId="369"/>
            <ac:spMk id="13" creationId="{003E35E4-DB87-4D35-8663-60FF12DD7B69}"/>
          </ac:spMkLst>
        </pc:spChg>
        <pc:spChg chg="mod">
          <ac:chgData name="WONGYONGLIN91" userId="S::wongyonglin91_gmail.com#ext#@risebcg.onmicrosoft.com::b2d94f93-e580-4f0d-9dda-2138509d25ae" providerId="AD" clId="Web-{C2689611-F562-4134-AD43-73D7DCE046D6}" dt="2022-01-10T06:39:45.409" v="16" actId="20577"/>
          <ac:spMkLst>
            <pc:docMk/>
            <pc:sldMk cId="3295041884" sldId="369"/>
            <ac:spMk id="14" creationId="{CD92118D-BCDA-4C90-B9D2-09972FA65EE3}"/>
          </ac:spMkLst>
        </pc:spChg>
        <pc:spChg chg="del">
          <ac:chgData name="WONGYONGLIN91" userId="S::wongyonglin91_gmail.com#ext#@risebcg.onmicrosoft.com::b2d94f93-e580-4f0d-9dda-2138509d25ae" providerId="AD" clId="Web-{C2689611-F562-4134-AD43-73D7DCE046D6}" dt="2022-01-10T06:39:58.910" v="21"/>
          <ac:spMkLst>
            <pc:docMk/>
            <pc:sldMk cId="3295041884" sldId="369"/>
            <ac:spMk id="21" creationId="{46156451-ECB4-4520-895C-009D1F9E8343}"/>
          </ac:spMkLst>
        </pc:spChg>
        <pc:spChg chg="del">
          <ac:chgData name="WONGYONGLIN91" userId="S::wongyonglin91_gmail.com#ext#@risebcg.onmicrosoft.com::b2d94f93-e580-4f0d-9dda-2138509d25ae" providerId="AD" clId="Web-{C2689611-F562-4134-AD43-73D7DCE046D6}" dt="2022-01-10T06:39:56.535" v="20"/>
          <ac:spMkLst>
            <pc:docMk/>
            <pc:sldMk cId="3295041884" sldId="369"/>
            <ac:spMk id="23" creationId="{437837FB-28C6-4D49-A0CB-199C96E6B187}"/>
          </ac:spMkLst>
        </pc:spChg>
        <pc:spChg chg="mod">
          <ac:chgData name="WONGYONGLIN91" userId="S::wongyonglin91_gmail.com#ext#@risebcg.onmicrosoft.com::b2d94f93-e580-4f0d-9dda-2138509d25ae" providerId="AD" clId="Web-{C2689611-F562-4134-AD43-73D7DCE046D6}" dt="2022-01-10T07:07:15.715" v="58" actId="20577"/>
          <ac:spMkLst>
            <pc:docMk/>
            <pc:sldMk cId="3295041884" sldId="369"/>
            <ac:spMk id="25" creationId="{A72C66DB-3DFA-4DD0-BB16-94A4A31F5E94}"/>
          </ac:spMkLst>
        </pc:spChg>
        <pc:spChg chg="del">
          <ac:chgData name="WONGYONGLIN91" userId="S::wongyonglin91_gmail.com#ext#@risebcg.onmicrosoft.com::b2d94f93-e580-4f0d-9dda-2138509d25ae" providerId="AD" clId="Web-{C2689611-F562-4134-AD43-73D7DCE046D6}" dt="2022-01-10T06:39:40.752" v="13"/>
          <ac:spMkLst>
            <pc:docMk/>
            <pc:sldMk cId="3295041884" sldId="369"/>
            <ac:spMk id="26" creationId="{22DD1760-D9EC-405F-9AAD-63EC690DC033}"/>
          </ac:spMkLst>
        </pc:spChg>
        <pc:spChg chg="del mod">
          <ac:chgData name="WONGYONGLIN91" userId="S::wongyonglin91_gmail.com#ext#@risebcg.onmicrosoft.com::b2d94f93-e580-4f0d-9dda-2138509d25ae" providerId="AD" clId="Web-{C2689611-F562-4134-AD43-73D7DCE046D6}" dt="2022-01-10T06:39:53.488" v="19"/>
          <ac:spMkLst>
            <pc:docMk/>
            <pc:sldMk cId="3295041884" sldId="369"/>
            <ac:spMk id="27" creationId="{B2BF4484-08EE-483A-BA89-BC8EDC410538}"/>
          </ac:spMkLst>
        </pc:spChg>
        <pc:picChg chg="del">
          <ac:chgData name="WONGYONGLIN91" userId="S::wongyonglin91_gmail.com#ext#@risebcg.onmicrosoft.com::b2d94f93-e580-4f0d-9dda-2138509d25ae" providerId="AD" clId="Web-{C2689611-F562-4134-AD43-73D7DCE046D6}" dt="2022-01-10T06:39:15.595" v="2"/>
          <ac:picMkLst>
            <pc:docMk/>
            <pc:sldMk cId="3295041884" sldId="369"/>
            <ac:picMk id="2" creationId="{BD070F67-C046-4FA4-BC49-57AF06A15A77}"/>
          </ac:picMkLst>
        </pc:picChg>
        <pc:picChg chg="add mod">
          <ac:chgData name="WONGYONGLIN91" userId="S::wongyonglin91_gmail.com#ext#@risebcg.onmicrosoft.com::b2d94f93-e580-4f0d-9dda-2138509d25ae" providerId="AD" clId="Web-{C2689611-F562-4134-AD43-73D7DCE046D6}" dt="2022-01-10T07:07:29.654" v="61" actId="14100"/>
          <ac:picMkLst>
            <pc:docMk/>
            <pc:sldMk cId="3295041884" sldId="369"/>
            <ac:picMk id="3" creationId="{5DEAADBB-8BEB-4916-8B81-E680A113BDAC}"/>
          </ac:picMkLst>
        </pc:picChg>
        <pc:picChg chg="del">
          <ac:chgData name="WONGYONGLIN91" userId="S::wongyonglin91_gmail.com#ext#@risebcg.onmicrosoft.com::b2d94f93-e580-4f0d-9dda-2138509d25ae" providerId="AD" clId="Web-{C2689611-F562-4134-AD43-73D7DCE046D6}" dt="2022-01-10T06:39:26.892" v="3"/>
          <ac:picMkLst>
            <pc:docMk/>
            <pc:sldMk cId="3295041884" sldId="369"/>
            <ac:picMk id="11" creationId="{CD86A313-65D2-4D12-B76F-922156737525}"/>
          </ac:picMkLst>
        </pc:picChg>
        <pc:picChg chg="del">
          <ac:chgData name="WONGYONGLIN91" userId="S::wongyonglin91_gmail.com#ext#@risebcg.onmicrosoft.com::b2d94f93-e580-4f0d-9dda-2138509d25ae" providerId="AD" clId="Web-{C2689611-F562-4134-AD43-73D7DCE046D6}" dt="2022-01-10T06:39:28.377" v="4"/>
          <ac:picMkLst>
            <pc:docMk/>
            <pc:sldMk cId="3295041884" sldId="369"/>
            <ac:picMk id="15" creationId="{5D59DB1C-172C-47ED-95FD-1E3F001466CE}"/>
          </ac:picMkLst>
        </pc:picChg>
      </pc:sldChg>
      <pc:sldChg chg="new">
        <pc:chgData name="WONGYONGLIN91" userId="S::wongyonglin91_gmail.com#ext#@risebcg.onmicrosoft.com::b2d94f93-e580-4f0d-9dda-2138509d25ae" providerId="AD" clId="Web-{C2689611-F562-4134-AD43-73D7DCE046D6}" dt="2022-01-10T08:43:10.639" v="75"/>
        <pc:sldMkLst>
          <pc:docMk/>
          <pc:sldMk cId="3904895489" sldId="373"/>
        </pc:sldMkLst>
      </pc:sldChg>
    </pc:docChg>
  </pc:docChgLst>
  <pc:docChgLst>
    <pc:chgData name="EVELYNSM.YONG" userId="S::evelynsm.yong_gmail.com#ext#@risebcg.onmicrosoft.com::67a27a72-2420-4d38-b745-316a53f4b99a" providerId="AD" clId="Web-{DA0791EE-8C54-44FE-85AD-70117F2C2B72}"/>
    <pc:docChg chg="modSld sldOrd">
      <pc:chgData name="EVELYNSM.YONG" userId="S::evelynsm.yong_gmail.com#ext#@risebcg.onmicrosoft.com::67a27a72-2420-4d38-b745-316a53f4b99a" providerId="AD" clId="Web-{DA0791EE-8C54-44FE-85AD-70117F2C2B72}" dt="2022-01-09T15:56:42.735" v="2922"/>
      <pc:docMkLst>
        <pc:docMk/>
      </pc:docMkLst>
      <pc:sldChg chg="ord">
        <pc:chgData name="EVELYNSM.YONG" userId="S::evelynsm.yong_gmail.com#ext#@risebcg.onmicrosoft.com::67a27a72-2420-4d38-b745-316a53f4b99a" providerId="AD" clId="Web-{DA0791EE-8C54-44FE-85AD-70117F2C2B72}" dt="2022-01-09T09:06:43.381" v="175"/>
        <pc:sldMkLst>
          <pc:docMk/>
          <pc:sldMk cId="393760993" sldId="278"/>
        </pc:sldMkLst>
      </pc:sldChg>
      <pc:sldChg chg="modSp">
        <pc:chgData name="EVELYNSM.YONG" userId="S::evelynsm.yong_gmail.com#ext#@risebcg.onmicrosoft.com::67a27a72-2420-4d38-b745-316a53f4b99a" providerId="AD" clId="Web-{DA0791EE-8C54-44FE-85AD-70117F2C2B72}" dt="2022-01-09T09:05:14.207" v="153" actId="20577"/>
        <pc:sldMkLst>
          <pc:docMk/>
          <pc:sldMk cId="1960038968" sldId="302"/>
        </pc:sldMkLst>
        <pc:spChg chg="mod">
          <ac:chgData name="EVELYNSM.YONG" userId="S::evelynsm.yong_gmail.com#ext#@risebcg.onmicrosoft.com::67a27a72-2420-4d38-b745-316a53f4b99a" providerId="AD" clId="Web-{DA0791EE-8C54-44FE-85AD-70117F2C2B72}" dt="2022-01-09T09:05:14.207" v="153" actId="20577"/>
          <ac:spMkLst>
            <pc:docMk/>
            <pc:sldMk cId="1960038968" sldId="302"/>
            <ac:spMk id="3" creationId="{24EA6045-D161-499A-99D8-27A9B2007106}"/>
          </ac:spMkLst>
        </pc:spChg>
        <pc:spChg chg="mod">
          <ac:chgData name="EVELYNSM.YONG" userId="S::evelynsm.yong_gmail.com#ext#@risebcg.onmicrosoft.com::67a27a72-2420-4d38-b745-316a53f4b99a" providerId="AD" clId="Web-{DA0791EE-8C54-44FE-85AD-70117F2C2B72}" dt="2022-01-09T09:04:12.628" v="147" actId="1076"/>
          <ac:spMkLst>
            <pc:docMk/>
            <pc:sldMk cId="1960038968" sldId="302"/>
            <ac:spMk id="5" creationId="{22119D13-7FBA-40D8-9A7E-FC8FC5756573}"/>
          </ac:spMkLst>
        </pc:spChg>
      </pc:sldChg>
      <pc:sldChg chg="ord">
        <pc:chgData name="EVELYNSM.YONG" userId="S::evelynsm.yong_gmail.com#ext#@risebcg.onmicrosoft.com::67a27a72-2420-4d38-b745-316a53f4b99a" providerId="AD" clId="Web-{DA0791EE-8C54-44FE-85AD-70117F2C2B72}" dt="2022-01-09T09:06:01.318" v="155"/>
        <pc:sldMkLst>
          <pc:docMk/>
          <pc:sldMk cId="2761597836" sldId="317"/>
        </pc:sldMkLst>
      </pc:sldChg>
      <pc:sldChg chg="addSp modSp">
        <pc:chgData name="EVELYNSM.YONG" userId="S::evelynsm.yong_gmail.com#ext#@risebcg.onmicrosoft.com::67a27a72-2420-4d38-b745-316a53f4b99a" providerId="AD" clId="Web-{DA0791EE-8C54-44FE-85AD-70117F2C2B72}" dt="2022-01-09T14:56:40.555" v="1541" actId="1076"/>
        <pc:sldMkLst>
          <pc:docMk/>
          <pc:sldMk cId="2160415509" sldId="326"/>
        </pc:sldMkLst>
        <pc:spChg chg="add mod">
          <ac:chgData name="EVELYNSM.YONG" userId="S::evelynsm.yong_gmail.com#ext#@risebcg.onmicrosoft.com::67a27a72-2420-4d38-b745-316a53f4b99a" providerId="AD" clId="Web-{DA0791EE-8C54-44FE-85AD-70117F2C2B72}" dt="2022-01-09T14:56:40.555" v="1541" actId="1076"/>
          <ac:spMkLst>
            <pc:docMk/>
            <pc:sldMk cId="2160415509" sldId="326"/>
            <ac:spMk id="3" creationId="{A06E2C6C-AA2D-4DBA-B448-457815C4CAD3}"/>
          </ac:spMkLst>
        </pc:spChg>
      </pc:sldChg>
      <pc:sldChg chg="modSp">
        <pc:chgData name="EVELYNSM.YONG" userId="S::evelynsm.yong_gmail.com#ext#@risebcg.onmicrosoft.com::67a27a72-2420-4d38-b745-316a53f4b99a" providerId="AD" clId="Web-{DA0791EE-8C54-44FE-85AD-70117F2C2B72}" dt="2022-01-09T13:22:06.672" v="208" actId="14100"/>
        <pc:sldMkLst>
          <pc:docMk/>
          <pc:sldMk cId="1249418479" sldId="334"/>
        </pc:sldMkLst>
        <pc:spChg chg="mod">
          <ac:chgData name="EVELYNSM.YONG" userId="S::evelynsm.yong_gmail.com#ext#@risebcg.onmicrosoft.com::67a27a72-2420-4d38-b745-316a53f4b99a" providerId="AD" clId="Web-{DA0791EE-8C54-44FE-85AD-70117F2C2B72}" dt="2022-01-09T13:22:06.672" v="208" actId="14100"/>
          <ac:spMkLst>
            <pc:docMk/>
            <pc:sldMk cId="1249418479" sldId="334"/>
            <ac:spMk id="14" creationId="{DE96116D-A890-4EBF-BAFB-3F4B23F0096C}"/>
          </ac:spMkLst>
        </pc:spChg>
      </pc:sldChg>
      <pc:sldChg chg="addSp delSp modSp ord modNotes">
        <pc:chgData name="EVELYNSM.YONG" userId="S::evelynsm.yong_gmail.com#ext#@risebcg.onmicrosoft.com::67a27a72-2420-4d38-b745-316a53f4b99a" providerId="AD" clId="Web-{DA0791EE-8C54-44FE-85AD-70117F2C2B72}" dt="2022-01-09T15:56:42.735" v="2922"/>
        <pc:sldMkLst>
          <pc:docMk/>
          <pc:sldMk cId="2652119032" sldId="335"/>
        </pc:sldMkLst>
        <pc:spChg chg="del">
          <ac:chgData name="EVELYNSM.YONG" userId="S::evelynsm.yong_gmail.com#ext#@risebcg.onmicrosoft.com::67a27a72-2420-4d38-b745-316a53f4b99a" providerId="AD" clId="Web-{DA0791EE-8C54-44FE-85AD-70117F2C2B72}" dt="2022-01-09T13:33:32.748" v="308"/>
          <ac:spMkLst>
            <pc:docMk/>
            <pc:sldMk cId="2652119032" sldId="335"/>
            <ac:spMk id="2" creationId="{7F6D02CC-FD9B-490C-B8FF-AA78D172BCDC}"/>
          </ac:spMkLst>
        </pc:spChg>
        <pc:spChg chg="del mod ord">
          <ac:chgData name="EVELYNSM.YONG" userId="S::evelynsm.yong_gmail.com#ext#@risebcg.onmicrosoft.com::67a27a72-2420-4d38-b745-316a53f4b99a" providerId="AD" clId="Web-{DA0791EE-8C54-44FE-85AD-70117F2C2B72}" dt="2022-01-09T13:34:05.374" v="315"/>
          <ac:spMkLst>
            <pc:docMk/>
            <pc:sldMk cId="2652119032" sldId="335"/>
            <ac:spMk id="4" creationId="{7BCAFA08-4D06-4459-BDE0-CAB790C8CB40}"/>
          </ac:spMkLst>
        </pc:spChg>
        <pc:spChg chg="add del mod">
          <ac:chgData name="EVELYNSM.YONG" userId="S::evelynsm.yong_gmail.com#ext#@risebcg.onmicrosoft.com::67a27a72-2420-4d38-b745-316a53f4b99a" providerId="AD" clId="Web-{DA0791EE-8C54-44FE-85AD-70117F2C2B72}" dt="2022-01-09T13:33:52.952" v="311"/>
          <ac:spMkLst>
            <pc:docMk/>
            <pc:sldMk cId="2652119032" sldId="335"/>
            <ac:spMk id="5" creationId="{271A4DD0-D045-4D2B-93F1-2E7B013DD533}"/>
          </ac:spMkLst>
        </pc:spChg>
        <pc:spChg chg="add del mod">
          <ac:chgData name="EVELYNSM.YONG" userId="S::evelynsm.yong_gmail.com#ext#@risebcg.onmicrosoft.com::67a27a72-2420-4d38-b745-316a53f4b99a" providerId="AD" clId="Web-{DA0791EE-8C54-44FE-85AD-70117F2C2B72}" dt="2022-01-09T13:54:37.914" v="559"/>
          <ac:spMkLst>
            <pc:docMk/>
            <pc:sldMk cId="2652119032" sldId="335"/>
            <ac:spMk id="6" creationId="{EB830DF6-2886-4525-9200-EF0BA1731728}"/>
          </ac:spMkLst>
        </pc:spChg>
        <pc:spChg chg="add del">
          <ac:chgData name="EVELYNSM.YONG" userId="S::evelynsm.yong_gmail.com#ext#@risebcg.onmicrosoft.com::67a27a72-2420-4d38-b745-316a53f4b99a" providerId="AD" clId="Web-{DA0791EE-8C54-44FE-85AD-70117F2C2B72}" dt="2022-01-09T13:34:13.280" v="317"/>
          <ac:spMkLst>
            <pc:docMk/>
            <pc:sldMk cId="2652119032" sldId="335"/>
            <ac:spMk id="8" creationId="{92C67D17-292E-4875-BA32-C8C87227633D}"/>
          </ac:spMkLst>
        </pc:spChg>
        <pc:spChg chg="add mod">
          <ac:chgData name="EVELYNSM.YONG" userId="S::evelynsm.yong_gmail.com#ext#@risebcg.onmicrosoft.com::67a27a72-2420-4d38-b745-316a53f4b99a" providerId="AD" clId="Web-{DA0791EE-8C54-44FE-85AD-70117F2C2B72}" dt="2022-01-09T13:38:18.895" v="380" actId="1076"/>
          <ac:spMkLst>
            <pc:docMk/>
            <pc:sldMk cId="2652119032" sldId="335"/>
            <ac:spMk id="9" creationId="{D11E5A33-11CE-4654-94DA-ADBE91E56528}"/>
          </ac:spMkLst>
        </pc:spChg>
        <pc:spChg chg="del mod">
          <ac:chgData name="EVELYNSM.YONG" userId="S::evelynsm.yong_gmail.com#ext#@risebcg.onmicrosoft.com::67a27a72-2420-4d38-b745-316a53f4b99a" providerId="AD" clId="Web-{DA0791EE-8C54-44FE-85AD-70117F2C2B72}" dt="2022-01-09T13:35:45.095" v="339"/>
          <ac:spMkLst>
            <pc:docMk/>
            <pc:sldMk cId="2652119032" sldId="335"/>
            <ac:spMk id="10" creationId="{5B136050-0C52-4973-B00A-9438EBC773F2}"/>
          </ac:spMkLst>
        </pc:spChg>
        <pc:spChg chg="add mod">
          <ac:chgData name="EVELYNSM.YONG" userId="S::evelynsm.yong_gmail.com#ext#@risebcg.onmicrosoft.com::67a27a72-2420-4d38-b745-316a53f4b99a" providerId="AD" clId="Web-{DA0791EE-8C54-44FE-85AD-70117F2C2B72}" dt="2022-01-09T15:54:37.874" v="2876" actId="20577"/>
          <ac:spMkLst>
            <pc:docMk/>
            <pc:sldMk cId="2652119032" sldId="335"/>
            <ac:spMk id="11" creationId="{48FA4A77-CB38-4FAD-81FC-6F8B79C30622}"/>
          </ac:spMkLst>
        </pc:spChg>
        <pc:spChg chg="add mod">
          <ac:chgData name="EVELYNSM.YONG" userId="S::evelynsm.yong_gmail.com#ext#@risebcg.onmicrosoft.com::67a27a72-2420-4d38-b745-316a53f4b99a" providerId="AD" clId="Web-{DA0791EE-8C54-44FE-85AD-70117F2C2B72}" dt="2022-01-09T14:20:06.412" v="798" actId="1076"/>
          <ac:spMkLst>
            <pc:docMk/>
            <pc:sldMk cId="2652119032" sldId="335"/>
            <ac:spMk id="13" creationId="{30AA57D7-C548-4A67-A676-80F9FD59520F}"/>
          </ac:spMkLst>
        </pc:spChg>
        <pc:spChg chg="add mod">
          <ac:chgData name="EVELYNSM.YONG" userId="S::evelynsm.yong_gmail.com#ext#@risebcg.onmicrosoft.com::67a27a72-2420-4d38-b745-316a53f4b99a" providerId="AD" clId="Web-{DA0791EE-8C54-44FE-85AD-70117F2C2B72}" dt="2022-01-09T13:45:06.090" v="469" actId="14100"/>
          <ac:spMkLst>
            <pc:docMk/>
            <pc:sldMk cId="2652119032" sldId="335"/>
            <ac:spMk id="17" creationId="{EEFE4066-E552-48B0-9C80-92690B35EAB2}"/>
          </ac:spMkLst>
        </pc:spChg>
        <pc:spChg chg="add mod">
          <ac:chgData name="EVELYNSM.YONG" userId="S::evelynsm.yong_gmail.com#ext#@risebcg.onmicrosoft.com::67a27a72-2420-4d38-b745-316a53f4b99a" providerId="AD" clId="Web-{DA0791EE-8C54-44FE-85AD-70117F2C2B72}" dt="2022-01-09T13:45:06.090" v="468" actId="14100"/>
          <ac:spMkLst>
            <pc:docMk/>
            <pc:sldMk cId="2652119032" sldId="335"/>
            <ac:spMk id="19" creationId="{ADF4AC28-4A56-4994-B9E6-C08A7EC749F7}"/>
          </ac:spMkLst>
        </pc:spChg>
        <pc:spChg chg="add mod ord">
          <ac:chgData name="EVELYNSM.YONG" userId="S::evelynsm.yong_gmail.com#ext#@risebcg.onmicrosoft.com::67a27a72-2420-4d38-b745-316a53f4b99a" providerId="AD" clId="Web-{DA0791EE-8C54-44FE-85AD-70117F2C2B72}" dt="2022-01-09T15:53:06.325" v="2810" actId="14100"/>
          <ac:spMkLst>
            <pc:docMk/>
            <pc:sldMk cId="2652119032" sldId="335"/>
            <ac:spMk id="28" creationId="{81280F0F-FE44-494C-A80A-92667A5E77F5}"/>
          </ac:spMkLst>
        </pc:spChg>
        <pc:spChg chg="add del mod">
          <ac:chgData name="EVELYNSM.YONG" userId="S::evelynsm.yong_gmail.com#ext#@risebcg.onmicrosoft.com::67a27a72-2420-4d38-b745-316a53f4b99a" providerId="AD" clId="Web-{DA0791EE-8C54-44FE-85AD-70117F2C2B72}" dt="2022-01-09T13:55:10.477" v="570"/>
          <ac:spMkLst>
            <pc:docMk/>
            <pc:sldMk cId="2652119032" sldId="335"/>
            <ac:spMk id="29" creationId="{AD90FA02-ED78-434C-ABB6-461474DCB21F}"/>
          </ac:spMkLst>
        </pc:spChg>
        <pc:spChg chg="add del mod">
          <ac:chgData name="EVELYNSM.YONG" userId="S::evelynsm.yong_gmail.com#ext#@risebcg.onmicrosoft.com::67a27a72-2420-4d38-b745-316a53f4b99a" providerId="AD" clId="Web-{DA0791EE-8C54-44FE-85AD-70117F2C2B72}" dt="2022-01-09T14:19:06.911" v="780"/>
          <ac:spMkLst>
            <pc:docMk/>
            <pc:sldMk cId="2652119032" sldId="335"/>
            <ac:spMk id="30" creationId="{46A3704E-F1BD-4BCF-A67F-9AD9DEE171DB}"/>
          </ac:spMkLst>
        </pc:spChg>
        <pc:spChg chg="add del mod">
          <ac:chgData name="EVELYNSM.YONG" userId="S::evelynsm.yong_gmail.com#ext#@risebcg.onmicrosoft.com::67a27a72-2420-4d38-b745-316a53f4b99a" providerId="AD" clId="Web-{DA0791EE-8C54-44FE-85AD-70117F2C2B72}" dt="2022-01-09T14:19:21.599" v="782"/>
          <ac:spMkLst>
            <pc:docMk/>
            <pc:sldMk cId="2652119032" sldId="335"/>
            <ac:spMk id="33" creationId="{364105C6-A871-4CD7-BF81-6C96BC80C209}"/>
          </ac:spMkLst>
        </pc:spChg>
        <pc:spChg chg="add del mod">
          <ac:chgData name="EVELYNSM.YONG" userId="S::evelynsm.yong_gmail.com#ext#@risebcg.onmicrosoft.com::67a27a72-2420-4d38-b745-316a53f4b99a" providerId="AD" clId="Web-{DA0791EE-8C54-44FE-85AD-70117F2C2B72}" dt="2022-01-09T14:07:41.226" v="688"/>
          <ac:spMkLst>
            <pc:docMk/>
            <pc:sldMk cId="2652119032" sldId="335"/>
            <ac:spMk id="35" creationId="{DA04AEC3-BFDE-4760-BC39-26C2D08FEEE3}"/>
          </ac:spMkLst>
        </pc:spChg>
        <pc:spChg chg="add del mod">
          <ac:chgData name="EVELYNSM.YONG" userId="S::evelynsm.yong_gmail.com#ext#@risebcg.onmicrosoft.com::67a27a72-2420-4d38-b745-316a53f4b99a" providerId="AD" clId="Web-{DA0791EE-8C54-44FE-85AD-70117F2C2B72}" dt="2022-01-09T14:07:02.053" v="684"/>
          <ac:spMkLst>
            <pc:docMk/>
            <pc:sldMk cId="2652119032" sldId="335"/>
            <ac:spMk id="36" creationId="{B0621D87-B95C-4592-8F6C-0BBCF190BF30}"/>
          </ac:spMkLst>
        </pc:spChg>
        <pc:spChg chg="add del">
          <ac:chgData name="EVELYNSM.YONG" userId="S::evelynsm.yong_gmail.com#ext#@risebcg.onmicrosoft.com::67a27a72-2420-4d38-b745-316a53f4b99a" providerId="AD" clId="Web-{DA0791EE-8C54-44FE-85AD-70117F2C2B72}" dt="2022-01-09T14:07:08.975" v="685"/>
          <ac:spMkLst>
            <pc:docMk/>
            <pc:sldMk cId="2652119032" sldId="335"/>
            <ac:spMk id="37" creationId="{1959A625-13E7-41F1-90D7-88CD080D6AFA}"/>
          </ac:spMkLst>
        </pc:spChg>
        <pc:spChg chg="add del mod">
          <ac:chgData name="EVELYNSM.YONG" userId="S::evelynsm.yong_gmail.com#ext#@risebcg.onmicrosoft.com::67a27a72-2420-4d38-b745-316a53f4b99a" providerId="AD" clId="Web-{DA0791EE-8C54-44FE-85AD-70117F2C2B72}" dt="2022-01-09T14:18:28.036" v="768"/>
          <ac:spMkLst>
            <pc:docMk/>
            <pc:sldMk cId="2652119032" sldId="335"/>
            <ac:spMk id="43" creationId="{49B1AAE3-62B7-45B9-8BE5-CB44C8C50927}"/>
          </ac:spMkLst>
        </pc:spChg>
        <pc:spChg chg="add del mod">
          <ac:chgData name="EVELYNSM.YONG" userId="S::evelynsm.yong_gmail.com#ext#@risebcg.onmicrosoft.com::67a27a72-2420-4d38-b745-316a53f4b99a" providerId="AD" clId="Web-{DA0791EE-8C54-44FE-85AD-70117F2C2B72}" dt="2022-01-09T14:18:24.317" v="766"/>
          <ac:spMkLst>
            <pc:docMk/>
            <pc:sldMk cId="2652119032" sldId="335"/>
            <ac:spMk id="44" creationId="{F49941B4-D35D-40C5-9A41-767FC177F321}"/>
          </ac:spMkLst>
        </pc:spChg>
        <pc:grpChg chg="add del">
          <ac:chgData name="EVELYNSM.YONG" userId="S::evelynsm.yong_gmail.com#ext#@risebcg.onmicrosoft.com::67a27a72-2420-4d38-b745-316a53f4b99a" providerId="AD" clId="Web-{DA0791EE-8C54-44FE-85AD-70117F2C2B72}" dt="2022-01-09T13:44:55.730" v="465"/>
          <ac:grpSpMkLst>
            <pc:docMk/>
            <pc:sldMk cId="2652119032" sldId="335"/>
            <ac:grpSpMk id="25" creationId="{5FA843E1-CE25-4065-AFE4-C41B81330399}"/>
          </ac:grpSpMkLst>
        </pc:grpChg>
        <pc:grpChg chg="add del mod">
          <ac:chgData name="EVELYNSM.YONG" userId="S::evelynsm.yong_gmail.com#ext#@risebcg.onmicrosoft.com::67a27a72-2420-4d38-b745-316a53f4b99a" providerId="AD" clId="Web-{DA0791EE-8C54-44FE-85AD-70117F2C2B72}" dt="2022-01-09T13:50:26.799" v="510"/>
          <ac:grpSpMkLst>
            <pc:docMk/>
            <pc:sldMk cId="2652119032" sldId="335"/>
            <ac:grpSpMk id="26" creationId="{DB24AA5C-5996-4869-88AA-0368CB0D302A}"/>
          </ac:grpSpMkLst>
        </pc:grpChg>
        <pc:picChg chg="add del mod">
          <ac:chgData name="EVELYNSM.YONG" userId="S::evelynsm.yong_gmail.com#ext#@risebcg.onmicrosoft.com::67a27a72-2420-4d38-b745-316a53f4b99a" providerId="AD" clId="Web-{DA0791EE-8C54-44FE-85AD-70117F2C2B72}" dt="2022-01-09T13:50:45.065" v="515"/>
          <ac:picMkLst>
            <pc:docMk/>
            <pc:sldMk cId="2652119032" sldId="335"/>
            <ac:picMk id="27" creationId="{A4CFC0BA-E667-475B-9CCE-F01BB0F125EF}"/>
          </ac:picMkLst>
        </pc:picChg>
        <pc:picChg chg="add del mod">
          <ac:chgData name="EVELYNSM.YONG" userId="S::evelynsm.yong_gmail.com#ext#@risebcg.onmicrosoft.com::67a27a72-2420-4d38-b745-316a53f4b99a" providerId="AD" clId="Web-{DA0791EE-8C54-44FE-85AD-70117F2C2B72}" dt="2022-01-09T13:59:46.014" v="586"/>
          <ac:picMkLst>
            <pc:docMk/>
            <pc:sldMk cId="2652119032" sldId="335"/>
            <ac:picMk id="31" creationId="{5E877CF6-E994-4C87-ACE8-2FF0638451BA}"/>
          </ac:picMkLst>
        </pc:picChg>
        <pc:picChg chg="add del mod">
          <ac:chgData name="EVELYNSM.YONG" userId="S::evelynsm.yong_gmail.com#ext#@risebcg.onmicrosoft.com::67a27a72-2420-4d38-b745-316a53f4b99a" providerId="AD" clId="Web-{DA0791EE-8C54-44FE-85AD-70117F2C2B72}" dt="2022-01-09T14:03:51.690" v="627"/>
          <ac:picMkLst>
            <pc:docMk/>
            <pc:sldMk cId="2652119032" sldId="335"/>
            <ac:picMk id="32" creationId="{44BA840D-D382-4678-8ADC-9EA6031B9E15}"/>
          </ac:picMkLst>
        </pc:picChg>
        <pc:picChg chg="add del mod">
          <ac:chgData name="EVELYNSM.YONG" userId="S::evelynsm.yong_gmail.com#ext#@risebcg.onmicrosoft.com::67a27a72-2420-4d38-b745-316a53f4b99a" providerId="AD" clId="Web-{DA0791EE-8C54-44FE-85AD-70117F2C2B72}" dt="2022-01-09T14:07:58.023" v="690"/>
          <ac:picMkLst>
            <pc:docMk/>
            <pc:sldMk cId="2652119032" sldId="335"/>
            <ac:picMk id="34" creationId="{188E4DEA-1D00-40D8-8CD6-25B40E0A03FF}"/>
          </ac:picMkLst>
        </pc:picChg>
        <pc:picChg chg="add del mod">
          <ac:chgData name="EVELYNSM.YONG" userId="S::evelynsm.yong_gmail.com#ext#@risebcg.onmicrosoft.com::67a27a72-2420-4d38-b745-316a53f4b99a" providerId="AD" clId="Web-{DA0791EE-8C54-44FE-85AD-70117F2C2B72}" dt="2022-01-09T14:09:09.009" v="712"/>
          <ac:picMkLst>
            <pc:docMk/>
            <pc:sldMk cId="2652119032" sldId="335"/>
            <ac:picMk id="38" creationId="{FA802176-780D-475D-AE08-363C1582A91B}"/>
          </ac:picMkLst>
        </pc:picChg>
        <pc:picChg chg="add mod">
          <ac:chgData name="EVELYNSM.YONG" userId="S::evelynsm.yong_gmail.com#ext#@risebcg.onmicrosoft.com::67a27a72-2420-4d38-b745-316a53f4b99a" providerId="AD" clId="Web-{DA0791EE-8C54-44FE-85AD-70117F2C2B72}" dt="2022-01-09T15:52:37.184" v="2797" actId="1076"/>
          <ac:picMkLst>
            <pc:docMk/>
            <pc:sldMk cId="2652119032" sldId="335"/>
            <ac:picMk id="39" creationId="{6D100E40-F0A0-4C81-AFE6-66AAB66A847B}"/>
          </ac:picMkLst>
        </pc:picChg>
        <pc:picChg chg="add del mod">
          <ac:chgData name="EVELYNSM.YONG" userId="S::evelynsm.yong_gmail.com#ext#@risebcg.onmicrosoft.com::67a27a72-2420-4d38-b745-316a53f4b99a" providerId="AD" clId="Web-{DA0791EE-8C54-44FE-85AD-70117F2C2B72}" dt="2022-01-09T14:13:35.483" v="720"/>
          <ac:picMkLst>
            <pc:docMk/>
            <pc:sldMk cId="2652119032" sldId="335"/>
            <ac:picMk id="40" creationId="{14656FD1-1C84-47C0-BBFE-D283C5F97CE3}"/>
          </ac:picMkLst>
        </pc:picChg>
        <pc:picChg chg="add mod">
          <ac:chgData name="EVELYNSM.YONG" userId="S::evelynsm.yong_gmail.com#ext#@risebcg.onmicrosoft.com::67a27a72-2420-4d38-b745-316a53f4b99a" providerId="AD" clId="Web-{DA0791EE-8C54-44FE-85AD-70117F2C2B72}" dt="2022-01-09T15:52:33.387" v="2795" actId="1076"/>
          <ac:picMkLst>
            <pc:docMk/>
            <pc:sldMk cId="2652119032" sldId="335"/>
            <ac:picMk id="42" creationId="{EEF785FC-B0A1-4C7B-971D-1AC4D6CB007F}"/>
          </ac:picMkLst>
        </pc:picChg>
        <pc:picChg chg="add mod">
          <ac:chgData name="EVELYNSM.YONG" userId="S::evelynsm.yong_gmail.com#ext#@risebcg.onmicrosoft.com::67a27a72-2420-4d38-b745-316a53f4b99a" providerId="AD" clId="Web-{DA0791EE-8C54-44FE-85AD-70117F2C2B72}" dt="2022-01-09T15:52:41.074" v="2798" actId="14100"/>
          <ac:picMkLst>
            <pc:docMk/>
            <pc:sldMk cId="2652119032" sldId="335"/>
            <ac:picMk id="45" creationId="{722C9DF0-4B53-408A-BC39-B206E4C3860C}"/>
          </ac:picMkLst>
        </pc:picChg>
        <pc:cxnChg chg="add del mod">
          <ac:chgData name="EVELYNSM.YONG" userId="S::evelynsm.yong_gmail.com#ext#@risebcg.onmicrosoft.com::67a27a72-2420-4d38-b745-316a53f4b99a" providerId="AD" clId="Web-{DA0791EE-8C54-44FE-85AD-70117F2C2B72}" dt="2022-01-09T13:50:32.003" v="511"/>
          <ac:cxnSpMkLst>
            <pc:docMk/>
            <pc:sldMk cId="2652119032" sldId="335"/>
            <ac:cxnSpMk id="15" creationId="{4EE00A56-9FCF-4666-8F48-78E41BC4040C}"/>
          </ac:cxnSpMkLst>
        </pc:cxnChg>
      </pc:sldChg>
      <pc:sldChg chg="ord">
        <pc:chgData name="EVELYNSM.YONG" userId="S::evelynsm.yong_gmail.com#ext#@risebcg.onmicrosoft.com::67a27a72-2420-4d38-b745-316a53f4b99a" providerId="AD" clId="Web-{DA0791EE-8C54-44FE-85AD-70117F2C2B72}" dt="2022-01-09T09:06:22.256" v="161"/>
        <pc:sldMkLst>
          <pc:docMk/>
          <pc:sldMk cId="855648020" sldId="337"/>
        </pc:sldMkLst>
      </pc:sldChg>
      <pc:sldChg chg="addSp delSp modSp">
        <pc:chgData name="EVELYNSM.YONG" userId="S::evelynsm.yong_gmail.com#ext#@risebcg.onmicrosoft.com::67a27a72-2420-4d38-b745-316a53f4b99a" providerId="AD" clId="Web-{DA0791EE-8C54-44FE-85AD-70117F2C2B72}" dt="2022-01-09T14:14:57" v="722"/>
        <pc:sldMkLst>
          <pc:docMk/>
          <pc:sldMk cId="3391215681" sldId="339"/>
        </pc:sldMkLst>
        <pc:spChg chg="mod">
          <ac:chgData name="EVELYNSM.YONG" userId="S::evelynsm.yong_gmail.com#ext#@risebcg.onmicrosoft.com::67a27a72-2420-4d38-b745-316a53f4b99a" providerId="AD" clId="Web-{DA0791EE-8C54-44FE-85AD-70117F2C2B72}" dt="2022-01-09T13:33:44.249" v="310"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DA0791EE-8C54-44FE-85AD-70117F2C2B72}" dt="2022-01-09T13:28:55.321" v="266" actId="1076"/>
          <ac:spMkLst>
            <pc:docMk/>
            <pc:sldMk cId="3391215681" sldId="339"/>
            <ac:spMk id="49" creationId="{1A40ECD8-EC71-4C0D-A629-C5042C9FBE1B}"/>
          </ac:spMkLst>
        </pc:spChg>
        <pc:spChg chg="mod">
          <ac:chgData name="EVELYNSM.YONG" userId="S::evelynsm.yong_gmail.com#ext#@risebcg.onmicrosoft.com::67a27a72-2420-4d38-b745-316a53f4b99a" providerId="AD" clId="Web-{DA0791EE-8C54-44FE-85AD-70117F2C2B72}" dt="2022-01-09T13:28:55.352" v="267" actId="1076"/>
          <ac:spMkLst>
            <pc:docMk/>
            <pc:sldMk cId="3391215681" sldId="339"/>
            <ac:spMk id="124" creationId="{C91A31F3-23FB-421F-8BC0-FD3F5F868D91}"/>
          </ac:spMkLst>
        </pc:spChg>
        <pc:spChg chg="mod">
          <ac:chgData name="EVELYNSM.YONG" userId="S::evelynsm.yong_gmail.com#ext#@risebcg.onmicrosoft.com::67a27a72-2420-4d38-b745-316a53f4b99a" providerId="AD" clId="Web-{DA0791EE-8C54-44FE-85AD-70117F2C2B72}" dt="2022-01-09T13:40:30.928" v="415" actId="20577"/>
          <ac:spMkLst>
            <pc:docMk/>
            <pc:sldMk cId="3391215681" sldId="339"/>
            <ac:spMk id="160" creationId="{129EBF9C-3DCE-40EC-8CFB-1CB201B252BE}"/>
          </ac:spMkLst>
        </pc:spChg>
        <pc:spChg chg="mod">
          <ac:chgData name="EVELYNSM.YONG" userId="S::evelynsm.yong_gmail.com#ext#@risebcg.onmicrosoft.com::67a27a72-2420-4d38-b745-316a53f4b99a" providerId="AD" clId="Web-{DA0791EE-8C54-44FE-85AD-70117F2C2B72}" dt="2022-01-09T13:32:20.247" v="294" actId="1076"/>
          <ac:spMkLst>
            <pc:docMk/>
            <pc:sldMk cId="3391215681" sldId="339"/>
            <ac:spMk id="211" creationId="{BE8EF75F-4A8F-4CC0-B3A0-4689491D690B}"/>
          </ac:spMkLst>
        </pc:spChg>
        <pc:spChg chg="mod">
          <ac:chgData name="EVELYNSM.YONG" userId="S::evelynsm.yong_gmail.com#ext#@risebcg.onmicrosoft.com::67a27a72-2420-4d38-b745-316a53f4b99a" providerId="AD" clId="Web-{DA0791EE-8C54-44FE-85AD-70117F2C2B72}" dt="2022-01-09T13:32:20.263" v="295" actId="1076"/>
          <ac:spMkLst>
            <pc:docMk/>
            <pc:sldMk cId="3391215681" sldId="339"/>
            <ac:spMk id="218" creationId="{3F919807-BA2C-40C1-9C13-9C7C88B0617F}"/>
          </ac:spMkLst>
        </pc:spChg>
        <pc:spChg chg="mod">
          <ac:chgData name="EVELYNSM.YONG" userId="S::evelynsm.yong_gmail.com#ext#@risebcg.onmicrosoft.com::67a27a72-2420-4d38-b745-316a53f4b99a" providerId="AD" clId="Web-{DA0791EE-8C54-44FE-85AD-70117F2C2B72}" dt="2022-01-09T13:32:20.309" v="297" actId="1076"/>
          <ac:spMkLst>
            <pc:docMk/>
            <pc:sldMk cId="3391215681" sldId="339"/>
            <ac:spMk id="229" creationId="{8CB63044-5013-4EFC-B813-E8D7A72DE7FF}"/>
          </ac:spMkLst>
        </pc:spChg>
        <pc:spChg chg="mod">
          <ac:chgData name="EVELYNSM.YONG" userId="S::evelynsm.yong_gmail.com#ext#@risebcg.onmicrosoft.com::67a27a72-2420-4d38-b745-316a53f4b99a" providerId="AD" clId="Web-{DA0791EE-8C54-44FE-85AD-70117F2C2B72}" dt="2022-01-09T13:32:20.231" v="293" actId="1076"/>
          <ac:spMkLst>
            <pc:docMk/>
            <pc:sldMk cId="3391215681" sldId="339"/>
            <ac:spMk id="3097" creationId="{B43BCD4D-C119-4545-A18A-03EFECDDCAC1}"/>
          </ac:spMkLst>
        </pc:spChg>
        <pc:grpChg chg="mod">
          <ac:chgData name="EVELYNSM.YONG" userId="S::evelynsm.yong_gmail.com#ext#@risebcg.onmicrosoft.com::67a27a72-2420-4d38-b745-316a53f4b99a" providerId="AD" clId="Web-{DA0791EE-8C54-44FE-85AD-70117F2C2B72}" dt="2022-01-09T13:28:08.148" v="257" actId="1076"/>
          <ac:grpSpMkLst>
            <pc:docMk/>
            <pc:sldMk cId="3391215681" sldId="339"/>
            <ac:grpSpMk id="417" creationId="{3422634B-E74A-464E-8891-948490F63923}"/>
          </ac:grpSpMkLst>
        </pc:grpChg>
        <pc:graphicFrameChg chg="mod modGraphic">
          <ac:chgData name="EVELYNSM.YONG" userId="S::evelynsm.yong_gmail.com#ext#@risebcg.onmicrosoft.com::67a27a72-2420-4d38-b745-316a53f4b99a" providerId="AD" clId="Web-{DA0791EE-8C54-44FE-85AD-70117F2C2B72}" dt="2022-01-09T13:32:53.107" v="305" actId="1076"/>
          <ac:graphicFrameMkLst>
            <pc:docMk/>
            <pc:sldMk cId="3391215681" sldId="339"/>
            <ac:graphicFrameMk id="28" creationId="{9D58B7B4-DE29-4DDF-BB8A-729D2B705659}"/>
          </ac:graphicFrameMkLst>
        </pc:graphicFrameChg>
        <pc:picChg chg="add mod">
          <ac:chgData name="EVELYNSM.YONG" userId="S::evelynsm.yong_gmail.com#ext#@risebcg.onmicrosoft.com::67a27a72-2420-4d38-b745-316a53f4b99a" providerId="AD" clId="Web-{DA0791EE-8C54-44FE-85AD-70117F2C2B72}" dt="2022-01-09T13:32:40.857" v="301" actId="1076"/>
          <ac:picMkLst>
            <pc:docMk/>
            <pc:sldMk cId="3391215681" sldId="339"/>
            <ac:picMk id="107" creationId="{02601E91-3DEE-4781-ACC9-2A3154DCC85D}"/>
          </ac:picMkLst>
        </pc:picChg>
        <pc:picChg chg="add mod">
          <ac:chgData name="EVELYNSM.YONG" userId="S::evelynsm.yong_gmail.com#ext#@risebcg.onmicrosoft.com::67a27a72-2420-4d38-b745-316a53f4b99a" providerId="AD" clId="Web-{DA0791EE-8C54-44FE-85AD-70117F2C2B72}" dt="2022-01-09T13:27:59.226" v="254" actId="1076"/>
          <ac:picMkLst>
            <pc:docMk/>
            <pc:sldMk cId="3391215681" sldId="339"/>
            <ac:picMk id="108" creationId="{590458A9-D7D6-4978-B569-22D281AE5CF2}"/>
          </ac:picMkLst>
        </pc:picChg>
        <pc:picChg chg="add mod">
          <ac:chgData name="EVELYNSM.YONG" userId="S::evelynsm.yong_gmail.com#ext#@risebcg.onmicrosoft.com::67a27a72-2420-4d38-b745-316a53f4b99a" providerId="AD" clId="Web-{DA0791EE-8C54-44FE-85AD-70117F2C2B72}" dt="2022-01-09T13:33:01.138" v="306" actId="1076"/>
          <ac:picMkLst>
            <pc:docMk/>
            <pc:sldMk cId="3391215681" sldId="339"/>
            <ac:picMk id="127" creationId="{50C2EFDE-AE92-48A3-8F2F-DEC4BC518951}"/>
          </ac:picMkLst>
        </pc:picChg>
        <pc:picChg chg="mod">
          <ac:chgData name="EVELYNSM.YONG" userId="S::evelynsm.yong_gmail.com#ext#@risebcg.onmicrosoft.com::67a27a72-2420-4d38-b745-316a53f4b99a" providerId="AD" clId="Web-{DA0791EE-8C54-44FE-85AD-70117F2C2B72}" dt="2022-01-09T13:32:20.278" v="296" actId="1076"/>
          <ac:picMkLst>
            <pc:docMk/>
            <pc:sldMk cId="3391215681" sldId="339"/>
            <ac:picMk id="248" creationId="{135B6FD8-8BD5-4DF6-A276-BDEEDFD924A2}"/>
          </ac:picMkLst>
        </pc:picChg>
        <pc:picChg chg="add del mod">
          <ac:chgData name="EVELYNSM.YONG" userId="S::evelynsm.yong_gmail.com#ext#@risebcg.onmicrosoft.com::67a27a72-2420-4d38-b745-316a53f4b99a" providerId="AD" clId="Web-{DA0791EE-8C54-44FE-85AD-70117F2C2B72}" dt="2022-01-09T14:14:57" v="722"/>
          <ac:picMkLst>
            <pc:docMk/>
            <pc:sldMk cId="3391215681" sldId="339"/>
            <ac:picMk id="1727" creationId="{4F4925B4-226E-4CE5-9A48-DF473BE5B5F7}"/>
          </ac:picMkLst>
        </pc:picChg>
        <pc:picChg chg="mod">
          <ac:chgData name="EVELYNSM.YONG" userId="S::evelynsm.yong_gmail.com#ext#@risebcg.onmicrosoft.com::67a27a72-2420-4d38-b745-316a53f4b99a" providerId="AD" clId="Web-{DA0791EE-8C54-44FE-85AD-70117F2C2B72}" dt="2022-01-09T13:23:26.283" v="210" actId="1076"/>
          <ac:picMkLst>
            <pc:docMk/>
            <pc:sldMk cId="3391215681" sldId="339"/>
            <ac:picMk id="3133" creationId="{01E138E9-826C-4F51-97A8-242CE7FFD6DC}"/>
          </ac:picMkLst>
        </pc:picChg>
      </pc:sldChg>
      <pc:sldChg chg="ord">
        <pc:chgData name="EVELYNSM.YONG" userId="S::evelynsm.yong_gmail.com#ext#@risebcg.onmicrosoft.com::67a27a72-2420-4d38-b745-316a53f4b99a" providerId="AD" clId="Web-{DA0791EE-8C54-44FE-85AD-70117F2C2B72}" dt="2022-01-09T09:06:01.318" v="157"/>
        <pc:sldMkLst>
          <pc:docMk/>
          <pc:sldMk cId="3971465157" sldId="345"/>
        </pc:sldMkLst>
      </pc:sldChg>
      <pc:sldChg chg="modSp ord">
        <pc:chgData name="EVELYNSM.YONG" userId="S::evelynsm.yong_gmail.com#ext#@risebcg.onmicrosoft.com::67a27a72-2420-4d38-b745-316a53f4b99a" providerId="AD" clId="Web-{DA0791EE-8C54-44FE-85AD-70117F2C2B72}" dt="2022-01-09T09:08:52.821" v="190" actId="20577"/>
        <pc:sldMkLst>
          <pc:docMk/>
          <pc:sldMk cId="2149037765" sldId="346"/>
        </pc:sldMkLst>
        <pc:spChg chg="mod">
          <ac:chgData name="EVELYNSM.YONG" userId="S::evelynsm.yong_gmail.com#ext#@risebcg.onmicrosoft.com::67a27a72-2420-4d38-b745-316a53f4b99a" providerId="AD" clId="Web-{DA0791EE-8C54-44FE-85AD-70117F2C2B72}" dt="2022-01-09T09:08:52.821" v="190" actId="20577"/>
          <ac:spMkLst>
            <pc:docMk/>
            <pc:sldMk cId="2149037765" sldId="346"/>
            <ac:spMk id="18" creationId="{4C8E7E93-D719-4D68-AF75-84A3D92DD60C}"/>
          </ac:spMkLst>
        </pc:spChg>
      </pc:sldChg>
      <pc:sldChg chg="ord">
        <pc:chgData name="EVELYNSM.YONG" userId="S::evelynsm.yong_gmail.com#ext#@risebcg.onmicrosoft.com::67a27a72-2420-4d38-b745-316a53f4b99a" providerId="AD" clId="Web-{DA0791EE-8C54-44FE-85AD-70117F2C2B72}" dt="2022-01-09T09:06:34.584" v="171"/>
        <pc:sldMkLst>
          <pc:docMk/>
          <pc:sldMk cId="426360798" sldId="347"/>
        </pc:sldMkLst>
      </pc:sldChg>
      <pc:sldChg chg="ord">
        <pc:chgData name="EVELYNSM.YONG" userId="S::evelynsm.yong_gmail.com#ext#@risebcg.onmicrosoft.com::67a27a72-2420-4d38-b745-316a53f4b99a" providerId="AD" clId="Web-{DA0791EE-8C54-44FE-85AD-70117F2C2B72}" dt="2022-01-09T09:06:40.772" v="174"/>
        <pc:sldMkLst>
          <pc:docMk/>
          <pc:sldMk cId="861222469" sldId="348"/>
        </pc:sldMkLst>
      </pc:sldChg>
      <pc:sldChg chg="ord">
        <pc:chgData name="EVELYNSM.YONG" userId="S::evelynsm.yong_gmail.com#ext#@risebcg.onmicrosoft.com::67a27a72-2420-4d38-b745-316a53f4b99a" providerId="AD" clId="Web-{DA0791EE-8C54-44FE-85AD-70117F2C2B72}" dt="2022-01-09T09:06:34.584" v="169"/>
        <pc:sldMkLst>
          <pc:docMk/>
          <pc:sldMk cId="2528704326" sldId="349"/>
        </pc:sldMkLst>
      </pc:sldChg>
      <pc:sldChg chg="ord">
        <pc:chgData name="EVELYNSM.YONG" userId="S::evelynsm.yong_gmail.com#ext#@risebcg.onmicrosoft.com::67a27a72-2420-4d38-b745-316a53f4b99a" providerId="AD" clId="Web-{DA0791EE-8C54-44FE-85AD-70117F2C2B72}" dt="2022-01-09T09:06:34.584" v="168"/>
        <pc:sldMkLst>
          <pc:docMk/>
          <pc:sldMk cId="3685283696" sldId="350"/>
        </pc:sldMkLst>
      </pc:sldChg>
      <pc:sldChg chg="ord">
        <pc:chgData name="EVELYNSM.YONG" userId="S::evelynsm.yong_gmail.com#ext#@risebcg.onmicrosoft.com::67a27a72-2420-4d38-b745-316a53f4b99a" providerId="AD" clId="Web-{DA0791EE-8C54-44FE-85AD-70117F2C2B72}" dt="2022-01-09T09:06:34.584" v="170"/>
        <pc:sldMkLst>
          <pc:docMk/>
          <pc:sldMk cId="1823296178" sldId="351"/>
        </pc:sldMkLst>
      </pc:sldChg>
      <pc:sldChg chg="modSp ord">
        <pc:chgData name="EVELYNSM.YONG" userId="S::evelynsm.yong_gmail.com#ext#@risebcg.onmicrosoft.com::67a27a72-2420-4d38-b745-316a53f4b99a" providerId="AD" clId="Web-{DA0791EE-8C54-44FE-85AD-70117F2C2B72}" dt="2022-01-09T09:07:17.835" v="177" actId="1076"/>
        <pc:sldMkLst>
          <pc:docMk/>
          <pc:sldMk cId="1602317283" sldId="352"/>
        </pc:sldMkLst>
        <pc:picChg chg="mod">
          <ac:chgData name="EVELYNSM.YONG" userId="S::evelynsm.yong_gmail.com#ext#@risebcg.onmicrosoft.com::67a27a72-2420-4d38-b745-316a53f4b99a" providerId="AD" clId="Web-{DA0791EE-8C54-44FE-85AD-70117F2C2B72}" dt="2022-01-09T09:07:16.523" v="176" actId="1076"/>
          <ac:picMkLst>
            <pc:docMk/>
            <pc:sldMk cId="1602317283" sldId="352"/>
            <ac:picMk id="3" creationId="{20B35CB3-36DD-49EE-954D-E122673D5070}"/>
          </ac:picMkLst>
        </pc:picChg>
        <pc:picChg chg="mod">
          <ac:chgData name="EVELYNSM.YONG" userId="S::evelynsm.yong_gmail.com#ext#@risebcg.onmicrosoft.com::67a27a72-2420-4d38-b745-316a53f4b99a" providerId="AD" clId="Web-{DA0791EE-8C54-44FE-85AD-70117F2C2B72}" dt="2022-01-09T09:07:17.835" v="177" actId="1076"/>
          <ac:picMkLst>
            <pc:docMk/>
            <pc:sldMk cId="1602317283" sldId="352"/>
            <ac:picMk id="4" creationId="{77A06809-46E8-4104-8CC2-39B3E44D4271}"/>
          </ac:picMkLst>
        </pc:picChg>
      </pc:sldChg>
      <pc:sldChg chg="ord">
        <pc:chgData name="EVELYNSM.YONG" userId="S::evelynsm.yong_gmail.com#ext#@risebcg.onmicrosoft.com::67a27a72-2420-4d38-b745-316a53f4b99a" providerId="AD" clId="Web-{DA0791EE-8C54-44FE-85AD-70117F2C2B72}" dt="2022-01-09T09:06:34.584" v="172"/>
        <pc:sldMkLst>
          <pc:docMk/>
          <pc:sldMk cId="1042141491" sldId="353"/>
        </pc:sldMkLst>
      </pc:sldChg>
      <pc:sldChg chg="modSp ord">
        <pc:chgData name="EVELYNSM.YONG" userId="S::evelynsm.yong_gmail.com#ext#@risebcg.onmicrosoft.com::67a27a72-2420-4d38-b745-316a53f4b99a" providerId="AD" clId="Web-{DA0791EE-8C54-44FE-85AD-70117F2C2B72}" dt="2022-01-09T09:07:38.679" v="180" actId="14100"/>
        <pc:sldMkLst>
          <pc:docMk/>
          <pc:sldMk cId="165658709" sldId="355"/>
        </pc:sldMkLst>
        <pc:spChg chg="mod">
          <ac:chgData name="EVELYNSM.YONG" userId="S::evelynsm.yong_gmail.com#ext#@risebcg.onmicrosoft.com::67a27a72-2420-4d38-b745-316a53f4b99a" providerId="AD" clId="Web-{DA0791EE-8C54-44FE-85AD-70117F2C2B72}" dt="2022-01-09T09:07:38.679" v="180" actId="14100"/>
          <ac:spMkLst>
            <pc:docMk/>
            <pc:sldMk cId="165658709" sldId="355"/>
            <ac:spMk id="25" creationId="{A72C66DB-3DFA-4DD0-BB16-94A4A31F5E94}"/>
          </ac:spMkLst>
        </pc:spChg>
        <pc:picChg chg="mod">
          <ac:chgData name="EVELYNSM.YONG" userId="S::evelynsm.yong_gmail.com#ext#@risebcg.onmicrosoft.com::67a27a72-2420-4d38-b745-316a53f4b99a" providerId="AD" clId="Web-{DA0791EE-8C54-44FE-85AD-70117F2C2B72}" dt="2022-01-09T09:07:35.289" v="179" actId="1076"/>
          <ac:picMkLst>
            <pc:docMk/>
            <pc:sldMk cId="165658709" sldId="355"/>
            <ac:picMk id="2" creationId="{BD070F67-C046-4FA4-BC49-57AF06A15A77}"/>
          </ac:picMkLst>
        </pc:picChg>
      </pc:sldChg>
      <pc:sldChg chg="ord">
        <pc:chgData name="EVELYNSM.YONG" userId="S::evelynsm.yong_gmail.com#ext#@risebcg.onmicrosoft.com::67a27a72-2420-4d38-b745-316a53f4b99a" providerId="AD" clId="Web-{DA0791EE-8C54-44FE-85AD-70117F2C2B72}" dt="2022-01-09T09:06:01.318" v="154"/>
        <pc:sldMkLst>
          <pc:docMk/>
          <pc:sldMk cId="744992136" sldId="357"/>
        </pc:sldMkLst>
      </pc:sldChg>
      <pc:sldChg chg="addSp delSp modSp">
        <pc:chgData name="EVELYNSM.YONG" userId="S::evelynsm.yong_gmail.com#ext#@risebcg.onmicrosoft.com::67a27a72-2420-4d38-b745-316a53f4b99a" providerId="AD" clId="Web-{DA0791EE-8C54-44FE-85AD-70117F2C2B72}" dt="2022-01-09T15:02:07.421" v="1542" actId="14100"/>
        <pc:sldMkLst>
          <pc:docMk/>
          <pc:sldMk cId="1894441827" sldId="358"/>
        </pc:sldMkLst>
        <pc:spChg chg="mod">
          <ac:chgData name="EVELYNSM.YONG" userId="S::evelynsm.yong_gmail.com#ext#@risebcg.onmicrosoft.com::67a27a72-2420-4d38-b745-316a53f4b99a" providerId="AD" clId="Web-{DA0791EE-8C54-44FE-85AD-70117F2C2B72}" dt="2022-01-09T09:00:39.905" v="80" actId="20577"/>
          <ac:spMkLst>
            <pc:docMk/>
            <pc:sldMk cId="1894441827" sldId="358"/>
            <ac:spMk id="3" creationId="{2321500F-B116-49E9-B713-1C89E59A92D6}"/>
          </ac:spMkLst>
        </pc:spChg>
        <pc:spChg chg="add del mod">
          <ac:chgData name="EVELYNSM.YONG" userId="S::evelynsm.yong_gmail.com#ext#@risebcg.onmicrosoft.com::67a27a72-2420-4d38-b745-316a53f4b99a" providerId="AD" clId="Web-{DA0791EE-8C54-44FE-85AD-70117F2C2B72}" dt="2022-01-09T09:01:55.906" v="93"/>
          <ac:spMkLst>
            <pc:docMk/>
            <pc:sldMk cId="1894441827" sldId="358"/>
            <ac:spMk id="9" creationId="{A2FA16AE-9345-4069-A7A3-8018B64BA3F5}"/>
          </ac:spMkLst>
        </pc:spChg>
        <pc:spChg chg="mod">
          <ac:chgData name="EVELYNSM.YONG" userId="S::evelynsm.yong_gmail.com#ext#@risebcg.onmicrosoft.com::67a27a72-2420-4d38-b745-316a53f4b99a" providerId="AD" clId="Web-{DA0791EE-8C54-44FE-85AD-70117F2C2B72}" dt="2022-01-09T09:00:55.608" v="85" actId="1076"/>
          <ac:spMkLst>
            <pc:docMk/>
            <pc:sldMk cId="1894441827" sldId="358"/>
            <ac:spMk id="10" creationId="{42FB9C20-3D6F-40FF-ABFC-89E5858742B1}"/>
          </ac:spMkLst>
        </pc:spChg>
        <pc:spChg chg="mod">
          <ac:chgData name="EVELYNSM.YONG" userId="S::evelynsm.yong_gmail.com#ext#@risebcg.onmicrosoft.com::67a27a72-2420-4d38-b745-316a53f4b99a" providerId="AD" clId="Web-{DA0791EE-8C54-44FE-85AD-70117F2C2B72}" dt="2022-01-09T09:00:48.124" v="83" actId="1076"/>
          <ac:spMkLst>
            <pc:docMk/>
            <pc:sldMk cId="1894441827" sldId="358"/>
            <ac:spMk id="12" creationId="{95E46411-4A0C-41AA-9250-790D71323EA7}"/>
          </ac:spMkLst>
        </pc:spChg>
        <pc:spChg chg="add mod">
          <ac:chgData name="EVELYNSM.YONG" userId="S::evelynsm.yong_gmail.com#ext#@risebcg.onmicrosoft.com::67a27a72-2420-4d38-b745-316a53f4b99a" providerId="AD" clId="Web-{DA0791EE-8C54-44FE-85AD-70117F2C2B72}" dt="2022-01-09T15:02:07.421" v="1542" actId="14100"/>
          <ac:spMkLst>
            <pc:docMk/>
            <pc:sldMk cId="1894441827" sldId="358"/>
            <ac:spMk id="15" creationId="{66ACABA1-7700-449A-A7C2-2D4C94CED2C7}"/>
          </ac:spMkLst>
        </pc:spChg>
        <pc:spChg chg="add del mod">
          <ac:chgData name="EVELYNSM.YONG" userId="S::evelynsm.yong_gmail.com#ext#@risebcg.onmicrosoft.com::67a27a72-2420-4d38-b745-316a53f4b99a" providerId="AD" clId="Web-{DA0791EE-8C54-44FE-85AD-70117F2C2B72}" dt="2022-01-09T08:59:38.404" v="61"/>
          <ac:spMkLst>
            <pc:docMk/>
            <pc:sldMk cId="1894441827" sldId="358"/>
            <ac:spMk id="16" creationId="{6F7C634F-B1DE-4A85-9321-B939E0949224}"/>
          </ac:spMkLst>
        </pc:spChg>
        <pc:spChg chg="del mod">
          <ac:chgData name="EVELYNSM.YONG" userId="S::evelynsm.yong_gmail.com#ext#@risebcg.onmicrosoft.com::67a27a72-2420-4d38-b745-316a53f4b99a" providerId="AD" clId="Web-{DA0791EE-8C54-44FE-85AD-70117F2C2B72}" dt="2022-01-09T08:59:51.185" v="67"/>
          <ac:spMkLst>
            <pc:docMk/>
            <pc:sldMk cId="1894441827" sldId="358"/>
            <ac:spMk id="17" creationId="{815F3179-193A-4F5E-A1A9-12297C608458}"/>
          </ac:spMkLst>
        </pc:spChg>
        <pc:picChg chg="mod modCrop">
          <ac:chgData name="EVELYNSM.YONG" userId="S::evelynsm.yong_gmail.com#ext#@risebcg.onmicrosoft.com::67a27a72-2420-4d38-b745-316a53f4b99a" providerId="AD" clId="Web-{DA0791EE-8C54-44FE-85AD-70117F2C2B72}" dt="2022-01-09T09:00:58.905" v="86" actId="1076"/>
          <ac:picMkLst>
            <pc:docMk/>
            <pc:sldMk cId="1894441827" sldId="358"/>
            <ac:picMk id="4" creationId="{BA22EAA2-4B47-4688-9DD6-1B3E79191AAF}"/>
          </ac:picMkLst>
        </pc:picChg>
        <pc:picChg chg="del mod">
          <ac:chgData name="EVELYNSM.YONG" userId="S::evelynsm.yong_gmail.com#ext#@risebcg.onmicrosoft.com::67a27a72-2420-4d38-b745-316a53f4b99a" providerId="AD" clId="Web-{DA0791EE-8C54-44FE-85AD-70117F2C2B72}" dt="2022-01-09T08:57:57.980" v="35"/>
          <ac:picMkLst>
            <pc:docMk/>
            <pc:sldMk cId="1894441827" sldId="358"/>
            <ac:picMk id="6" creationId="{5F5024CD-EB7B-49D0-9E4B-B6BFDC4F5683}"/>
          </ac:picMkLst>
        </pc:picChg>
        <pc:picChg chg="mod">
          <ac:chgData name="EVELYNSM.YONG" userId="S::evelynsm.yong_gmail.com#ext#@risebcg.onmicrosoft.com::67a27a72-2420-4d38-b745-316a53f4b99a" providerId="AD" clId="Web-{DA0791EE-8C54-44FE-85AD-70117F2C2B72}" dt="2022-01-09T09:00:45.467" v="82" actId="1076"/>
          <ac:picMkLst>
            <pc:docMk/>
            <pc:sldMk cId="1894441827" sldId="358"/>
            <ac:picMk id="8" creationId="{80090A9D-A882-4EB8-927C-696FEDD289AC}"/>
          </ac:picMkLst>
        </pc:picChg>
        <pc:picChg chg="mod">
          <ac:chgData name="EVELYNSM.YONG" userId="S::evelynsm.yong_gmail.com#ext#@risebcg.onmicrosoft.com::67a27a72-2420-4d38-b745-316a53f4b99a" providerId="AD" clId="Web-{DA0791EE-8C54-44FE-85AD-70117F2C2B72}" dt="2022-01-09T09:00:54.061" v="84" actId="14100"/>
          <ac:picMkLst>
            <pc:docMk/>
            <pc:sldMk cId="1894441827" sldId="358"/>
            <ac:picMk id="11" creationId="{BCAB455B-1F72-43F9-AE57-6EC5913938BF}"/>
          </ac:picMkLst>
        </pc:picChg>
        <pc:cxnChg chg="del">
          <ac:chgData name="EVELYNSM.YONG" userId="S::evelynsm.yong_gmail.com#ext#@risebcg.onmicrosoft.com::67a27a72-2420-4d38-b745-316a53f4b99a" providerId="AD" clId="Web-{DA0791EE-8C54-44FE-85AD-70117F2C2B72}" dt="2022-01-09T08:57:26.604" v="24"/>
          <ac:cxnSpMkLst>
            <pc:docMk/>
            <pc:sldMk cId="1894441827" sldId="358"/>
            <ac:cxnSpMk id="5" creationId="{7650244C-E06B-41BA-A77C-2D20639EA927}"/>
          </ac:cxnSpMkLst>
        </pc:cxnChg>
        <pc:cxnChg chg="add del mod">
          <ac:chgData name="EVELYNSM.YONG" userId="S::evelynsm.yong_gmail.com#ext#@risebcg.onmicrosoft.com::67a27a72-2420-4d38-b745-316a53f4b99a" providerId="AD" clId="Web-{DA0791EE-8C54-44FE-85AD-70117F2C2B72}" dt="2022-01-09T09:00:35.186" v="79"/>
          <ac:cxnSpMkLst>
            <pc:docMk/>
            <pc:sldMk cId="1894441827" sldId="358"/>
            <ac:cxnSpMk id="7" creationId="{9A85CAF8-A943-4C32-92EF-7C57255D5E3E}"/>
          </ac:cxnSpMkLst>
        </pc:cxnChg>
      </pc:sldChg>
      <pc:sldChg chg="ord">
        <pc:chgData name="EVELYNSM.YONG" userId="S::evelynsm.yong_gmail.com#ext#@risebcg.onmicrosoft.com::67a27a72-2420-4d38-b745-316a53f4b99a" providerId="AD" clId="Web-{DA0791EE-8C54-44FE-85AD-70117F2C2B72}" dt="2022-01-09T09:06:15.928" v="159"/>
        <pc:sldMkLst>
          <pc:docMk/>
          <pc:sldMk cId="1365250593" sldId="359"/>
        </pc:sldMkLst>
      </pc:sldChg>
      <pc:sldChg chg="delSp modSp ord modNotes">
        <pc:chgData name="EVELYNSM.YONG" userId="S::evelynsm.yong_gmail.com#ext#@risebcg.onmicrosoft.com::67a27a72-2420-4d38-b745-316a53f4b99a" providerId="AD" clId="Web-{DA0791EE-8C54-44FE-85AD-70117F2C2B72}" dt="2022-01-09T15:55:51.484" v="2880"/>
        <pc:sldMkLst>
          <pc:docMk/>
          <pc:sldMk cId="3531645893" sldId="360"/>
        </pc:sldMkLst>
        <pc:spChg chg="mod">
          <ac:chgData name="EVELYNSM.YONG" userId="S::evelynsm.yong_gmail.com#ext#@risebcg.onmicrosoft.com::67a27a72-2420-4d38-b745-316a53f4b99a" providerId="AD" clId="Web-{DA0791EE-8C54-44FE-85AD-70117F2C2B72}" dt="2022-01-09T13:31:10.152" v="289"/>
          <ac:spMkLst>
            <pc:docMk/>
            <pc:sldMk cId="3531645893" sldId="360"/>
            <ac:spMk id="9" creationId="{E3C0B427-9E9D-47EC-AFD8-3D8F22D59FE9}"/>
          </ac:spMkLst>
        </pc:spChg>
        <pc:spChg chg="mod">
          <ac:chgData name="EVELYNSM.YONG" userId="S::evelynsm.yong_gmail.com#ext#@risebcg.onmicrosoft.com::67a27a72-2420-4d38-b745-316a53f4b99a" providerId="AD" clId="Web-{DA0791EE-8C54-44FE-85AD-70117F2C2B72}" dt="2022-01-09T15:37:22.447" v="2498"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DA0791EE-8C54-44FE-85AD-70117F2C2B72}" dt="2022-01-09T15:37:32.369" v="2501" actId="1076"/>
          <ac:spMkLst>
            <pc:docMk/>
            <pc:sldMk cId="3531645893" sldId="360"/>
            <ac:spMk id="22" creationId="{31E2D2F4-E28C-4B52-9C47-E50AD68240D1}"/>
          </ac:spMkLst>
        </pc:spChg>
        <pc:spChg chg="mod">
          <ac:chgData name="EVELYNSM.YONG" userId="S::evelynsm.yong_gmail.com#ext#@risebcg.onmicrosoft.com::67a27a72-2420-4d38-b745-316a53f4b99a" providerId="AD" clId="Web-{DA0791EE-8C54-44FE-85AD-70117F2C2B72}" dt="2022-01-09T15:37:30.072" v="2500"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DA0791EE-8C54-44FE-85AD-70117F2C2B72}" dt="2022-01-09T15:37:34.416" v="2502" actId="1076"/>
          <ac:spMkLst>
            <pc:docMk/>
            <pc:sldMk cId="3531645893" sldId="360"/>
            <ac:spMk id="24" creationId="{CEFC4E90-FB9D-4E3E-86B1-5712D705BC99}"/>
          </ac:spMkLst>
        </pc:spChg>
        <pc:spChg chg="del">
          <ac:chgData name="EVELYNSM.YONG" userId="S::evelynsm.yong_gmail.com#ext#@risebcg.onmicrosoft.com::67a27a72-2420-4d38-b745-316a53f4b99a" providerId="AD" clId="Web-{DA0791EE-8C54-44FE-85AD-70117F2C2B72}" dt="2022-01-09T15:33:16.786" v="2302"/>
          <ac:spMkLst>
            <pc:docMk/>
            <pc:sldMk cId="3531645893" sldId="360"/>
            <ac:spMk id="38" creationId="{FEF91957-B410-48E7-A904-8D71259BC55D}"/>
          </ac:spMkLst>
        </pc:spChg>
        <pc:spChg chg="del">
          <ac:chgData name="EVELYNSM.YONG" userId="S::evelynsm.yong_gmail.com#ext#@risebcg.onmicrosoft.com::67a27a72-2420-4d38-b745-316a53f4b99a" providerId="AD" clId="Web-{DA0791EE-8C54-44FE-85AD-70117F2C2B72}" dt="2022-01-09T13:20:58.015" v="206"/>
          <ac:spMkLst>
            <pc:docMk/>
            <pc:sldMk cId="3531645893" sldId="360"/>
            <ac:spMk id="39" creationId="{42DA18B2-FE72-46C2-A8F6-3AEF6644F2B4}"/>
          </ac:spMkLst>
        </pc:spChg>
      </pc:sldChg>
    </pc:docChg>
  </pc:docChgLst>
  <pc:docChgLst>
    <pc:chgData name="EVELYNSM.YONG" userId="S::evelynsm.yong_gmail.com#ext#@risebcg.onmicrosoft.com::67a27a72-2420-4d38-b745-316a53f4b99a" providerId="AD" clId="Web-{A6F1A08D-D360-4994-A761-FEAF41265FF9}"/>
    <pc:docChg chg="modSld">
      <pc:chgData name="EVELYNSM.YONG" userId="S::evelynsm.yong_gmail.com#ext#@risebcg.onmicrosoft.com::67a27a72-2420-4d38-b745-316a53f4b99a" providerId="AD" clId="Web-{A6F1A08D-D360-4994-A761-FEAF41265FF9}" dt="2022-01-12T02:54:10.336" v="97"/>
      <pc:docMkLst>
        <pc:docMk/>
      </pc:docMkLst>
      <pc:sldChg chg="delSp">
        <pc:chgData name="EVELYNSM.YONG" userId="S::evelynsm.yong_gmail.com#ext#@risebcg.onmicrosoft.com::67a27a72-2420-4d38-b745-316a53f4b99a" providerId="AD" clId="Web-{A6F1A08D-D360-4994-A761-FEAF41265FF9}" dt="2022-01-12T02:54:07.461" v="95"/>
        <pc:sldMkLst>
          <pc:docMk/>
          <pc:sldMk cId="2761597836" sldId="317"/>
        </pc:sldMkLst>
        <pc:spChg chg="del">
          <ac:chgData name="EVELYNSM.YONG" userId="S::evelynsm.yong_gmail.com#ext#@risebcg.onmicrosoft.com::67a27a72-2420-4d38-b745-316a53f4b99a" providerId="AD" clId="Web-{A6F1A08D-D360-4994-A761-FEAF41265FF9}" dt="2022-01-12T02:54:07.399" v="94"/>
          <ac:spMkLst>
            <pc:docMk/>
            <pc:sldMk cId="2761597836" sldId="317"/>
            <ac:spMk id="4" creationId="{47FBA980-748F-45F3-A601-867538EAE4C8}"/>
          </ac:spMkLst>
        </pc:spChg>
        <pc:picChg chg="del">
          <ac:chgData name="EVELYNSM.YONG" userId="S::evelynsm.yong_gmail.com#ext#@risebcg.onmicrosoft.com::67a27a72-2420-4d38-b745-316a53f4b99a" providerId="AD" clId="Web-{A6F1A08D-D360-4994-A761-FEAF41265FF9}" dt="2022-01-12T02:54:07.461" v="95"/>
          <ac:picMkLst>
            <pc:docMk/>
            <pc:sldMk cId="2761597836" sldId="317"/>
            <ac:picMk id="9" creationId="{D1197DB7-AECA-45D2-B625-C5A366E0F15B}"/>
          </ac:picMkLst>
        </pc:picChg>
      </pc:sldChg>
      <pc:sldChg chg="delSp">
        <pc:chgData name="EVELYNSM.YONG" userId="S::evelynsm.yong_gmail.com#ext#@risebcg.onmicrosoft.com::67a27a72-2420-4d38-b745-316a53f4b99a" providerId="AD" clId="Web-{A6F1A08D-D360-4994-A761-FEAF41265FF9}" dt="2022-01-12T02:53:50.288" v="83"/>
        <pc:sldMkLst>
          <pc:docMk/>
          <pc:sldMk cId="855648020" sldId="337"/>
        </pc:sldMkLst>
        <pc:spChg chg="del">
          <ac:chgData name="EVELYNSM.YONG" userId="S::evelynsm.yong_gmail.com#ext#@risebcg.onmicrosoft.com::67a27a72-2420-4d38-b745-316a53f4b99a" providerId="AD" clId="Web-{A6F1A08D-D360-4994-A761-FEAF41265FF9}" dt="2022-01-12T02:53:49.648" v="82"/>
          <ac:spMkLst>
            <pc:docMk/>
            <pc:sldMk cId="855648020" sldId="337"/>
            <ac:spMk id="18" creationId="{4C8E7E93-D719-4D68-AF75-84A3D92DD60C}"/>
          </ac:spMkLst>
        </pc:spChg>
        <pc:picChg chg="del">
          <ac:chgData name="EVELYNSM.YONG" userId="S::evelynsm.yong_gmail.com#ext#@risebcg.onmicrosoft.com::67a27a72-2420-4d38-b745-316a53f4b99a" providerId="AD" clId="Web-{A6F1A08D-D360-4994-A761-FEAF41265FF9}" dt="2022-01-12T02:53:50.288" v="83"/>
          <ac:picMkLst>
            <pc:docMk/>
            <pc:sldMk cId="855648020" sldId="337"/>
            <ac:picMk id="19" creationId="{34C08A26-CA1B-4581-85D4-0D95F9633BCA}"/>
          </ac:picMkLst>
        </pc:picChg>
      </pc:sldChg>
      <pc:sldChg chg="delSp">
        <pc:chgData name="EVELYNSM.YONG" userId="S::evelynsm.yong_gmail.com#ext#@risebcg.onmicrosoft.com::67a27a72-2420-4d38-b745-316a53f4b99a" providerId="AD" clId="Web-{A6F1A08D-D360-4994-A761-FEAF41265FF9}" dt="2022-01-12T02:53:58.695" v="89"/>
        <pc:sldMkLst>
          <pc:docMk/>
          <pc:sldMk cId="3971465157" sldId="345"/>
        </pc:sldMkLst>
        <pc:spChg chg="del">
          <ac:chgData name="EVELYNSM.YONG" userId="S::evelynsm.yong_gmail.com#ext#@risebcg.onmicrosoft.com::67a27a72-2420-4d38-b745-316a53f4b99a" providerId="AD" clId="Web-{A6F1A08D-D360-4994-A761-FEAF41265FF9}" dt="2022-01-12T02:53:58.117" v="88"/>
          <ac:spMkLst>
            <pc:docMk/>
            <pc:sldMk cId="3971465157" sldId="345"/>
            <ac:spMk id="18" creationId="{4C8E7E93-D719-4D68-AF75-84A3D92DD60C}"/>
          </ac:spMkLst>
        </pc:spChg>
        <pc:picChg chg="del">
          <ac:chgData name="EVELYNSM.YONG" userId="S::evelynsm.yong_gmail.com#ext#@risebcg.onmicrosoft.com::67a27a72-2420-4d38-b745-316a53f4b99a" providerId="AD" clId="Web-{A6F1A08D-D360-4994-A761-FEAF41265FF9}" dt="2022-01-12T02:53:58.695" v="89"/>
          <ac:picMkLst>
            <pc:docMk/>
            <pc:sldMk cId="3971465157" sldId="345"/>
            <ac:picMk id="19" creationId="{34C08A26-CA1B-4581-85D4-0D95F9633BCA}"/>
          </ac:picMkLst>
        </pc:picChg>
      </pc:sldChg>
      <pc:sldChg chg="delSp">
        <pc:chgData name="EVELYNSM.YONG" userId="S::evelynsm.yong_gmail.com#ext#@risebcg.onmicrosoft.com::67a27a72-2420-4d38-b745-316a53f4b99a" providerId="AD" clId="Web-{A6F1A08D-D360-4994-A761-FEAF41265FF9}" dt="2022-01-12T02:53:57.523" v="87"/>
        <pc:sldMkLst>
          <pc:docMk/>
          <pc:sldMk cId="2149037765" sldId="346"/>
        </pc:sldMkLst>
        <pc:spChg chg="del">
          <ac:chgData name="EVELYNSM.YONG" userId="S::evelynsm.yong_gmail.com#ext#@risebcg.onmicrosoft.com::67a27a72-2420-4d38-b745-316a53f4b99a" providerId="AD" clId="Web-{A6F1A08D-D360-4994-A761-FEAF41265FF9}" dt="2022-01-12T02:53:57.429" v="86"/>
          <ac:spMkLst>
            <pc:docMk/>
            <pc:sldMk cId="2149037765" sldId="346"/>
            <ac:spMk id="18" creationId="{4C8E7E93-D719-4D68-AF75-84A3D92DD60C}"/>
          </ac:spMkLst>
        </pc:spChg>
        <pc:picChg chg="del">
          <ac:chgData name="EVELYNSM.YONG" userId="S::evelynsm.yong_gmail.com#ext#@risebcg.onmicrosoft.com::67a27a72-2420-4d38-b745-316a53f4b99a" providerId="AD" clId="Web-{A6F1A08D-D360-4994-A761-FEAF41265FF9}" dt="2022-01-12T02:53:57.523" v="87"/>
          <ac:picMkLst>
            <pc:docMk/>
            <pc:sldMk cId="2149037765" sldId="346"/>
            <ac:picMk id="19" creationId="{34C08A26-CA1B-4581-85D4-0D95F9633BCA}"/>
          </ac:picMkLst>
        </pc:picChg>
      </pc:sldChg>
      <pc:sldChg chg="delSp">
        <pc:chgData name="EVELYNSM.YONG" userId="S::evelynsm.yong_gmail.com#ext#@risebcg.onmicrosoft.com::67a27a72-2420-4d38-b745-316a53f4b99a" providerId="AD" clId="Web-{A6F1A08D-D360-4994-A761-FEAF41265FF9}" dt="2022-01-12T02:53:48.210" v="81"/>
        <pc:sldMkLst>
          <pc:docMk/>
          <pc:sldMk cId="165658709" sldId="355"/>
        </pc:sldMkLst>
        <pc:spChg chg="del">
          <ac:chgData name="EVELYNSM.YONG" userId="S::evelynsm.yong_gmail.com#ext#@risebcg.onmicrosoft.com::67a27a72-2420-4d38-b745-316a53f4b99a" providerId="AD" clId="Web-{A6F1A08D-D360-4994-A761-FEAF41265FF9}" dt="2022-01-12T02:53:47.038" v="80"/>
          <ac:spMkLst>
            <pc:docMk/>
            <pc:sldMk cId="165658709" sldId="355"/>
            <ac:spMk id="18" creationId="{4C8E7E93-D719-4D68-AF75-84A3D92DD60C}"/>
          </ac:spMkLst>
        </pc:spChg>
        <pc:picChg chg="del">
          <ac:chgData name="EVELYNSM.YONG" userId="S::evelynsm.yong_gmail.com#ext#@risebcg.onmicrosoft.com::67a27a72-2420-4d38-b745-316a53f4b99a" providerId="AD" clId="Web-{A6F1A08D-D360-4994-A761-FEAF41265FF9}" dt="2022-01-12T02:53:48.210" v="81"/>
          <ac:picMkLst>
            <pc:docMk/>
            <pc:sldMk cId="165658709" sldId="355"/>
            <ac:picMk id="19" creationId="{34C08A26-CA1B-4581-85D4-0D95F9633BCA}"/>
          </ac:picMkLst>
        </pc:picChg>
      </pc:sldChg>
      <pc:sldChg chg="delSp">
        <pc:chgData name="EVELYNSM.YONG" userId="S::evelynsm.yong_gmail.com#ext#@risebcg.onmicrosoft.com::67a27a72-2420-4d38-b745-316a53f4b99a" providerId="AD" clId="Web-{A6F1A08D-D360-4994-A761-FEAF41265FF9}" dt="2022-01-12T02:53:53.023" v="85"/>
        <pc:sldMkLst>
          <pc:docMk/>
          <pc:sldMk cId="3295041884" sldId="369"/>
        </pc:sldMkLst>
        <pc:spChg chg="del">
          <ac:chgData name="EVELYNSM.YONG" userId="S::evelynsm.yong_gmail.com#ext#@risebcg.onmicrosoft.com::67a27a72-2420-4d38-b745-316a53f4b99a" providerId="AD" clId="Web-{A6F1A08D-D360-4994-A761-FEAF41265FF9}" dt="2022-01-12T02:53:52.523" v="84"/>
          <ac:spMkLst>
            <pc:docMk/>
            <pc:sldMk cId="3295041884" sldId="369"/>
            <ac:spMk id="18" creationId="{4C8E7E93-D719-4D68-AF75-84A3D92DD60C}"/>
          </ac:spMkLst>
        </pc:spChg>
        <pc:picChg chg="del">
          <ac:chgData name="EVELYNSM.YONG" userId="S::evelynsm.yong_gmail.com#ext#@risebcg.onmicrosoft.com::67a27a72-2420-4d38-b745-316a53f4b99a" providerId="AD" clId="Web-{A6F1A08D-D360-4994-A761-FEAF41265FF9}" dt="2022-01-12T02:53:53.023" v="85"/>
          <ac:picMkLst>
            <pc:docMk/>
            <pc:sldMk cId="3295041884" sldId="369"/>
            <ac:picMk id="19" creationId="{34C08A26-CA1B-4581-85D4-0D95F9633BCA}"/>
          </ac:picMkLst>
        </pc:picChg>
      </pc:sldChg>
      <pc:sldChg chg="delSp">
        <pc:chgData name="EVELYNSM.YONG" userId="S::evelynsm.yong_gmail.com#ext#@risebcg.onmicrosoft.com::67a27a72-2420-4d38-b745-316a53f4b99a" providerId="AD" clId="Web-{A6F1A08D-D360-4994-A761-FEAF41265FF9}" dt="2022-01-12T02:54:01.070" v="91"/>
        <pc:sldMkLst>
          <pc:docMk/>
          <pc:sldMk cId="3758978858" sldId="379"/>
        </pc:sldMkLst>
        <pc:spChg chg="del">
          <ac:chgData name="EVELYNSM.YONG" userId="S::evelynsm.yong_gmail.com#ext#@risebcg.onmicrosoft.com::67a27a72-2420-4d38-b745-316a53f4b99a" providerId="AD" clId="Web-{A6F1A08D-D360-4994-A761-FEAF41265FF9}" dt="2022-01-12T02:54:00.508" v="90"/>
          <ac:spMkLst>
            <pc:docMk/>
            <pc:sldMk cId="3758978858" sldId="379"/>
            <ac:spMk id="3" creationId="{70B07330-2F68-4A35-9040-6BC23E0869D8}"/>
          </ac:spMkLst>
        </pc:spChg>
        <pc:picChg chg="del">
          <ac:chgData name="EVELYNSM.YONG" userId="S::evelynsm.yong_gmail.com#ext#@risebcg.onmicrosoft.com::67a27a72-2420-4d38-b745-316a53f4b99a" providerId="AD" clId="Web-{A6F1A08D-D360-4994-A761-FEAF41265FF9}" dt="2022-01-12T02:54:01.070" v="91"/>
          <ac:picMkLst>
            <pc:docMk/>
            <pc:sldMk cId="3758978858" sldId="379"/>
            <ac:picMk id="4" creationId="{B5DB32CC-EAC7-41A2-8184-F3E358704B4D}"/>
          </ac:picMkLst>
        </pc:picChg>
      </pc:sldChg>
      <pc:sldChg chg="delSp">
        <pc:chgData name="EVELYNSM.YONG" userId="S::evelynsm.yong_gmail.com#ext#@risebcg.onmicrosoft.com::67a27a72-2420-4d38-b745-316a53f4b99a" providerId="AD" clId="Web-{A6F1A08D-D360-4994-A761-FEAF41265FF9}" dt="2022-01-12T02:54:03.930" v="93"/>
        <pc:sldMkLst>
          <pc:docMk/>
          <pc:sldMk cId="1431775713" sldId="384"/>
        </pc:sldMkLst>
        <pc:spChg chg="del">
          <ac:chgData name="EVELYNSM.YONG" userId="S::evelynsm.yong_gmail.com#ext#@risebcg.onmicrosoft.com::67a27a72-2420-4d38-b745-316a53f4b99a" providerId="AD" clId="Web-{A6F1A08D-D360-4994-A761-FEAF41265FF9}" dt="2022-01-12T02:54:03.367" v="92"/>
          <ac:spMkLst>
            <pc:docMk/>
            <pc:sldMk cId="1431775713" sldId="384"/>
            <ac:spMk id="6" creationId="{C0AF55F1-44C1-4497-BC9B-D744784B44CE}"/>
          </ac:spMkLst>
        </pc:spChg>
        <pc:picChg chg="del">
          <ac:chgData name="EVELYNSM.YONG" userId="S::evelynsm.yong_gmail.com#ext#@risebcg.onmicrosoft.com::67a27a72-2420-4d38-b745-316a53f4b99a" providerId="AD" clId="Web-{A6F1A08D-D360-4994-A761-FEAF41265FF9}" dt="2022-01-12T02:54:03.930" v="93"/>
          <ac:picMkLst>
            <pc:docMk/>
            <pc:sldMk cId="1431775713" sldId="384"/>
            <ac:picMk id="8" creationId="{DCF575F8-450B-40AB-B359-4D89A75FB07C}"/>
          </ac:picMkLst>
        </pc:picChg>
      </pc:sldChg>
      <pc:sldChg chg="delSp modNotes">
        <pc:chgData name="EVELYNSM.YONG" userId="S::evelynsm.yong_gmail.com#ext#@risebcg.onmicrosoft.com::67a27a72-2420-4d38-b745-316a53f4b99a" providerId="AD" clId="Web-{A6F1A08D-D360-4994-A761-FEAF41265FF9}" dt="2022-01-12T02:54:10.336" v="97"/>
        <pc:sldMkLst>
          <pc:docMk/>
          <pc:sldMk cId="1042430735" sldId="386"/>
        </pc:sldMkLst>
        <pc:spChg chg="del">
          <ac:chgData name="EVELYNSM.YONG" userId="S::evelynsm.yong_gmail.com#ext#@risebcg.onmicrosoft.com::67a27a72-2420-4d38-b745-316a53f4b99a" providerId="AD" clId="Web-{A6F1A08D-D360-4994-A761-FEAF41265FF9}" dt="2022-01-12T02:54:09.774" v="96"/>
          <ac:spMkLst>
            <pc:docMk/>
            <pc:sldMk cId="1042430735" sldId="386"/>
            <ac:spMk id="5" creationId="{A1E26808-A725-4784-8277-2918659CAA65}"/>
          </ac:spMkLst>
        </pc:spChg>
        <pc:picChg chg="del">
          <ac:chgData name="EVELYNSM.YONG" userId="S::evelynsm.yong_gmail.com#ext#@risebcg.onmicrosoft.com::67a27a72-2420-4d38-b745-316a53f4b99a" providerId="AD" clId="Web-{A6F1A08D-D360-4994-A761-FEAF41265FF9}" dt="2022-01-12T02:54:10.336" v="97"/>
          <ac:picMkLst>
            <pc:docMk/>
            <pc:sldMk cId="1042430735" sldId="386"/>
            <ac:picMk id="10" creationId="{F0E86C43-04BE-4069-8197-3FA5A1E6284A}"/>
          </ac:picMkLst>
        </pc:picChg>
      </pc:sldChg>
    </pc:docChg>
  </pc:docChgLst>
  <pc:docChgLst>
    <pc:chgData name="WESLEY.TBW" userId="S::wesley.tbw_gmail.com#ext#@risebcg.onmicrosoft.com::1034df62-ee6d-4b2f-8a56-03c4406a0a8a" providerId="AD" clId="Web-{3B0288CD-6438-43D8-A754-2C00C1097321}"/>
    <pc:docChg chg="modSld">
      <pc:chgData name="WESLEY.TBW" userId="S::wesley.tbw_gmail.com#ext#@risebcg.onmicrosoft.com::1034df62-ee6d-4b2f-8a56-03c4406a0a8a" providerId="AD" clId="Web-{3B0288CD-6438-43D8-A754-2C00C1097321}" dt="2022-01-08T09:20:41.361" v="92" actId="1076"/>
      <pc:docMkLst>
        <pc:docMk/>
      </pc:docMkLst>
      <pc:sldChg chg="addSp delSp modSp">
        <pc:chgData name="WESLEY.TBW" userId="S::wesley.tbw_gmail.com#ext#@risebcg.onmicrosoft.com::1034df62-ee6d-4b2f-8a56-03c4406a0a8a" providerId="AD" clId="Web-{3B0288CD-6438-43D8-A754-2C00C1097321}" dt="2022-01-08T09:20:41.361" v="92" actId="1076"/>
        <pc:sldMkLst>
          <pc:docMk/>
          <pc:sldMk cId="4084366951" sldId="318"/>
        </pc:sldMkLst>
        <pc:spChg chg="mod">
          <ac:chgData name="WESLEY.TBW" userId="S::wesley.tbw_gmail.com#ext#@risebcg.onmicrosoft.com::1034df62-ee6d-4b2f-8a56-03c4406a0a8a" providerId="AD" clId="Web-{3B0288CD-6438-43D8-A754-2C00C1097321}" dt="2022-01-08T09:00:12.256" v="20" actId="14100"/>
          <ac:spMkLst>
            <pc:docMk/>
            <pc:sldMk cId="4084366951" sldId="318"/>
            <ac:spMk id="2" creationId="{1CAEE4F4-60D4-46CA-A79F-1CD22235EEA0}"/>
          </ac:spMkLst>
        </pc:spChg>
        <pc:spChg chg="del">
          <ac:chgData name="WESLEY.TBW" userId="S::wesley.tbw_gmail.com#ext#@risebcg.onmicrosoft.com::1034df62-ee6d-4b2f-8a56-03c4406a0a8a" providerId="AD" clId="Web-{3B0288CD-6438-43D8-A754-2C00C1097321}" dt="2022-01-08T09:00:20.365" v="23"/>
          <ac:spMkLst>
            <pc:docMk/>
            <pc:sldMk cId="4084366951" sldId="318"/>
            <ac:spMk id="5" creationId="{78DD61BE-D1D7-401B-B576-C4CC8A01AA78}"/>
          </ac:spMkLst>
        </pc:spChg>
        <pc:spChg chg="add mod">
          <ac:chgData name="WESLEY.TBW" userId="S::wesley.tbw_gmail.com#ext#@risebcg.onmicrosoft.com::1034df62-ee6d-4b2f-8a56-03c4406a0a8a" providerId="AD" clId="Web-{3B0288CD-6438-43D8-A754-2C00C1097321}" dt="2022-01-08T09:00:33.272" v="33" actId="1076"/>
          <ac:spMkLst>
            <pc:docMk/>
            <pc:sldMk cId="4084366951" sldId="318"/>
            <ac:spMk id="7" creationId="{B3BF61C1-43C3-4800-B5DD-5D8A55C1B3E9}"/>
          </ac:spMkLst>
        </pc:spChg>
        <pc:spChg chg="add mod">
          <ac:chgData name="WESLEY.TBW" userId="S::wesley.tbw_gmail.com#ext#@risebcg.onmicrosoft.com::1034df62-ee6d-4b2f-8a56-03c4406a0a8a" providerId="AD" clId="Web-{3B0288CD-6438-43D8-A754-2C00C1097321}" dt="2022-01-08T09:00:47.132" v="40" actId="1076"/>
          <ac:spMkLst>
            <pc:docMk/>
            <pc:sldMk cId="4084366951" sldId="318"/>
            <ac:spMk id="8" creationId="{B4102324-67C0-4946-A006-7D0AB358D531}"/>
          </ac:spMkLst>
        </pc:spChg>
        <pc:spChg chg="add mod">
          <ac:chgData name="WESLEY.TBW" userId="S::wesley.tbw_gmail.com#ext#@risebcg.onmicrosoft.com::1034df62-ee6d-4b2f-8a56-03c4406a0a8a" providerId="AD" clId="Web-{3B0288CD-6438-43D8-A754-2C00C1097321}" dt="2022-01-08T09:20:38.564" v="90" actId="1076"/>
          <ac:spMkLst>
            <pc:docMk/>
            <pc:sldMk cId="4084366951" sldId="318"/>
            <ac:spMk id="19" creationId="{40F287F0-B118-4CB9-ACBF-1E5B0A5817A5}"/>
          </ac:spMkLst>
        </pc:spChg>
        <pc:spChg chg="add mod">
          <ac:chgData name="WESLEY.TBW" userId="S::wesley.tbw_gmail.com#ext#@risebcg.onmicrosoft.com::1034df62-ee6d-4b2f-8a56-03c4406a0a8a" providerId="AD" clId="Web-{3B0288CD-6438-43D8-A754-2C00C1097321}" dt="2022-01-08T09:20:41.361" v="92" actId="1076"/>
          <ac:spMkLst>
            <pc:docMk/>
            <pc:sldMk cId="4084366951" sldId="318"/>
            <ac:spMk id="20" creationId="{FD3BCB8E-6B17-4F0A-A7A8-AA17BE71B8A2}"/>
          </ac:spMkLst>
        </pc:spChg>
        <pc:picChg chg="add mod">
          <ac:chgData name="WESLEY.TBW" userId="S::wesley.tbw_gmail.com#ext#@risebcg.onmicrosoft.com::1034df62-ee6d-4b2f-8a56-03c4406a0a8a" providerId="AD" clId="Web-{3B0288CD-6438-43D8-A754-2C00C1097321}" dt="2022-01-08T09:00:49.600" v="41" actId="1076"/>
          <ac:picMkLst>
            <pc:docMk/>
            <pc:sldMk cId="4084366951" sldId="318"/>
            <ac:picMk id="3" creationId="{4EA9D4D3-D6BE-4DD3-A185-A6287A9302E7}"/>
          </ac:picMkLst>
        </pc:picChg>
        <pc:picChg chg="del mod">
          <ac:chgData name="WESLEY.TBW" userId="S::wesley.tbw_gmail.com#ext#@risebcg.onmicrosoft.com::1034df62-ee6d-4b2f-8a56-03c4406a0a8a" providerId="AD" clId="Web-{3B0288CD-6438-43D8-A754-2C00C1097321}" dt="2022-01-08T08:58:58.285" v="1"/>
          <ac:picMkLst>
            <pc:docMk/>
            <pc:sldMk cId="4084366951" sldId="318"/>
            <ac:picMk id="4" creationId="{E637BE80-4027-4B69-9D4B-56D59ADC9A3A}"/>
          </ac:picMkLst>
        </pc:picChg>
        <pc:picChg chg="add mod modCrop">
          <ac:chgData name="WESLEY.TBW" userId="S::wesley.tbw_gmail.com#ext#@risebcg.onmicrosoft.com::1034df62-ee6d-4b2f-8a56-03c4406a0a8a" providerId="AD" clId="Web-{3B0288CD-6438-43D8-A754-2C00C1097321}" dt="2022-01-08T09:19:17.156" v="77" actId="14100"/>
          <ac:picMkLst>
            <pc:docMk/>
            <pc:sldMk cId="4084366951" sldId="318"/>
            <ac:picMk id="9" creationId="{329F3741-BB5B-4CA9-80DC-60382768BE40}"/>
          </ac:picMkLst>
        </pc:picChg>
        <pc:picChg chg="add mod">
          <ac:chgData name="WESLEY.TBW" userId="S::wesley.tbw_gmail.com#ext#@risebcg.onmicrosoft.com::1034df62-ee6d-4b2f-8a56-03c4406a0a8a" providerId="AD" clId="Web-{3B0288CD-6438-43D8-A754-2C00C1097321}" dt="2022-01-08T09:02:06.868" v="50" actId="1076"/>
          <ac:picMkLst>
            <pc:docMk/>
            <pc:sldMk cId="4084366951" sldId="318"/>
            <ac:picMk id="11" creationId="{079CE0C2-D9FF-4DFE-967B-E9EFC7681473}"/>
          </ac:picMkLst>
        </pc:picChg>
        <pc:picChg chg="add mod modCrop">
          <ac:chgData name="WESLEY.TBW" userId="S::wesley.tbw_gmail.com#ext#@risebcg.onmicrosoft.com::1034df62-ee6d-4b2f-8a56-03c4406a0a8a" providerId="AD" clId="Web-{3B0288CD-6438-43D8-A754-2C00C1097321}" dt="2022-01-08T09:15:37.229" v="70" actId="1076"/>
          <ac:picMkLst>
            <pc:docMk/>
            <pc:sldMk cId="4084366951" sldId="318"/>
            <ac:picMk id="16" creationId="{D69CAFA9-4C9E-4C9D-8063-6AB7F66A7981}"/>
          </ac:picMkLst>
        </pc:picChg>
        <pc:picChg chg="add mod">
          <ac:chgData name="WESLEY.TBW" userId="S::wesley.tbw_gmail.com#ext#@risebcg.onmicrosoft.com::1034df62-ee6d-4b2f-8a56-03c4406a0a8a" providerId="AD" clId="Web-{3B0288CD-6438-43D8-A754-2C00C1097321}" dt="2022-01-08T09:14:12.884" v="59" actId="14100"/>
          <ac:picMkLst>
            <pc:docMk/>
            <pc:sldMk cId="4084366951" sldId="318"/>
            <ac:picMk id="17" creationId="{C02E3874-4ED2-4407-929C-4049D332C643}"/>
          </ac:picMkLst>
        </pc:picChg>
        <pc:picChg chg="add mod">
          <ac:chgData name="WESLEY.TBW" userId="S::wesley.tbw_gmail.com#ext#@risebcg.onmicrosoft.com::1034df62-ee6d-4b2f-8a56-03c4406a0a8a" providerId="AD" clId="Web-{3B0288CD-6438-43D8-A754-2C00C1097321}" dt="2022-01-08T09:19:33.234" v="80" actId="14100"/>
          <ac:picMkLst>
            <pc:docMk/>
            <pc:sldMk cId="4084366951" sldId="318"/>
            <ac:picMk id="18" creationId="{01844450-929B-4C6F-8685-6FF3118F02E2}"/>
          </ac:picMkLst>
        </pc:picChg>
      </pc:sldChg>
    </pc:docChg>
  </pc:docChgLst>
  <pc:docChgLst>
    <pc:chgData name="WONGYONGLIN91" userId="S::wongyonglin91_gmail.com#ext#@risebcg.onmicrosoft.com::b2d94f93-e580-4f0d-9dda-2138509d25ae" providerId="AD" clId="Web-{30E8B6D5-C3BB-4CF4-B067-415A54B103BF}"/>
    <pc:docChg chg="addSld delSld modSld">
      <pc:chgData name="WONGYONGLIN91" userId="S::wongyonglin91_gmail.com#ext#@risebcg.onmicrosoft.com::b2d94f93-e580-4f0d-9dda-2138509d25ae" providerId="AD" clId="Web-{30E8B6D5-C3BB-4CF4-B067-415A54B103BF}" dt="2022-01-10T15:53:31.082" v="56" actId="20577"/>
      <pc:docMkLst>
        <pc:docMk/>
      </pc:docMkLst>
      <pc:sldChg chg="addSp delSp modSp">
        <pc:chgData name="WONGYONGLIN91" userId="S::wongyonglin91_gmail.com#ext#@risebcg.onmicrosoft.com::b2d94f93-e580-4f0d-9dda-2138509d25ae" providerId="AD" clId="Web-{30E8B6D5-C3BB-4CF4-B067-415A54B103BF}" dt="2022-01-10T15:48:57.106" v="47" actId="20577"/>
        <pc:sldMkLst>
          <pc:docMk/>
          <pc:sldMk cId="3758978858" sldId="379"/>
        </pc:sldMkLst>
        <pc:spChg chg="mod">
          <ac:chgData name="WONGYONGLIN91" userId="S::wongyonglin91_gmail.com#ext#@risebcg.onmicrosoft.com::b2d94f93-e580-4f0d-9dda-2138509d25ae" providerId="AD" clId="Web-{30E8B6D5-C3BB-4CF4-B067-415A54B103BF}" dt="2022-01-10T15:48:57.106" v="47" actId="20577"/>
          <ac:spMkLst>
            <pc:docMk/>
            <pc:sldMk cId="3758978858" sldId="379"/>
            <ac:spMk id="2" creationId="{C8764925-553F-46C0-AD49-7EDC41FA393B}"/>
          </ac:spMkLst>
        </pc:spChg>
        <pc:spChg chg="del">
          <ac:chgData name="WONGYONGLIN91" userId="S::wongyonglin91_gmail.com#ext#@risebcg.onmicrosoft.com::b2d94f93-e580-4f0d-9dda-2138509d25ae" providerId="AD" clId="Web-{30E8B6D5-C3BB-4CF4-B067-415A54B103BF}" dt="2022-01-10T15:41:54.517" v="13"/>
          <ac:spMkLst>
            <pc:docMk/>
            <pc:sldMk cId="3758978858" sldId="379"/>
            <ac:spMk id="3" creationId="{D93B70F6-8F9F-4D73-AE2A-A23E51FFBBC3}"/>
          </ac:spMkLst>
        </pc:spChg>
        <pc:picChg chg="del">
          <ac:chgData name="WONGYONGLIN91" userId="S::wongyonglin91_gmail.com#ext#@risebcg.onmicrosoft.com::b2d94f93-e580-4f0d-9dda-2138509d25ae" providerId="AD" clId="Web-{30E8B6D5-C3BB-4CF4-B067-415A54B103BF}" dt="2022-01-10T15:37:25.088" v="4"/>
          <ac:picMkLst>
            <pc:docMk/>
            <pc:sldMk cId="3758978858" sldId="379"/>
            <ac:picMk id="4" creationId="{645E4C34-8A7C-455C-918F-46EBACD32826}"/>
          </ac:picMkLst>
        </pc:picChg>
        <pc:picChg chg="add del mod">
          <ac:chgData name="WONGYONGLIN91" userId="S::wongyonglin91_gmail.com#ext#@risebcg.onmicrosoft.com::b2d94f93-e580-4f0d-9dda-2138509d25ae" providerId="AD" clId="Web-{30E8B6D5-C3BB-4CF4-B067-415A54B103BF}" dt="2022-01-10T15:44:42.537" v="21"/>
          <ac:picMkLst>
            <pc:docMk/>
            <pc:sldMk cId="3758978858" sldId="379"/>
            <ac:picMk id="5" creationId="{A468EDCA-C662-4ACD-B27A-5ABDB36C9DC1}"/>
          </ac:picMkLst>
        </pc:picChg>
        <pc:picChg chg="del">
          <ac:chgData name="WONGYONGLIN91" userId="S::wongyonglin91_gmail.com#ext#@risebcg.onmicrosoft.com::b2d94f93-e580-4f0d-9dda-2138509d25ae" providerId="AD" clId="Web-{30E8B6D5-C3BB-4CF4-B067-415A54B103BF}" dt="2022-01-10T15:39:41.951" v="8"/>
          <ac:picMkLst>
            <pc:docMk/>
            <pc:sldMk cId="3758978858" sldId="379"/>
            <ac:picMk id="6" creationId="{18A63D16-B496-4004-AB0A-2AAA668E85F4}"/>
          </ac:picMkLst>
        </pc:picChg>
        <pc:picChg chg="add mod">
          <ac:chgData name="WONGYONGLIN91" userId="S::wongyonglin91_gmail.com#ext#@risebcg.onmicrosoft.com::b2d94f93-e580-4f0d-9dda-2138509d25ae" providerId="AD" clId="Web-{30E8B6D5-C3BB-4CF4-B067-415A54B103BF}" dt="2022-01-10T15:41:59.330" v="14" actId="1076"/>
          <ac:picMkLst>
            <pc:docMk/>
            <pc:sldMk cId="3758978858" sldId="379"/>
            <ac:picMk id="7" creationId="{7172E854-F91B-4034-914C-283C25FD691D}"/>
          </ac:picMkLst>
        </pc:picChg>
        <pc:picChg chg="add del mod">
          <ac:chgData name="WONGYONGLIN91" userId="S::wongyonglin91_gmail.com#ext#@risebcg.onmicrosoft.com::b2d94f93-e580-4f0d-9dda-2138509d25ae" providerId="AD" clId="Web-{30E8B6D5-C3BB-4CF4-B067-415A54B103BF}" dt="2022-01-10T15:43:42.051" v="20"/>
          <ac:picMkLst>
            <pc:docMk/>
            <pc:sldMk cId="3758978858" sldId="379"/>
            <ac:picMk id="8" creationId="{0937322C-811F-48C1-9708-792B46781E33}"/>
          </ac:picMkLst>
        </pc:picChg>
        <pc:picChg chg="add mod">
          <ac:chgData name="WONGYONGLIN91" userId="S::wongyonglin91_gmail.com#ext#@risebcg.onmicrosoft.com::b2d94f93-e580-4f0d-9dda-2138509d25ae" providerId="AD" clId="Web-{30E8B6D5-C3BB-4CF4-B067-415A54B103BF}" dt="2022-01-10T15:44:53.068" v="24" actId="14100"/>
          <ac:picMkLst>
            <pc:docMk/>
            <pc:sldMk cId="3758978858" sldId="379"/>
            <ac:picMk id="9" creationId="{D15396CB-C56C-4A94-B451-A160648373B0}"/>
          </ac:picMkLst>
        </pc:picChg>
      </pc:sldChg>
      <pc:sldChg chg="del">
        <pc:chgData name="WONGYONGLIN91" userId="S::wongyonglin91_gmail.com#ext#@risebcg.onmicrosoft.com::b2d94f93-e580-4f0d-9dda-2138509d25ae" providerId="AD" clId="Web-{30E8B6D5-C3BB-4CF4-B067-415A54B103BF}" dt="2022-01-10T15:30:55" v="3"/>
        <pc:sldMkLst>
          <pc:docMk/>
          <pc:sldMk cId="1360270799" sldId="384"/>
        </pc:sldMkLst>
      </pc:sldChg>
      <pc:sldChg chg="addSp delSp modSp add replId">
        <pc:chgData name="WONGYONGLIN91" userId="S::wongyonglin91_gmail.com#ext#@risebcg.onmicrosoft.com::b2d94f93-e580-4f0d-9dda-2138509d25ae" providerId="AD" clId="Web-{30E8B6D5-C3BB-4CF4-B067-415A54B103BF}" dt="2022-01-10T15:53:31.082" v="56" actId="20577"/>
        <pc:sldMkLst>
          <pc:docMk/>
          <pc:sldMk cId="1431775713" sldId="384"/>
        </pc:sldMkLst>
        <pc:spChg chg="mod">
          <ac:chgData name="WONGYONGLIN91" userId="S::wongyonglin91_gmail.com#ext#@risebcg.onmicrosoft.com::b2d94f93-e580-4f0d-9dda-2138509d25ae" providerId="AD" clId="Web-{30E8B6D5-C3BB-4CF4-B067-415A54B103BF}" dt="2022-01-10T15:53:31.082" v="56" actId="20577"/>
          <ac:spMkLst>
            <pc:docMk/>
            <pc:sldMk cId="1431775713" sldId="384"/>
            <ac:spMk id="2" creationId="{C8764925-553F-46C0-AD49-7EDC41FA393B}"/>
          </ac:spMkLst>
        </pc:spChg>
        <pc:picChg chg="add mod">
          <ac:chgData name="WONGYONGLIN91" userId="S::wongyonglin91_gmail.com#ext#@risebcg.onmicrosoft.com::b2d94f93-e580-4f0d-9dda-2138509d25ae" providerId="AD" clId="Web-{30E8B6D5-C3BB-4CF4-B067-415A54B103BF}" dt="2022-01-10T15:49:27.779" v="49" actId="1076"/>
          <ac:picMkLst>
            <pc:docMk/>
            <pc:sldMk cId="1431775713" sldId="384"/>
            <ac:picMk id="3" creationId="{4BB0AA97-4D09-4E8C-8C6C-4D3B86D6CB1F}"/>
          </ac:picMkLst>
        </pc:picChg>
        <pc:picChg chg="add mod">
          <ac:chgData name="WONGYONGLIN91" userId="S::wongyonglin91_gmail.com#ext#@risebcg.onmicrosoft.com::b2d94f93-e580-4f0d-9dda-2138509d25ae" providerId="AD" clId="Web-{30E8B6D5-C3BB-4CF4-B067-415A54B103BF}" dt="2022-01-10T15:50:01.249" v="53" actId="14100"/>
          <ac:picMkLst>
            <pc:docMk/>
            <pc:sldMk cId="1431775713" sldId="384"/>
            <ac:picMk id="4" creationId="{17E32B17-67B8-4A5B-A3FF-B2170E712477}"/>
          </ac:picMkLst>
        </pc:picChg>
        <pc:picChg chg="del">
          <ac:chgData name="WONGYONGLIN91" userId="S::wongyonglin91_gmail.com#ext#@risebcg.onmicrosoft.com::b2d94f93-e580-4f0d-9dda-2138509d25ae" providerId="AD" clId="Web-{30E8B6D5-C3BB-4CF4-B067-415A54B103BF}" dt="2022-01-10T15:48:31.496" v="42"/>
          <ac:picMkLst>
            <pc:docMk/>
            <pc:sldMk cId="1431775713" sldId="384"/>
            <ac:picMk id="7" creationId="{7172E854-F91B-4034-914C-283C25FD691D}"/>
          </ac:picMkLst>
        </pc:picChg>
        <pc:picChg chg="del">
          <ac:chgData name="WONGYONGLIN91" userId="S::wongyonglin91_gmail.com#ext#@risebcg.onmicrosoft.com::b2d94f93-e580-4f0d-9dda-2138509d25ae" providerId="AD" clId="Web-{30E8B6D5-C3BB-4CF4-B067-415A54B103BF}" dt="2022-01-10T15:49:27.810" v="50"/>
          <ac:picMkLst>
            <pc:docMk/>
            <pc:sldMk cId="1431775713" sldId="384"/>
            <ac:picMk id="9" creationId="{D15396CB-C56C-4A94-B451-A160648373B0}"/>
          </ac:picMkLst>
        </pc:picChg>
      </pc:sldChg>
    </pc:docChg>
  </pc:docChgLst>
  <pc:docChgLst>
    <pc:chgData name="WONGYONGLIN91" userId="S::wongyonglin91_gmail.com#ext#@risebcg.onmicrosoft.com::b2d94f93-e580-4f0d-9dda-2138509d25ae" providerId="AD" clId="Web-{819DFFEC-4326-43C8-95FF-064276E98504}"/>
    <pc:docChg chg="addSld delSld modSld sldOrd">
      <pc:chgData name="WONGYONGLIN91" userId="S::wongyonglin91_gmail.com#ext#@risebcg.onmicrosoft.com::b2d94f93-e580-4f0d-9dda-2138509d25ae" providerId="AD" clId="Web-{819DFFEC-4326-43C8-95FF-064276E98504}" dt="2022-01-07T21:32:37.885" v="317" actId="14100"/>
      <pc:docMkLst>
        <pc:docMk/>
      </pc:docMkLst>
      <pc:sldChg chg="del">
        <pc:chgData name="WONGYONGLIN91" userId="S::wongyonglin91_gmail.com#ext#@risebcg.onmicrosoft.com::b2d94f93-e580-4f0d-9dda-2138509d25ae" providerId="AD" clId="Web-{819DFFEC-4326-43C8-95FF-064276E98504}" dt="2022-01-07T15:24:42.470" v="29"/>
        <pc:sldMkLst>
          <pc:docMk/>
          <pc:sldMk cId="4276505800" sldId="329"/>
        </pc:sldMkLst>
      </pc:sldChg>
      <pc:sldChg chg="modSp del">
        <pc:chgData name="WONGYONGLIN91" userId="S::wongyonglin91_gmail.com#ext#@risebcg.onmicrosoft.com::b2d94f93-e580-4f0d-9dda-2138509d25ae" providerId="AD" clId="Web-{819DFFEC-4326-43C8-95FF-064276E98504}" dt="2022-01-07T15:25:44.534" v="36"/>
        <pc:sldMkLst>
          <pc:docMk/>
          <pc:sldMk cId="2728944561" sldId="333"/>
        </pc:sldMkLst>
        <pc:spChg chg="mod">
          <ac:chgData name="WONGYONGLIN91" userId="S::wongyonglin91_gmail.com#ext#@risebcg.onmicrosoft.com::b2d94f93-e580-4f0d-9dda-2138509d25ae" providerId="AD" clId="Web-{819DFFEC-4326-43C8-95FF-064276E98504}" dt="2022-01-07T15:20:14.338" v="9" actId="20577"/>
          <ac:spMkLst>
            <pc:docMk/>
            <pc:sldMk cId="2728944561" sldId="333"/>
            <ac:spMk id="3" creationId="{9C545F2D-9E52-4C81-8BAE-363F523739FD}"/>
          </ac:spMkLst>
        </pc:spChg>
        <pc:picChg chg="mod">
          <ac:chgData name="WONGYONGLIN91" userId="S::wongyonglin91_gmail.com#ext#@risebcg.onmicrosoft.com::b2d94f93-e580-4f0d-9dda-2138509d25ae" providerId="AD" clId="Web-{819DFFEC-4326-43C8-95FF-064276E98504}" dt="2022-01-07T15:22:25.045" v="20" actId="14100"/>
          <ac:picMkLst>
            <pc:docMk/>
            <pc:sldMk cId="2728944561" sldId="333"/>
            <ac:picMk id="6" creationId="{5C7BC333-AC07-4C92-9439-0C248DD469B7}"/>
          </ac:picMkLst>
        </pc:picChg>
        <pc:picChg chg="mod">
          <ac:chgData name="WONGYONGLIN91" userId="S::wongyonglin91_gmail.com#ext#@risebcg.onmicrosoft.com::b2d94f93-e580-4f0d-9dda-2138509d25ae" providerId="AD" clId="Web-{819DFFEC-4326-43C8-95FF-064276E98504}" dt="2022-01-07T15:22:17.247" v="18" actId="14100"/>
          <ac:picMkLst>
            <pc:docMk/>
            <pc:sldMk cId="2728944561" sldId="333"/>
            <ac:picMk id="7" creationId="{5DBECBC5-E506-4844-9DFC-8CEEA581E35F}"/>
          </ac:picMkLst>
        </pc:picChg>
      </pc:sldChg>
      <pc:sldChg chg="addSp delSp modSp add replId">
        <pc:chgData name="WONGYONGLIN91" userId="S::wongyonglin91_gmail.com#ext#@risebcg.onmicrosoft.com::b2d94f93-e580-4f0d-9dda-2138509d25ae" providerId="AD" clId="Web-{819DFFEC-4326-43C8-95FF-064276E98504}" dt="2022-01-07T21:29:42.802" v="304" actId="14100"/>
        <pc:sldMkLst>
          <pc:docMk/>
          <pc:sldMk cId="3266031372" sldId="340"/>
        </pc:sldMkLst>
        <pc:spChg chg="mod">
          <ac:chgData name="WONGYONGLIN91" userId="S::wongyonglin91_gmail.com#ext#@risebcg.onmicrosoft.com::b2d94f93-e580-4f0d-9dda-2138509d25ae" providerId="AD" clId="Web-{819DFFEC-4326-43C8-95FF-064276E98504}" dt="2022-01-07T15:23:37.156" v="24" actId="20577"/>
          <ac:spMkLst>
            <pc:docMk/>
            <pc:sldMk cId="3266031372" sldId="340"/>
            <ac:spMk id="2" creationId="{ED14AA63-35D8-4136-8B2F-DE1837A583A2}"/>
          </ac:spMkLst>
        </pc:spChg>
        <pc:spChg chg="del mod">
          <ac:chgData name="WONGYONGLIN91" userId="S::wongyonglin91_gmail.com#ext#@risebcg.onmicrosoft.com::b2d94f93-e580-4f0d-9dda-2138509d25ae" providerId="AD" clId="Web-{819DFFEC-4326-43C8-95FF-064276E98504}" dt="2022-01-07T15:23:52.078" v="27"/>
          <ac:spMkLst>
            <pc:docMk/>
            <pc:sldMk cId="3266031372" sldId="340"/>
            <ac:spMk id="3" creationId="{2A938E9D-39F3-463F-BEAD-B91F6168A34D}"/>
          </ac:spMkLst>
        </pc:spChg>
        <pc:spChg chg="del">
          <ac:chgData name="WONGYONGLIN91" userId="S::wongyonglin91_gmail.com#ext#@risebcg.onmicrosoft.com::b2d94f93-e580-4f0d-9dda-2138509d25ae" providerId="AD" clId="Web-{819DFFEC-4326-43C8-95FF-064276E98504}" dt="2022-01-07T15:23:40.375" v="25"/>
          <ac:spMkLst>
            <pc:docMk/>
            <pc:sldMk cId="3266031372" sldId="340"/>
            <ac:spMk id="15" creationId="{AAF3EE67-387A-430E-A8DA-4FF50FD506BC}"/>
          </ac:spMkLst>
        </pc:spChg>
        <pc:picChg chg="add mod">
          <ac:chgData name="WONGYONGLIN91" userId="S::wongyonglin91_gmail.com#ext#@risebcg.onmicrosoft.com::b2d94f93-e580-4f0d-9dda-2138509d25ae" providerId="AD" clId="Web-{819DFFEC-4326-43C8-95FF-064276E98504}" dt="2022-01-07T21:18:14.447" v="273" actId="14100"/>
          <ac:picMkLst>
            <pc:docMk/>
            <pc:sldMk cId="3266031372" sldId="340"/>
            <ac:picMk id="3" creationId="{461DA40E-97F6-445B-B8F4-50294D61B847}"/>
          </ac:picMkLst>
        </pc:picChg>
        <pc:picChg chg="add mod">
          <ac:chgData name="WONGYONGLIN91" userId="S::wongyonglin91_gmail.com#ext#@risebcg.onmicrosoft.com::b2d94f93-e580-4f0d-9dda-2138509d25ae" providerId="AD" clId="Web-{819DFFEC-4326-43C8-95FF-064276E98504}" dt="2022-01-07T21:19:30.418" v="280" actId="14100"/>
          <ac:picMkLst>
            <pc:docMk/>
            <pc:sldMk cId="3266031372" sldId="340"/>
            <ac:picMk id="5" creationId="{037BEBE0-D6CC-43A0-8E28-C42D326CE726}"/>
          </ac:picMkLst>
        </pc:picChg>
        <pc:picChg chg="add del mod">
          <ac:chgData name="WONGYONGLIN91" userId="S::wongyonglin91_gmail.com#ext#@risebcg.onmicrosoft.com::b2d94f93-e580-4f0d-9dda-2138509d25ae" providerId="AD" clId="Web-{819DFFEC-4326-43C8-95FF-064276E98504}" dt="2022-01-07T15:35:25.207" v="134"/>
          <ac:picMkLst>
            <pc:docMk/>
            <pc:sldMk cId="3266031372" sldId="340"/>
            <ac:picMk id="5" creationId="{CFAA75FE-4DB7-4740-A206-5FB12363D930}"/>
          </ac:picMkLst>
        </pc:picChg>
        <pc:picChg chg="add mod">
          <ac:chgData name="WONGYONGLIN91" userId="S::wongyonglin91_gmail.com#ext#@risebcg.onmicrosoft.com::b2d94f93-e580-4f0d-9dda-2138509d25ae" providerId="AD" clId="Web-{819DFFEC-4326-43C8-95FF-064276E98504}" dt="2022-01-07T21:29:42.802" v="304" actId="14100"/>
          <ac:picMkLst>
            <pc:docMk/>
            <pc:sldMk cId="3266031372" sldId="340"/>
            <ac:picMk id="6" creationId="{81A150AC-B222-471E-A118-CD198FBC5BA7}"/>
          </ac:picMkLst>
        </pc:picChg>
        <pc:picChg chg="add del mod">
          <ac:chgData name="WONGYONGLIN91" userId="S::wongyonglin91_gmail.com#ext#@risebcg.onmicrosoft.com::b2d94f93-e580-4f0d-9dda-2138509d25ae" providerId="AD" clId="Web-{819DFFEC-4326-43C8-95FF-064276E98504}" dt="2022-01-07T15:35:37.270" v="141"/>
          <ac:picMkLst>
            <pc:docMk/>
            <pc:sldMk cId="3266031372" sldId="340"/>
            <ac:picMk id="6" creationId="{F448AC28-191F-43F5-8166-388DCB83D6EE}"/>
          </ac:picMkLst>
        </pc:picChg>
        <pc:picChg chg="add del mod">
          <ac:chgData name="WONGYONGLIN91" userId="S::wongyonglin91_gmail.com#ext#@risebcg.onmicrosoft.com::b2d94f93-e580-4f0d-9dda-2138509d25ae" providerId="AD" clId="Web-{819DFFEC-4326-43C8-95FF-064276E98504}" dt="2022-01-07T15:35:31.582" v="139"/>
          <ac:picMkLst>
            <pc:docMk/>
            <pc:sldMk cId="3266031372" sldId="340"/>
            <ac:picMk id="7" creationId="{8B1DA149-833C-40D7-9F00-BA4B16317DAF}"/>
          </ac:picMkLst>
        </pc:picChg>
        <pc:picChg chg="add mod">
          <ac:chgData name="WONGYONGLIN91" userId="S::wongyonglin91_gmail.com#ext#@risebcg.onmicrosoft.com::b2d94f93-e580-4f0d-9dda-2138509d25ae" providerId="AD" clId="Web-{819DFFEC-4326-43C8-95FF-064276E98504}" dt="2022-01-07T21:29:33.443" v="303" actId="14100"/>
          <ac:picMkLst>
            <pc:docMk/>
            <pc:sldMk cId="3266031372" sldId="340"/>
            <ac:picMk id="7" creationId="{C197F6B9-4CBB-4B39-8C04-6C1CE7632C8C}"/>
          </ac:picMkLst>
        </pc:picChg>
        <pc:picChg chg="add del mod">
          <ac:chgData name="WONGYONGLIN91" userId="S::wongyonglin91_gmail.com#ext#@risebcg.onmicrosoft.com::b2d94f93-e580-4f0d-9dda-2138509d25ae" providerId="AD" clId="Web-{819DFFEC-4326-43C8-95FF-064276E98504}" dt="2022-01-07T15:35:31.582" v="138"/>
          <ac:picMkLst>
            <pc:docMk/>
            <pc:sldMk cId="3266031372" sldId="340"/>
            <ac:picMk id="8" creationId="{17E09966-BADB-4BDA-9C22-19001B053817}"/>
          </ac:picMkLst>
        </pc:picChg>
        <pc:picChg chg="add del mod">
          <ac:chgData name="WONGYONGLIN91" userId="S::wongyonglin91_gmail.com#ext#@risebcg.onmicrosoft.com::b2d94f93-e580-4f0d-9dda-2138509d25ae" providerId="AD" clId="Web-{819DFFEC-4326-43C8-95FF-064276E98504}" dt="2022-01-07T15:36:09.646" v="144"/>
          <ac:picMkLst>
            <pc:docMk/>
            <pc:sldMk cId="3266031372" sldId="340"/>
            <ac:picMk id="9" creationId="{57A4BC46-D2E3-4D93-9A1A-9FB7E14E1B53}"/>
          </ac:picMkLst>
        </pc:picChg>
        <pc:picChg chg="add del mod">
          <ac:chgData name="WONGYONGLIN91" userId="S::wongyonglin91_gmail.com#ext#@risebcg.onmicrosoft.com::b2d94f93-e580-4f0d-9dda-2138509d25ae" providerId="AD" clId="Web-{819DFFEC-4326-43C8-95FF-064276E98504}" dt="2022-01-07T21:28:08.769" v="292"/>
          <ac:picMkLst>
            <pc:docMk/>
            <pc:sldMk cId="3266031372" sldId="340"/>
            <ac:picMk id="10" creationId="{F3AB1250-20FB-493D-93FC-5B329EE240CD}"/>
          </ac:picMkLst>
        </pc:picChg>
        <pc:picChg chg="add del mod">
          <ac:chgData name="WONGYONGLIN91" userId="S::wongyonglin91_gmail.com#ext#@risebcg.onmicrosoft.com::b2d94f93-e580-4f0d-9dda-2138509d25ae" providerId="AD" clId="Web-{819DFFEC-4326-43C8-95FF-064276E98504}" dt="2022-01-07T21:28:11.519" v="293"/>
          <ac:picMkLst>
            <pc:docMk/>
            <pc:sldMk cId="3266031372" sldId="340"/>
            <ac:picMk id="11" creationId="{3FF94910-E085-4232-A0C5-6B4A45798560}"/>
          </ac:picMkLst>
        </pc:picChg>
      </pc:sldChg>
      <pc:sldChg chg="addSp delSp modSp add ord replId">
        <pc:chgData name="WONGYONGLIN91" userId="S::wongyonglin91_gmail.com#ext#@risebcg.onmicrosoft.com::b2d94f93-e580-4f0d-9dda-2138509d25ae" providerId="AD" clId="Web-{819DFFEC-4326-43C8-95FF-064276E98504}" dt="2022-01-07T21:32:37.885" v="317" actId="14100"/>
        <pc:sldMkLst>
          <pc:docMk/>
          <pc:sldMk cId="2497075168" sldId="341"/>
        </pc:sldMkLst>
        <pc:spChg chg="mod">
          <ac:chgData name="WONGYONGLIN91" userId="S::wongyonglin91_gmail.com#ext#@risebcg.onmicrosoft.com::b2d94f93-e580-4f0d-9dda-2138509d25ae" providerId="AD" clId="Web-{819DFFEC-4326-43C8-95FF-064276E98504}" dt="2022-01-07T15:24:56.096" v="33" actId="20577"/>
          <ac:spMkLst>
            <pc:docMk/>
            <pc:sldMk cId="2497075168" sldId="341"/>
            <ac:spMk id="2" creationId="{ED14AA63-35D8-4136-8B2F-DE1837A583A2}"/>
          </ac:spMkLst>
        </pc:spChg>
        <pc:spChg chg="mod">
          <ac:chgData name="WONGYONGLIN91" userId="S::wongyonglin91_gmail.com#ext#@risebcg.onmicrosoft.com::b2d94f93-e580-4f0d-9dda-2138509d25ae" providerId="AD" clId="Web-{819DFFEC-4326-43C8-95FF-064276E98504}" dt="2022-01-07T21:17:02.258" v="270" actId="20577"/>
          <ac:spMkLst>
            <pc:docMk/>
            <pc:sldMk cId="2497075168" sldId="341"/>
            <ac:spMk id="4" creationId="{215644EC-E1A2-4B5F-BA53-79EB189605EC}"/>
          </ac:spMkLst>
        </pc:spChg>
        <pc:picChg chg="add del mod">
          <ac:chgData name="WONGYONGLIN91" userId="S::wongyonglin91_gmail.com#ext#@risebcg.onmicrosoft.com::b2d94f93-e580-4f0d-9dda-2138509d25ae" providerId="AD" clId="Web-{819DFFEC-4326-43C8-95FF-064276E98504}" dt="2022-01-07T21:31:08.633" v="306"/>
          <ac:picMkLst>
            <pc:docMk/>
            <pc:sldMk cId="2497075168" sldId="341"/>
            <ac:picMk id="3" creationId="{AB70BD17-A739-4311-B5FF-430BDCC3A91C}"/>
          </ac:picMkLst>
        </pc:picChg>
        <pc:picChg chg="add del mod">
          <ac:chgData name="WONGYONGLIN91" userId="S::wongyonglin91_gmail.com#ext#@risebcg.onmicrosoft.com::b2d94f93-e580-4f0d-9dda-2138509d25ae" providerId="AD" clId="Web-{819DFFEC-4326-43C8-95FF-064276E98504}" dt="2022-01-07T21:31:05.851" v="305"/>
          <ac:picMkLst>
            <pc:docMk/>
            <pc:sldMk cId="2497075168" sldId="341"/>
            <ac:picMk id="5" creationId="{2CC643E4-FEE3-429B-A6F3-6AAD3C24EF78}"/>
          </ac:picMkLst>
        </pc:picChg>
        <pc:picChg chg="add del mod">
          <ac:chgData name="WONGYONGLIN91" userId="S::wongyonglin91_gmail.com#ext#@risebcg.onmicrosoft.com::b2d94f93-e580-4f0d-9dda-2138509d25ae" providerId="AD" clId="Web-{819DFFEC-4326-43C8-95FF-064276E98504}" dt="2022-01-07T21:21:01.438" v="281"/>
          <ac:picMkLst>
            <pc:docMk/>
            <pc:sldMk cId="2497075168" sldId="341"/>
            <ac:picMk id="6" creationId="{5589EBA5-EDF9-4738-9CC3-C48A9A67DBA9}"/>
          </ac:picMkLst>
        </pc:picChg>
        <pc:picChg chg="add del mod">
          <ac:chgData name="WONGYONGLIN91" userId="S::wongyonglin91_gmail.com#ext#@risebcg.onmicrosoft.com::b2d94f93-e580-4f0d-9dda-2138509d25ae" providerId="AD" clId="Web-{819DFFEC-4326-43C8-95FF-064276E98504}" dt="2022-01-07T21:21:03.954" v="282"/>
          <ac:picMkLst>
            <pc:docMk/>
            <pc:sldMk cId="2497075168" sldId="341"/>
            <ac:picMk id="7" creationId="{6E622914-CD8C-4CC2-87E5-6C5308AE102A}"/>
          </ac:picMkLst>
        </pc:picChg>
        <pc:picChg chg="add del mod">
          <ac:chgData name="WONGYONGLIN91" userId="S::wongyonglin91_gmail.com#ext#@risebcg.onmicrosoft.com::b2d94f93-e580-4f0d-9dda-2138509d25ae" providerId="AD" clId="Web-{819DFFEC-4326-43C8-95FF-064276E98504}" dt="2022-01-07T15:35:22.691" v="133"/>
          <ac:picMkLst>
            <pc:docMk/>
            <pc:sldMk cId="2497075168" sldId="341"/>
            <ac:picMk id="7" creationId="{BB6C21D1-9499-4CAA-B7C2-7B2F2D19C7FB}"/>
          </ac:picMkLst>
        </pc:picChg>
        <pc:picChg chg="add mod">
          <ac:chgData name="WONGYONGLIN91" userId="S::wongyonglin91_gmail.com#ext#@risebcg.onmicrosoft.com::b2d94f93-e580-4f0d-9dda-2138509d25ae" providerId="AD" clId="Web-{819DFFEC-4326-43C8-95FF-064276E98504}" dt="2022-01-07T21:32:02.494" v="313" actId="14100"/>
          <ac:picMkLst>
            <pc:docMk/>
            <pc:sldMk cId="2497075168" sldId="341"/>
            <ac:picMk id="8" creationId="{43C821D0-E8DD-4E0C-918F-E8AFE57FBD79}"/>
          </ac:picMkLst>
        </pc:picChg>
        <pc:picChg chg="add mod">
          <ac:chgData name="WONGYONGLIN91" userId="S::wongyonglin91_gmail.com#ext#@risebcg.onmicrosoft.com::b2d94f93-e580-4f0d-9dda-2138509d25ae" providerId="AD" clId="Web-{819DFFEC-4326-43C8-95FF-064276E98504}" dt="2022-01-07T21:31:14.914" v="307" actId="14100"/>
          <ac:picMkLst>
            <pc:docMk/>
            <pc:sldMk cId="2497075168" sldId="341"/>
            <ac:picMk id="9" creationId="{7E7137EB-EB04-47D4-ADDE-3138CAD2FE22}"/>
          </ac:picMkLst>
        </pc:picChg>
        <pc:picChg chg="add del mod">
          <ac:chgData name="WONGYONGLIN91" userId="S::wongyonglin91_gmail.com#ext#@risebcg.onmicrosoft.com::b2d94f93-e580-4f0d-9dda-2138509d25ae" providerId="AD" clId="Web-{819DFFEC-4326-43C8-95FF-064276E98504}" dt="2022-01-07T15:35:22.691" v="132"/>
          <ac:picMkLst>
            <pc:docMk/>
            <pc:sldMk cId="2497075168" sldId="341"/>
            <ac:picMk id="9" creationId="{A8D3C84B-EF0A-4F3E-B5A5-D88E37323E19}"/>
          </ac:picMkLst>
        </pc:picChg>
        <pc:picChg chg="add mod">
          <ac:chgData name="WONGYONGLIN91" userId="S::wongyonglin91_gmail.com#ext#@risebcg.onmicrosoft.com::b2d94f93-e580-4f0d-9dda-2138509d25ae" providerId="AD" clId="Web-{819DFFEC-4326-43C8-95FF-064276E98504}" dt="2022-01-07T21:31:53.790" v="312" actId="14100"/>
          <ac:picMkLst>
            <pc:docMk/>
            <pc:sldMk cId="2497075168" sldId="341"/>
            <ac:picMk id="10" creationId="{5C5BFFE9-19E0-4AAC-BCA1-0A74C6D93C5F}"/>
          </ac:picMkLst>
        </pc:picChg>
        <pc:picChg chg="add del mod">
          <ac:chgData name="WONGYONGLIN91" userId="S::wongyonglin91_gmail.com#ext#@risebcg.onmicrosoft.com::b2d94f93-e580-4f0d-9dda-2138509d25ae" providerId="AD" clId="Web-{819DFFEC-4326-43C8-95FF-064276E98504}" dt="2022-01-07T15:36:49.194" v="149"/>
          <ac:picMkLst>
            <pc:docMk/>
            <pc:sldMk cId="2497075168" sldId="341"/>
            <ac:picMk id="11" creationId="{867EBD1E-93AC-4D5A-84C4-8C004632D8A2}"/>
          </ac:picMkLst>
        </pc:picChg>
        <pc:picChg chg="add mod">
          <ac:chgData name="WONGYONGLIN91" userId="S::wongyonglin91_gmail.com#ext#@risebcg.onmicrosoft.com::b2d94f93-e580-4f0d-9dda-2138509d25ae" providerId="AD" clId="Web-{819DFFEC-4326-43C8-95FF-064276E98504}" dt="2022-01-07T21:32:37.885" v="317" actId="14100"/>
          <ac:picMkLst>
            <pc:docMk/>
            <pc:sldMk cId="2497075168" sldId="341"/>
            <ac:picMk id="11" creationId="{A57CFE02-5F8C-4E5D-85E3-23A246851199}"/>
          </ac:picMkLst>
        </pc:picChg>
        <pc:picChg chg="add del mod">
          <ac:chgData name="WONGYONGLIN91" userId="S::wongyonglin91_gmail.com#ext#@risebcg.onmicrosoft.com::b2d94f93-e580-4f0d-9dda-2138509d25ae" providerId="AD" clId="Web-{819DFFEC-4326-43C8-95FF-064276E98504}" dt="2022-01-07T15:39:30.979" v="173"/>
          <ac:picMkLst>
            <pc:docMk/>
            <pc:sldMk cId="2497075168" sldId="341"/>
            <ac:picMk id="13" creationId="{5FA4B6B0-C151-4256-AD7B-269E3760DD6F}"/>
          </ac:picMkLst>
        </pc:picChg>
        <pc:picChg chg="add del mod">
          <ac:chgData name="WONGYONGLIN91" userId="S::wongyonglin91_gmail.com#ext#@risebcg.onmicrosoft.com::b2d94f93-e580-4f0d-9dda-2138509d25ae" providerId="AD" clId="Web-{819DFFEC-4326-43C8-95FF-064276E98504}" dt="2022-01-07T15:39:30.979" v="172"/>
          <ac:picMkLst>
            <pc:docMk/>
            <pc:sldMk cId="2497075168" sldId="341"/>
            <ac:picMk id="14" creationId="{FFF4152E-A2B7-45D5-86BB-136BF8186565}"/>
          </ac:picMkLst>
        </pc:picChg>
      </pc:sldChg>
    </pc:docChg>
  </pc:docChgLst>
  <pc:docChgLst>
    <pc:chgData name="EVELYNSM.YONG" userId="S::evelynsm.yong_gmail.com#ext#@risebcg.onmicrosoft.com::67a27a72-2420-4d38-b745-316a53f4b99a" providerId="AD" clId="Web-{11BCB7EC-2CD9-4DDE-8140-3BA1CF4EA7FC}"/>
    <pc:docChg chg="modSld">
      <pc:chgData name="EVELYNSM.YONG" userId="S::evelynsm.yong_gmail.com#ext#@risebcg.onmicrosoft.com::67a27a72-2420-4d38-b745-316a53f4b99a" providerId="AD" clId="Web-{11BCB7EC-2CD9-4DDE-8140-3BA1CF4EA7FC}" dt="2022-01-07T15:49:01.823" v="347" actId="1076"/>
      <pc:docMkLst>
        <pc:docMk/>
      </pc:docMkLst>
      <pc:sldChg chg="modSp">
        <pc:chgData name="EVELYNSM.YONG" userId="S::evelynsm.yong_gmail.com#ext#@risebcg.onmicrosoft.com::67a27a72-2420-4d38-b745-316a53f4b99a" providerId="AD" clId="Web-{11BCB7EC-2CD9-4DDE-8140-3BA1CF4EA7FC}" dt="2022-01-07T14:31:30.196" v="248" actId="14100"/>
        <pc:sldMkLst>
          <pc:docMk/>
          <pc:sldMk cId="2651815169" sldId="283"/>
        </pc:sldMkLst>
        <pc:spChg chg="mod">
          <ac:chgData name="EVELYNSM.YONG" userId="S::evelynsm.yong_gmail.com#ext#@risebcg.onmicrosoft.com::67a27a72-2420-4d38-b745-316a53f4b99a" providerId="AD" clId="Web-{11BCB7EC-2CD9-4DDE-8140-3BA1CF4EA7FC}" dt="2022-01-07T14:31:30.196" v="248" actId="14100"/>
          <ac:spMkLst>
            <pc:docMk/>
            <pc:sldMk cId="2651815169" sldId="283"/>
            <ac:spMk id="4" creationId="{C3F6C5B1-254F-4FE6-BDCC-5FB9103008E3}"/>
          </ac:spMkLst>
        </pc:spChg>
      </pc:sldChg>
      <pc:sldChg chg="modSp">
        <pc:chgData name="EVELYNSM.YONG" userId="S::evelynsm.yong_gmail.com#ext#@risebcg.onmicrosoft.com::67a27a72-2420-4d38-b745-316a53f4b99a" providerId="AD" clId="Web-{11BCB7EC-2CD9-4DDE-8140-3BA1CF4EA7FC}" dt="2022-01-07T15:46:59.492" v="307" actId="1076"/>
        <pc:sldMkLst>
          <pc:docMk/>
          <pc:sldMk cId="1791060006" sldId="319"/>
        </pc:sldMkLst>
        <pc:picChg chg="mod">
          <ac:chgData name="EVELYNSM.YONG" userId="S::evelynsm.yong_gmail.com#ext#@risebcg.onmicrosoft.com::67a27a72-2420-4d38-b745-316a53f4b99a" providerId="AD" clId="Web-{11BCB7EC-2CD9-4DDE-8140-3BA1CF4EA7FC}" dt="2022-01-07T15:46:59.492" v="307" actId="1076"/>
          <ac:picMkLst>
            <pc:docMk/>
            <pc:sldMk cId="1791060006" sldId="319"/>
            <ac:picMk id="3" creationId="{E1B7C9CC-CAC9-40CB-9FC8-D33951793167}"/>
          </ac:picMkLst>
        </pc:picChg>
      </pc:sldChg>
      <pc:sldChg chg="addSp delSp modSp">
        <pc:chgData name="EVELYNSM.YONG" userId="S::evelynsm.yong_gmail.com#ext#@risebcg.onmicrosoft.com::67a27a72-2420-4d38-b745-316a53f4b99a" providerId="AD" clId="Web-{11BCB7EC-2CD9-4DDE-8140-3BA1CF4EA7FC}" dt="2022-01-07T15:08:30.352" v="254" actId="1076"/>
        <pc:sldMkLst>
          <pc:docMk/>
          <pc:sldMk cId="3666302761" sldId="324"/>
        </pc:sldMkLst>
        <pc:spChg chg="mod">
          <ac:chgData name="EVELYNSM.YONG" userId="S::evelynsm.yong_gmail.com#ext#@risebcg.onmicrosoft.com::67a27a72-2420-4d38-b745-316a53f4b99a" providerId="AD" clId="Web-{11BCB7EC-2CD9-4DDE-8140-3BA1CF4EA7FC}" dt="2022-01-07T15:08:30.352" v="254" actId="1076"/>
          <ac:spMkLst>
            <pc:docMk/>
            <pc:sldMk cId="3666302761" sldId="324"/>
            <ac:spMk id="12" creationId="{844D08C5-3EE5-4BAC-9392-6CA8001CAD4E}"/>
          </ac:spMkLst>
        </pc:spChg>
        <pc:spChg chg="mod">
          <ac:chgData name="EVELYNSM.YONG" userId="S::evelynsm.yong_gmail.com#ext#@risebcg.onmicrosoft.com::67a27a72-2420-4d38-b745-316a53f4b99a" providerId="AD" clId="Web-{11BCB7EC-2CD9-4DDE-8140-3BA1CF4EA7FC}" dt="2022-01-07T14:26:53.440" v="165" actId="1076"/>
          <ac:spMkLst>
            <pc:docMk/>
            <pc:sldMk cId="3666302761" sldId="324"/>
            <ac:spMk id="13" creationId="{003E35E4-DB87-4D35-8663-60FF12DD7B69}"/>
          </ac:spMkLst>
        </pc:spChg>
        <pc:spChg chg="mod">
          <ac:chgData name="EVELYNSM.YONG" userId="S::evelynsm.yong_gmail.com#ext#@risebcg.onmicrosoft.com::67a27a72-2420-4d38-b745-316a53f4b99a" providerId="AD" clId="Web-{11BCB7EC-2CD9-4DDE-8140-3BA1CF4EA7FC}" dt="2022-01-07T14:27:04.097" v="168" actId="1076"/>
          <ac:spMkLst>
            <pc:docMk/>
            <pc:sldMk cId="3666302761" sldId="324"/>
            <ac:spMk id="14" creationId="{CD92118D-BCDA-4C90-B9D2-09972FA65EE3}"/>
          </ac:spMkLst>
        </pc:spChg>
        <pc:spChg chg="mod">
          <ac:chgData name="EVELYNSM.YONG" userId="S::evelynsm.yong_gmail.com#ext#@risebcg.onmicrosoft.com::67a27a72-2420-4d38-b745-316a53f4b99a" providerId="AD" clId="Web-{11BCB7EC-2CD9-4DDE-8140-3BA1CF4EA7FC}" dt="2022-01-07T14:27:07.659" v="169" actId="1076"/>
          <ac:spMkLst>
            <pc:docMk/>
            <pc:sldMk cId="3666302761" sldId="324"/>
            <ac:spMk id="21" creationId="{46156451-ECB4-4520-895C-009D1F9E8343}"/>
          </ac:spMkLst>
        </pc:spChg>
        <pc:spChg chg="mod">
          <ac:chgData name="EVELYNSM.YONG" userId="S::evelynsm.yong_gmail.com#ext#@risebcg.onmicrosoft.com::67a27a72-2420-4d38-b745-316a53f4b99a" providerId="AD" clId="Web-{11BCB7EC-2CD9-4DDE-8140-3BA1CF4EA7FC}" dt="2022-01-07T14:27:13.925" v="172" actId="1076"/>
          <ac:spMkLst>
            <pc:docMk/>
            <pc:sldMk cId="3666302761" sldId="324"/>
            <ac:spMk id="22" creationId="{C16AF6E1-B243-4B07-9F33-544B588862C6}"/>
          </ac:spMkLst>
        </pc:spChg>
        <pc:spChg chg="mod">
          <ac:chgData name="EVELYNSM.YONG" userId="S::evelynsm.yong_gmail.com#ext#@risebcg.onmicrosoft.com::67a27a72-2420-4d38-b745-316a53f4b99a" providerId="AD" clId="Web-{11BCB7EC-2CD9-4DDE-8140-3BA1CF4EA7FC}" dt="2022-01-07T14:27:20.456" v="174" actId="1076"/>
          <ac:spMkLst>
            <pc:docMk/>
            <pc:sldMk cId="3666302761" sldId="324"/>
            <ac:spMk id="23" creationId="{437837FB-28C6-4D49-A0CB-199C96E6B187}"/>
          </ac:spMkLst>
        </pc:spChg>
        <pc:spChg chg="mod">
          <ac:chgData name="EVELYNSM.YONG" userId="S::evelynsm.yong_gmail.com#ext#@risebcg.onmicrosoft.com::67a27a72-2420-4d38-b745-316a53f4b99a" providerId="AD" clId="Web-{11BCB7EC-2CD9-4DDE-8140-3BA1CF4EA7FC}" dt="2022-01-07T14:27:22.206" v="175" actId="1076"/>
          <ac:spMkLst>
            <pc:docMk/>
            <pc:sldMk cId="3666302761" sldId="324"/>
            <ac:spMk id="24" creationId="{3A5B42D3-2732-4D38-8D3A-233FB4F41BD0}"/>
          </ac:spMkLst>
        </pc:spChg>
        <pc:spChg chg="mod">
          <ac:chgData name="EVELYNSM.YONG" userId="S::evelynsm.yong_gmail.com#ext#@risebcg.onmicrosoft.com::67a27a72-2420-4d38-b745-316a53f4b99a" providerId="AD" clId="Web-{11BCB7EC-2CD9-4DDE-8140-3BA1CF4EA7FC}" dt="2022-01-07T14:27:58.848" v="179" actId="14100"/>
          <ac:spMkLst>
            <pc:docMk/>
            <pc:sldMk cId="3666302761" sldId="324"/>
            <ac:spMk id="25" creationId="{A72C66DB-3DFA-4DD0-BB16-94A4A31F5E94}"/>
          </ac:spMkLst>
        </pc:spChg>
        <pc:spChg chg="mod">
          <ac:chgData name="EVELYNSM.YONG" userId="S::evelynsm.yong_gmail.com#ext#@risebcg.onmicrosoft.com::67a27a72-2420-4d38-b745-316a53f4b99a" providerId="AD" clId="Web-{11BCB7EC-2CD9-4DDE-8140-3BA1CF4EA7FC}" dt="2022-01-07T14:26:56.003" v="166" actId="1076"/>
          <ac:spMkLst>
            <pc:docMk/>
            <pc:sldMk cId="3666302761" sldId="324"/>
            <ac:spMk id="26" creationId="{22DD1760-D9EC-405F-9AAD-63EC690DC033}"/>
          </ac:spMkLst>
        </pc:spChg>
        <pc:spChg chg="mod">
          <ac:chgData name="EVELYNSM.YONG" userId="S::evelynsm.yong_gmail.com#ext#@risebcg.onmicrosoft.com::67a27a72-2420-4d38-b745-316a53f4b99a" providerId="AD" clId="Web-{11BCB7EC-2CD9-4DDE-8140-3BA1CF4EA7FC}" dt="2022-01-07T14:26:59.378" v="167" actId="14100"/>
          <ac:spMkLst>
            <pc:docMk/>
            <pc:sldMk cId="3666302761" sldId="324"/>
            <ac:spMk id="27" creationId="{B2BF4484-08EE-483A-BA89-BC8EDC410538}"/>
          </ac:spMkLst>
        </pc:spChg>
        <pc:picChg chg="add del mod">
          <ac:chgData name="EVELYNSM.YONG" userId="S::evelynsm.yong_gmail.com#ext#@risebcg.onmicrosoft.com::67a27a72-2420-4d38-b745-316a53f4b99a" providerId="AD" clId="Web-{11BCB7EC-2CD9-4DDE-8140-3BA1CF4EA7FC}" dt="2022-01-07T14:11:57.734" v="65"/>
          <ac:picMkLst>
            <pc:docMk/>
            <pc:sldMk cId="3666302761" sldId="324"/>
            <ac:picMk id="2" creationId="{07083257-A2A9-4D1B-ABE4-5EA65B8A4D32}"/>
          </ac:picMkLst>
        </pc:picChg>
        <pc:picChg chg="del">
          <ac:chgData name="EVELYNSM.YONG" userId="S::evelynsm.yong_gmail.com#ext#@risebcg.onmicrosoft.com::67a27a72-2420-4d38-b745-316a53f4b99a" providerId="AD" clId="Web-{11BCB7EC-2CD9-4DDE-8140-3BA1CF4EA7FC}" dt="2022-01-07T14:15:48.473" v="87"/>
          <ac:picMkLst>
            <pc:docMk/>
            <pc:sldMk cId="3666302761" sldId="324"/>
            <ac:picMk id="3" creationId="{1E3FFB43-7F0A-45FE-BF03-B63BEC254DF1}"/>
          </ac:picMkLst>
        </pc:picChg>
        <pc:picChg chg="add del mod modCrop">
          <ac:chgData name="EVELYNSM.YONG" userId="S::evelynsm.yong_gmail.com#ext#@risebcg.onmicrosoft.com::67a27a72-2420-4d38-b745-316a53f4b99a" providerId="AD" clId="Web-{11BCB7EC-2CD9-4DDE-8140-3BA1CF4EA7FC}" dt="2022-01-07T14:19:21.212" v="120"/>
          <ac:picMkLst>
            <pc:docMk/>
            <pc:sldMk cId="3666302761" sldId="324"/>
            <ac:picMk id="5" creationId="{B816886F-D407-4652-B01A-40BCD59F2EC2}"/>
          </ac:picMkLst>
        </pc:picChg>
        <pc:picChg chg="add del mod">
          <ac:chgData name="EVELYNSM.YONG" userId="S::evelynsm.yong_gmail.com#ext#@risebcg.onmicrosoft.com::67a27a72-2420-4d38-b745-316a53f4b99a" providerId="AD" clId="Web-{11BCB7EC-2CD9-4DDE-8140-3BA1CF4EA7FC}" dt="2022-01-07T14:19:04.962" v="119"/>
          <ac:picMkLst>
            <pc:docMk/>
            <pc:sldMk cId="3666302761" sldId="324"/>
            <ac:picMk id="6" creationId="{89722958-31DF-4319-9CD2-E27447F9B68E}"/>
          </ac:picMkLst>
        </pc:picChg>
        <pc:picChg chg="add del mod modCrop">
          <ac:chgData name="EVELYNSM.YONG" userId="S::evelynsm.yong_gmail.com#ext#@risebcg.onmicrosoft.com::67a27a72-2420-4d38-b745-316a53f4b99a" providerId="AD" clId="Web-{11BCB7EC-2CD9-4DDE-8140-3BA1CF4EA7FC}" dt="2022-01-07T14:23:59.687" v="134"/>
          <ac:picMkLst>
            <pc:docMk/>
            <pc:sldMk cId="3666302761" sldId="324"/>
            <ac:picMk id="8" creationId="{BF1E0173-F402-4BB7-84EB-B7B1EA72E13B}"/>
          </ac:picMkLst>
        </pc:picChg>
        <pc:picChg chg="add del mod">
          <ac:chgData name="EVELYNSM.YONG" userId="S::evelynsm.yong_gmail.com#ext#@risebcg.onmicrosoft.com::67a27a72-2420-4d38-b745-316a53f4b99a" providerId="AD" clId="Web-{11BCB7EC-2CD9-4DDE-8140-3BA1CF4EA7FC}" dt="2022-01-07T14:24:05.030" v="137"/>
          <ac:picMkLst>
            <pc:docMk/>
            <pc:sldMk cId="3666302761" sldId="324"/>
            <ac:picMk id="9" creationId="{DD124C38-7B13-4276-8CDE-C3E9F8FC1B36}"/>
          </ac:picMkLst>
        </pc:picChg>
        <pc:picChg chg="add del mod">
          <ac:chgData name="EVELYNSM.YONG" userId="S::evelynsm.yong_gmail.com#ext#@risebcg.onmicrosoft.com::67a27a72-2420-4d38-b745-316a53f4b99a" providerId="AD" clId="Web-{11BCB7EC-2CD9-4DDE-8140-3BA1CF4EA7FC}" dt="2022-01-07T14:24:29.125" v="144"/>
          <ac:picMkLst>
            <pc:docMk/>
            <pc:sldMk cId="3666302761" sldId="324"/>
            <ac:picMk id="10" creationId="{B8F47726-A30A-4691-BD13-A70A3E844138}"/>
          </ac:picMkLst>
        </pc:picChg>
        <pc:picChg chg="mod">
          <ac:chgData name="EVELYNSM.YONG" userId="S::evelynsm.yong_gmail.com#ext#@risebcg.onmicrosoft.com::67a27a72-2420-4d38-b745-316a53f4b99a" providerId="AD" clId="Web-{11BCB7EC-2CD9-4DDE-8140-3BA1CF4EA7FC}" dt="2022-01-07T14:27:10.034" v="171" actId="1076"/>
          <ac:picMkLst>
            <pc:docMk/>
            <pc:sldMk cId="3666302761" sldId="324"/>
            <ac:picMk id="11" creationId="{CD86A313-65D2-4D12-B76F-922156737525}"/>
          </ac:picMkLst>
        </pc:picChg>
        <pc:picChg chg="add mod">
          <ac:chgData name="EVELYNSM.YONG" userId="S::evelynsm.yong_gmail.com#ext#@risebcg.onmicrosoft.com::67a27a72-2420-4d38-b745-316a53f4b99a" providerId="AD" clId="Web-{11BCB7EC-2CD9-4DDE-8140-3BA1CF4EA7FC}" dt="2022-01-07T14:26:37.237" v="155" actId="1076"/>
          <ac:picMkLst>
            <pc:docMk/>
            <pc:sldMk cId="3666302761" sldId="324"/>
            <ac:picMk id="15" creationId="{5D59DB1C-172C-47ED-95FD-1E3F001466CE}"/>
          </ac:picMkLst>
        </pc:picChg>
      </pc:sldChg>
      <pc:sldChg chg="modSp">
        <pc:chgData name="EVELYNSM.YONG" userId="S::evelynsm.yong_gmail.com#ext#@risebcg.onmicrosoft.com::67a27a72-2420-4d38-b745-316a53f4b99a" providerId="AD" clId="Web-{11BCB7EC-2CD9-4DDE-8140-3BA1CF4EA7FC}" dt="2022-01-07T14:15:10.535" v="84" actId="14100"/>
        <pc:sldMkLst>
          <pc:docMk/>
          <pc:sldMk cId="2316358039" sldId="325"/>
        </pc:sldMkLst>
        <pc:spChg chg="mod">
          <ac:chgData name="EVELYNSM.YONG" userId="S::evelynsm.yong_gmail.com#ext#@risebcg.onmicrosoft.com::67a27a72-2420-4d38-b745-316a53f4b99a" providerId="AD" clId="Web-{11BCB7EC-2CD9-4DDE-8140-3BA1CF4EA7FC}" dt="2022-01-07T14:15:10.535" v="84" actId="14100"/>
          <ac:spMkLst>
            <pc:docMk/>
            <pc:sldMk cId="2316358039" sldId="325"/>
            <ac:spMk id="3" creationId="{424AF61A-30BE-4BE9-9F56-D2497C21C355}"/>
          </ac:spMkLst>
        </pc:spChg>
        <pc:picChg chg="mod">
          <ac:chgData name="EVELYNSM.YONG" userId="S::evelynsm.yong_gmail.com#ext#@risebcg.onmicrosoft.com::67a27a72-2420-4d38-b745-316a53f4b99a" providerId="AD" clId="Web-{11BCB7EC-2CD9-4DDE-8140-3BA1CF4EA7FC}" dt="2022-01-07T14:15:08.082" v="83" actId="14100"/>
          <ac:picMkLst>
            <pc:docMk/>
            <pc:sldMk cId="2316358039" sldId="325"/>
            <ac:picMk id="2" creationId="{69CF128B-0B09-4BF1-B2CA-1BA877B1F78B}"/>
          </ac:picMkLst>
        </pc:picChg>
      </pc:sldChg>
      <pc:sldChg chg="addSp modSp">
        <pc:chgData name="EVELYNSM.YONG" userId="S::evelynsm.yong_gmail.com#ext#@risebcg.onmicrosoft.com::67a27a72-2420-4d38-b745-316a53f4b99a" providerId="AD" clId="Web-{11BCB7EC-2CD9-4DDE-8140-3BA1CF4EA7FC}" dt="2022-01-07T15:49:01.823" v="347" actId="1076"/>
        <pc:sldMkLst>
          <pc:docMk/>
          <pc:sldMk cId="2652119032" sldId="335"/>
        </pc:sldMkLst>
        <pc:spChg chg="mod">
          <ac:chgData name="EVELYNSM.YONG" userId="S::evelynsm.yong_gmail.com#ext#@risebcg.onmicrosoft.com::67a27a72-2420-4d38-b745-316a53f4b99a" providerId="AD" clId="Web-{11BCB7EC-2CD9-4DDE-8140-3BA1CF4EA7FC}" dt="2022-01-07T14:40:12.193" v="251" actId="20577"/>
          <ac:spMkLst>
            <pc:docMk/>
            <pc:sldMk cId="2652119032" sldId="335"/>
            <ac:spMk id="3" creationId="{CB7BAFB0-445F-4F96-BCE3-50C0E2AB21AD}"/>
          </ac:spMkLst>
        </pc:spChg>
        <pc:spChg chg="mod">
          <ac:chgData name="EVELYNSM.YONG" userId="S::evelynsm.yong_gmail.com#ext#@risebcg.onmicrosoft.com::67a27a72-2420-4d38-b745-316a53f4b99a" providerId="AD" clId="Web-{11BCB7EC-2CD9-4DDE-8140-3BA1CF4EA7FC}" dt="2022-01-07T14:09:02.997" v="53" actId="14100"/>
          <ac:spMkLst>
            <pc:docMk/>
            <pc:sldMk cId="2652119032" sldId="335"/>
            <ac:spMk id="4" creationId="{7BCAFA08-4D06-4459-BDE0-CAB790C8CB40}"/>
          </ac:spMkLst>
        </pc:spChg>
        <pc:spChg chg="add mod">
          <ac:chgData name="EVELYNSM.YONG" userId="S::evelynsm.yong_gmail.com#ext#@risebcg.onmicrosoft.com::67a27a72-2420-4d38-b745-316a53f4b99a" providerId="AD" clId="Web-{11BCB7EC-2CD9-4DDE-8140-3BA1CF4EA7FC}" dt="2022-01-07T15:49:01.823" v="347" actId="1076"/>
          <ac:spMkLst>
            <pc:docMk/>
            <pc:sldMk cId="2652119032" sldId="335"/>
            <ac:spMk id="9" creationId="{7E2F8E19-F56B-4CB8-9CA2-A1277727EBFD}"/>
          </ac:spMkLst>
        </pc:spChg>
      </pc:sldChg>
      <pc:sldChg chg="modSp">
        <pc:chgData name="EVELYNSM.YONG" userId="S::evelynsm.yong_gmail.com#ext#@risebcg.onmicrosoft.com::67a27a72-2420-4d38-b745-316a53f4b99a" providerId="AD" clId="Web-{11BCB7EC-2CD9-4DDE-8140-3BA1CF4EA7FC}" dt="2022-01-07T14:05:05.158" v="50" actId="20577"/>
        <pc:sldMkLst>
          <pc:docMk/>
          <pc:sldMk cId="3391215681" sldId="339"/>
        </pc:sldMkLst>
        <pc:spChg chg="mod">
          <ac:chgData name="EVELYNSM.YONG" userId="S::evelynsm.yong_gmail.com#ext#@risebcg.onmicrosoft.com::67a27a72-2420-4d38-b745-316a53f4b99a" providerId="AD" clId="Web-{11BCB7EC-2CD9-4DDE-8140-3BA1CF4EA7FC}" dt="2022-01-07T14:04:36.548" v="47" actId="14100"/>
          <ac:spMkLst>
            <pc:docMk/>
            <pc:sldMk cId="3391215681" sldId="339"/>
            <ac:spMk id="47" creationId="{B72F6C48-B470-4163-9AC9-2982A10656DA}"/>
          </ac:spMkLst>
        </pc:spChg>
        <pc:graphicFrameChg chg="modGraphic">
          <ac:chgData name="EVELYNSM.YONG" userId="S::evelynsm.yong_gmail.com#ext#@risebcg.onmicrosoft.com::67a27a72-2420-4d38-b745-316a53f4b99a" providerId="AD" clId="Web-{11BCB7EC-2CD9-4DDE-8140-3BA1CF4EA7FC}" dt="2022-01-07T14:05:05.158" v="50" actId="20577"/>
          <ac:graphicFrameMkLst>
            <pc:docMk/>
            <pc:sldMk cId="3391215681" sldId="339"/>
            <ac:graphicFrameMk id="28" creationId="{9D58B7B4-DE29-4DDF-BB8A-729D2B705659}"/>
          </ac:graphicFrameMkLst>
        </pc:graphicFrameChg>
      </pc:sldChg>
      <pc:sldChg chg="modSp">
        <pc:chgData name="EVELYNSM.YONG" userId="S::evelynsm.yong_gmail.com#ext#@risebcg.onmicrosoft.com::67a27a72-2420-4d38-b745-316a53f4b99a" providerId="AD" clId="Web-{11BCB7EC-2CD9-4DDE-8140-3BA1CF4EA7FC}" dt="2022-01-07T15:42:19.002" v="286" actId="20577"/>
        <pc:sldMkLst>
          <pc:docMk/>
          <pc:sldMk cId="4159389698" sldId="342"/>
        </pc:sldMkLst>
        <pc:spChg chg="mod">
          <ac:chgData name="EVELYNSM.YONG" userId="S::evelynsm.yong_gmail.com#ext#@risebcg.onmicrosoft.com::67a27a72-2420-4d38-b745-316a53f4b99a" providerId="AD" clId="Web-{11BCB7EC-2CD9-4DDE-8140-3BA1CF4EA7FC}" dt="2022-01-07T15:42:19.002" v="286" actId="20577"/>
          <ac:spMkLst>
            <pc:docMk/>
            <pc:sldMk cId="4159389698" sldId="342"/>
            <ac:spMk id="3" creationId="{1EADC3E2-9A88-4CFF-8CDC-C7B034C116B1}"/>
          </ac:spMkLst>
        </pc:spChg>
      </pc:sldChg>
    </pc:docChg>
  </pc:docChgLst>
  <pc:docChgLst>
    <pc:chgData name="EVELYNSM.YONG" userId="S::evelynsm.yong_gmail.com#ext#@risebcg.onmicrosoft.com::67a27a72-2420-4d38-b745-316a53f4b99a" providerId="AD" clId="Web-{74E7815B-A246-44ED-82DC-F39008407D50}"/>
    <pc:docChg chg="modSld">
      <pc:chgData name="EVELYNSM.YONG" userId="S::evelynsm.yong_gmail.com#ext#@risebcg.onmicrosoft.com::67a27a72-2420-4d38-b745-316a53f4b99a" providerId="AD" clId="Web-{74E7815B-A246-44ED-82DC-F39008407D50}" dt="2022-01-11T02:30:29.498" v="76"/>
      <pc:docMkLst>
        <pc:docMk/>
      </pc:docMkLst>
      <pc:sldChg chg="addSp delSp modNotes">
        <pc:chgData name="EVELYNSM.YONG" userId="S::evelynsm.yong_gmail.com#ext#@risebcg.onmicrosoft.com::67a27a72-2420-4d38-b745-316a53f4b99a" providerId="AD" clId="Web-{74E7815B-A246-44ED-82DC-F39008407D50}" dt="2022-01-11T02:30:29.498" v="76"/>
        <pc:sldMkLst>
          <pc:docMk/>
          <pc:sldMk cId="3391215681" sldId="339"/>
        </pc:sldMkLst>
        <pc:spChg chg="add del">
          <ac:chgData name="EVELYNSM.YONG" userId="S::evelynsm.yong_gmail.com#ext#@risebcg.onmicrosoft.com::67a27a72-2420-4d38-b745-316a53f4b99a" providerId="AD" clId="Web-{74E7815B-A246-44ED-82DC-F39008407D50}" dt="2022-01-11T02:30:29.498" v="76"/>
          <ac:spMkLst>
            <pc:docMk/>
            <pc:sldMk cId="3391215681" sldId="339"/>
            <ac:spMk id="23" creationId="{4E7D46A0-BBBA-404E-80D1-D00B508E3287}"/>
          </ac:spMkLst>
        </pc:spChg>
      </pc:sldChg>
    </pc:docChg>
  </pc:docChgLst>
  <pc:docChgLst>
    <pc:chgData name="COSMOSFREN" userId="S::cosmosfren_yahoo.com#ext#@risebcg.onmicrosoft.com::5462f5f4-f618-47aa-abd8-fd504e002570" providerId="AD" clId="Web-{74832C0B-5533-4278-A2CA-B05E5CFBE577}"/>
    <pc:docChg chg="addSld delSld modSld">
      <pc:chgData name="COSMOSFREN" userId="S::cosmosfren_yahoo.com#ext#@risebcg.onmicrosoft.com::5462f5f4-f618-47aa-abd8-fd504e002570" providerId="AD" clId="Web-{74832C0B-5533-4278-A2CA-B05E5CFBE577}" dt="2022-01-13T03:41:44.831" v="22"/>
      <pc:docMkLst>
        <pc:docMk/>
      </pc:docMkLst>
      <pc:sldChg chg="modNotes">
        <pc:chgData name="COSMOSFREN" userId="S::cosmosfren_yahoo.com#ext#@risebcg.onmicrosoft.com::5462f5f4-f618-47aa-abd8-fd504e002570" providerId="AD" clId="Web-{74832C0B-5533-4278-A2CA-B05E5CFBE577}" dt="2022-01-13T03:39:59.734" v="16"/>
        <pc:sldMkLst>
          <pc:docMk/>
          <pc:sldMk cId="416007632" sldId="327"/>
        </pc:sldMkLst>
      </pc:sldChg>
      <pc:sldChg chg="modNotes">
        <pc:chgData name="COSMOSFREN" userId="S::cosmosfren_yahoo.com#ext#@risebcg.onmicrosoft.com::5462f5f4-f618-47aa-abd8-fd504e002570" providerId="AD" clId="Web-{74832C0B-5533-4278-A2CA-B05E5CFBE577}" dt="2022-01-13T03:39:40.265" v="9"/>
        <pc:sldMkLst>
          <pc:docMk/>
          <pc:sldMk cId="531825606" sldId="383"/>
        </pc:sldMkLst>
      </pc:sldChg>
      <pc:sldChg chg="addSp delSp modSp new del">
        <pc:chgData name="COSMOSFREN" userId="S::cosmosfren_yahoo.com#ext#@risebcg.onmicrosoft.com::5462f5f4-f618-47aa-abd8-fd504e002570" providerId="AD" clId="Web-{74832C0B-5533-4278-A2CA-B05E5CFBE577}" dt="2022-01-13T03:41:44.831" v="22"/>
        <pc:sldMkLst>
          <pc:docMk/>
          <pc:sldMk cId="1525764511" sldId="394"/>
        </pc:sldMkLst>
        <pc:picChg chg="add del mod">
          <ac:chgData name="COSMOSFREN" userId="S::cosmosfren_yahoo.com#ext#@risebcg.onmicrosoft.com::5462f5f4-f618-47aa-abd8-fd504e002570" providerId="AD" clId="Web-{74832C0B-5533-4278-A2CA-B05E5CFBE577}" dt="2022-01-13T03:41:39.034" v="21"/>
          <ac:picMkLst>
            <pc:docMk/>
            <pc:sldMk cId="1525764511" sldId="394"/>
            <ac:picMk id="4" creationId="{BE6C9D8F-9257-49EE-94B7-91A3B305D10C}"/>
          </ac:picMkLst>
        </pc:picChg>
      </pc:sldChg>
    </pc:docChg>
  </pc:docChgLst>
  <pc:docChgLst>
    <pc:chgData name="WONGYONGLIN91" userId="S::wongyonglin91_gmail.com#ext#@risebcg.onmicrosoft.com::b2d94f93-e580-4f0d-9dda-2138509d25ae" providerId="AD" clId="Web-{5E8024D4-CE76-4AF1-992E-04FA62D5E2AB}"/>
    <pc:docChg chg="addSld delSld modSld">
      <pc:chgData name="WONGYONGLIN91" userId="S::wongyonglin91_gmail.com#ext#@risebcg.onmicrosoft.com::b2d94f93-e580-4f0d-9dda-2138509d25ae" providerId="AD" clId="Web-{5E8024D4-CE76-4AF1-992E-04FA62D5E2AB}" dt="2022-01-08T10:04:29.197" v="324" actId="1076"/>
      <pc:docMkLst>
        <pc:docMk/>
      </pc:docMkLst>
      <pc:sldChg chg="addSp modSp">
        <pc:chgData name="WONGYONGLIN91" userId="S::wongyonglin91_gmail.com#ext#@risebcg.onmicrosoft.com::b2d94f93-e580-4f0d-9dda-2138509d25ae" providerId="AD" clId="Web-{5E8024D4-CE76-4AF1-992E-04FA62D5E2AB}" dt="2022-01-08T10:04:29.197" v="324" actId="1076"/>
        <pc:sldMkLst>
          <pc:docMk/>
          <pc:sldMk cId="4084366951" sldId="318"/>
        </pc:sldMkLst>
        <pc:spChg chg="add mod">
          <ac:chgData name="WONGYONGLIN91" userId="S::wongyonglin91_gmail.com#ext#@risebcg.onmicrosoft.com::b2d94f93-e580-4f0d-9dda-2138509d25ae" providerId="AD" clId="Web-{5E8024D4-CE76-4AF1-992E-04FA62D5E2AB}" dt="2022-01-08T10:04:29.197" v="324" actId="1076"/>
          <ac:spMkLst>
            <pc:docMk/>
            <pc:sldMk cId="4084366951" sldId="318"/>
            <ac:spMk id="21" creationId="{35D5CD39-ED1A-4202-9FEE-144C7FF14574}"/>
          </ac:spMkLst>
        </pc:spChg>
      </pc:sldChg>
      <pc:sldChg chg="addSp delSp modSp add del">
        <pc:chgData name="WONGYONGLIN91" userId="S::wongyonglin91_gmail.com#ext#@risebcg.onmicrosoft.com::b2d94f93-e580-4f0d-9dda-2138509d25ae" providerId="AD" clId="Web-{5E8024D4-CE76-4AF1-992E-04FA62D5E2AB}" dt="2022-01-08T09:12:08.095" v="182"/>
        <pc:sldMkLst>
          <pc:docMk/>
          <pc:sldMk cId="3266031372" sldId="340"/>
        </pc:sldMkLst>
        <pc:picChg chg="add del mod">
          <ac:chgData name="WONGYONGLIN91" userId="S::wongyonglin91_gmail.com#ext#@risebcg.onmicrosoft.com::b2d94f93-e580-4f0d-9dda-2138509d25ae" providerId="AD" clId="Web-{5E8024D4-CE76-4AF1-992E-04FA62D5E2AB}" dt="2022-01-08T06:05:34.812" v="12"/>
          <ac:picMkLst>
            <pc:docMk/>
            <pc:sldMk cId="3266031372" sldId="340"/>
            <ac:picMk id="6" creationId="{81A150AC-B222-471E-A118-CD198FBC5BA7}"/>
          </ac:picMkLst>
        </pc:picChg>
        <pc:picChg chg="mod">
          <ac:chgData name="WONGYONGLIN91" userId="S::wongyonglin91_gmail.com#ext#@risebcg.onmicrosoft.com::b2d94f93-e580-4f0d-9dda-2138509d25ae" providerId="AD" clId="Web-{5E8024D4-CE76-4AF1-992E-04FA62D5E2AB}" dt="2022-01-08T05:18:39.614" v="1" actId="1076"/>
          <ac:picMkLst>
            <pc:docMk/>
            <pc:sldMk cId="3266031372" sldId="340"/>
            <ac:picMk id="7" creationId="{C197F6B9-4CBB-4B39-8C04-6C1CE7632C8C}"/>
          </ac:picMkLst>
        </pc:picChg>
        <pc:picChg chg="add mod">
          <ac:chgData name="WONGYONGLIN91" userId="S::wongyonglin91_gmail.com#ext#@risebcg.onmicrosoft.com::b2d94f93-e580-4f0d-9dda-2138509d25ae" providerId="AD" clId="Web-{5E8024D4-CE76-4AF1-992E-04FA62D5E2AB}" dt="2022-01-08T06:05:22.297" v="11" actId="14100"/>
          <ac:picMkLst>
            <pc:docMk/>
            <pc:sldMk cId="3266031372" sldId="340"/>
            <ac:picMk id="8" creationId="{E5537C0A-B51D-4D81-A02F-6B38E9303B22}"/>
          </ac:picMkLst>
        </pc:picChg>
      </pc:sldChg>
      <pc:sldChg chg="del">
        <pc:chgData name="WONGYONGLIN91" userId="S::wongyonglin91_gmail.com#ext#@risebcg.onmicrosoft.com::b2d94f93-e580-4f0d-9dda-2138509d25ae" providerId="AD" clId="Web-{5E8024D4-CE76-4AF1-992E-04FA62D5E2AB}" dt="2022-01-08T08:11:02.357" v="97"/>
        <pc:sldMkLst>
          <pc:docMk/>
          <pc:sldMk cId="2497075168" sldId="341"/>
        </pc:sldMkLst>
      </pc:sldChg>
      <pc:sldChg chg="addSp modSp add del replId">
        <pc:chgData name="WONGYONGLIN91" userId="S::wongyonglin91_gmail.com#ext#@risebcg.onmicrosoft.com::b2d94f93-e580-4f0d-9dda-2138509d25ae" providerId="AD" clId="Web-{5E8024D4-CE76-4AF1-992E-04FA62D5E2AB}" dt="2022-01-08T09:09:03.777" v="147"/>
        <pc:sldMkLst>
          <pc:docMk/>
          <pc:sldMk cId="3837311995" sldId="344"/>
        </pc:sldMkLst>
        <pc:spChg chg="mod">
          <ac:chgData name="WONGYONGLIN91" userId="S::wongyonglin91_gmail.com#ext#@risebcg.onmicrosoft.com::b2d94f93-e580-4f0d-9dda-2138509d25ae" providerId="AD" clId="Web-{5E8024D4-CE76-4AF1-992E-04FA62D5E2AB}" dt="2022-01-08T08:11:12.138" v="99" actId="20577"/>
          <ac:spMkLst>
            <pc:docMk/>
            <pc:sldMk cId="3837311995" sldId="344"/>
            <ac:spMk id="2" creationId="{ED14AA63-35D8-4136-8B2F-DE1837A583A2}"/>
          </ac:spMkLst>
        </pc:spChg>
        <pc:spChg chg="add mod">
          <ac:chgData name="WONGYONGLIN91" userId="S::wongyonglin91_gmail.com#ext#@risebcg.onmicrosoft.com::b2d94f93-e580-4f0d-9dda-2138509d25ae" providerId="AD" clId="Web-{5E8024D4-CE76-4AF1-992E-04FA62D5E2AB}" dt="2022-01-08T08:07:04.976" v="93" actId="20577"/>
          <ac:spMkLst>
            <pc:docMk/>
            <pc:sldMk cId="3837311995" sldId="344"/>
            <ac:spMk id="3" creationId="{2321500F-B116-49E9-B713-1C89E59A92D6}"/>
          </ac:spMkLst>
        </pc:spChg>
        <pc:spChg chg="mod">
          <ac:chgData name="WONGYONGLIN91" userId="S::wongyonglin91_gmail.com#ext#@risebcg.onmicrosoft.com::b2d94f93-e580-4f0d-9dda-2138509d25ae" providerId="AD" clId="Web-{5E8024D4-CE76-4AF1-992E-04FA62D5E2AB}" dt="2022-01-08T07:59:47.341" v="15" actId="14100"/>
          <ac:spMkLst>
            <pc:docMk/>
            <pc:sldMk cId="3837311995" sldId="344"/>
            <ac:spMk id="4" creationId="{215644EC-E1A2-4B5F-BA53-79EB189605EC}"/>
          </ac:spMkLst>
        </pc:spChg>
        <pc:spChg chg="add mod">
          <ac:chgData name="WONGYONGLIN91" userId="S::wongyonglin91_gmail.com#ext#@risebcg.onmicrosoft.com::b2d94f93-e580-4f0d-9dda-2138509d25ae" providerId="AD" clId="Web-{5E8024D4-CE76-4AF1-992E-04FA62D5E2AB}" dt="2022-01-08T08:07:18.289" v="94" actId="20577"/>
          <ac:spMkLst>
            <pc:docMk/>
            <pc:sldMk cId="3837311995" sldId="344"/>
            <ac:spMk id="12" creationId="{95E46411-4A0C-41AA-9250-790D71323EA7}"/>
          </ac:spMkLst>
        </pc:spChg>
        <pc:picChg chg="mod">
          <ac:chgData name="WONGYONGLIN91" userId="S::wongyonglin91_gmail.com#ext#@risebcg.onmicrosoft.com::b2d94f93-e580-4f0d-9dda-2138509d25ae" providerId="AD" clId="Web-{5E8024D4-CE76-4AF1-992E-04FA62D5E2AB}" dt="2022-01-08T08:03:49.269" v="66" actId="1076"/>
          <ac:picMkLst>
            <pc:docMk/>
            <pc:sldMk cId="3837311995" sldId="344"/>
            <ac:picMk id="8" creationId="{43C821D0-E8DD-4E0C-918F-E8AFE57FBD79}"/>
          </ac:picMkLst>
        </pc:picChg>
        <pc:picChg chg="mod">
          <ac:chgData name="WONGYONGLIN91" userId="S::wongyonglin91_gmail.com#ext#@risebcg.onmicrosoft.com::b2d94f93-e580-4f0d-9dda-2138509d25ae" providerId="AD" clId="Web-{5E8024D4-CE76-4AF1-992E-04FA62D5E2AB}" dt="2022-01-08T08:03:49.284" v="67" actId="1076"/>
          <ac:picMkLst>
            <pc:docMk/>
            <pc:sldMk cId="3837311995" sldId="344"/>
            <ac:picMk id="9" creationId="{7E7137EB-EB04-47D4-ADDE-3138CAD2FE22}"/>
          </ac:picMkLst>
        </pc:picChg>
        <pc:picChg chg="mod">
          <ac:chgData name="WONGYONGLIN91" userId="S::wongyonglin91_gmail.com#ext#@risebcg.onmicrosoft.com::b2d94f93-e580-4f0d-9dda-2138509d25ae" providerId="AD" clId="Web-{5E8024D4-CE76-4AF1-992E-04FA62D5E2AB}" dt="2022-01-08T08:08:24.150" v="95" actId="14100"/>
          <ac:picMkLst>
            <pc:docMk/>
            <pc:sldMk cId="3837311995" sldId="344"/>
            <ac:picMk id="10" creationId="{5C5BFFE9-19E0-4AAC-BCA1-0A74C6D93C5F}"/>
          </ac:picMkLst>
        </pc:picChg>
        <pc:picChg chg="mod">
          <ac:chgData name="WONGYONGLIN91" userId="S::wongyonglin91_gmail.com#ext#@risebcg.onmicrosoft.com::b2d94f93-e580-4f0d-9dda-2138509d25ae" providerId="AD" clId="Web-{5E8024D4-CE76-4AF1-992E-04FA62D5E2AB}" dt="2022-01-08T08:03:49.331" v="69" actId="1076"/>
          <ac:picMkLst>
            <pc:docMk/>
            <pc:sldMk cId="3837311995" sldId="344"/>
            <ac:picMk id="11" creationId="{A57CFE02-5F8C-4E5D-85E3-23A246851199}"/>
          </ac:picMkLst>
        </pc:picChg>
        <pc:cxnChg chg="add mod">
          <ac:chgData name="WONGYONGLIN91" userId="S::wongyonglin91_gmail.com#ext#@risebcg.onmicrosoft.com::b2d94f93-e580-4f0d-9dda-2138509d25ae" providerId="AD" clId="Web-{5E8024D4-CE76-4AF1-992E-04FA62D5E2AB}" dt="2022-01-08T08:06:10.069" v="88" actId="14100"/>
          <ac:cxnSpMkLst>
            <pc:docMk/>
            <pc:sldMk cId="3837311995" sldId="344"/>
            <ac:cxnSpMk id="5" creationId="{7650244C-E06B-41BA-A77C-2D20639EA927}"/>
          </ac:cxnSpMkLst>
        </pc:cxnChg>
      </pc:sldChg>
      <pc:sldChg chg="addSp delSp modSp add replId">
        <pc:chgData name="WONGYONGLIN91" userId="S::wongyonglin91_gmail.com#ext#@risebcg.onmicrosoft.com::b2d94f93-e580-4f0d-9dda-2138509d25ae" providerId="AD" clId="Web-{5E8024D4-CE76-4AF1-992E-04FA62D5E2AB}" dt="2022-01-08T09:19:27.528" v="275" actId="20577"/>
        <pc:sldMkLst>
          <pc:docMk/>
          <pc:sldMk cId="3971465157" sldId="345"/>
        </pc:sldMkLst>
        <pc:spChg chg="mod">
          <ac:chgData name="WONGYONGLIN91" userId="S::wongyonglin91_gmail.com#ext#@risebcg.onmicrosoft.com::b2d94f93-e580-4f0d-9dda-2138509d25ae" providerId="AD" clId="Web-{5E8024D4-CE76-4AF1-992E-04FA62D5E2AB}" dt="2022-01-08T09:12:28.704" v="186" actId="20577"/>
          <ac:spMkLst>
            <pc:docMk/>
            <pc:sldMk cId="3971465157" sldId="345"/>
            <ac:spMk id="2" creationId="{ED14AA63-35D8-4136-8B2F-DE1837A583A2}"/>
          </ac:spMkLst>
        </pc:spChg>
        <pc:spChg chg="mod">
          <ac:chgData name="WONGYONGLIN91" userId="S::wongyonglin91_gmail.com#ext#@risebcg.onmicrosoft.com::b2d94f93-e580-4f0d-9dda-2138509d25ae" providerId="AD" clId="Web-{5E8024D4-CE76-4AF1-992E-04FA62D5E2AB}" dt="2022-01-08T09:19:27.528" v="275" actId="20577"/>
          <ac:spMkLst>
            <pc:docMk/>
            <pc:sldMk cId="3971465157" sldId="345"/>
            <ac:spMk id="4" creationId="{215644EC-E1A2-4B5F-BA53-79EB189605EC}"/>
          </ac:spMkLst>
        </pc:spChg>
        <pc:picChg chg="add mod">
          <ac:chgData name="WONGYONGLIN91" userId="S::wongyonglin91_gmail.com#ext#@risebcg.onmicrosoft.com::b2d94f93-e580-4f0d-9dda-2138509d25ae" providerId="AD" clId="Web-{5E8024D4-CE76-4AF1-992E-04FA62D5E2AB}" dt="2022-01-08T09:13:34.722" v="195" actId="14100"/>
          <ac:picMkLst>
            <pc:docMk/>
            <pc:sldMk cId="3971465157" sldId="345"/>
            <ac:picMk id="6" creationId="{0543AB5E-0C46-4F5B-92B9-8460B4265166}"/>
          </ac:picMkLst>
        </pc:picChg>
        <pc:picChg chg="add del mod">
          <ac:chgData name="WONGYONGLIN91" userId="S::wongyonglin91_gmail.com#ext#@risebcg.onmicrosoft.com::b2d94f93-e580-4f0d-9dda-2138509d25ae" providerId="AD" clId="Web-{5E8024D4-CE76-4AF1-992E-04FA62D5E2AB}" dt="2022-01-08T08:20:13.322" v="122"/>
          <ac:picMkLst>
            <pc:docMk/>
            <pc:sldMk cId="3971465157" sldId="345"/>
            <ac:picMk id="6" creationId="{25C9F62F-D45E-4445-8F13-99FCBB75DCA9}"/>
          </ac:picMkLst>
        </pc:picChg>
        <pc:picChg chg="add del mod">
          <ac:chgData name="WONGYONGLIN91" userId="S::wongyonglin91_gmail.com#ext#@risebcg.onmicrosoft.com::b2d94f93-e580-4f0d-9dda-2138509d25ae" providerId="AD" clId="Web-{5E8024D4-CE76-4AF1-992E-04FA62D5E2AB}" dt="2022-01-08T08:18:53.617" v="117"/>
          <ac:picMkLst>
            <pc:docMk/>
            <pc:sldMk cId="3971465157" sldId="345"/>
            <ac:picMk id="7" creationId="{6B409D3D-909A-4119-B3C7-FBF488970228}"/>
          </ac:picMkLst>
        </pc:picChg>
        <pc:picChg chg="add mod">
          <ac:chgData name="WONGYONGLIN91" userId="S::wongyonglin91_gmail.com#ext#@risebcg.onmicrosoft.com::b2d94f93-e580-4f0d-9dda-2138509d25ae" providerId="AD" clId="Web-{5E8024D4-CE76-4AF1-992E-04FA62D5E2AB}" dt="2022-01-08T09:14:40.552" v="201" actId="14100"/>
          <ac:picMkLst>
            <pc:docMk/>
            <pc:sldMk cId="3971465157" sldId="345"/>
            <ac:picMk id="7" creationId="{F2806C6D-F724-4DED-AEF0-61ECCAB05DB6}"/>
          </ac:picMkLst>
        </pc:picChg>
        <pc:picChg chg="del">
          <ac:chgData name="WONGYONGLIN91" userId="S::wongyonglin91_gmail.com#ext#@risebcg.onmicrosoft.com::b2d94f93-e580-4f0d-9dda-2138509d25ae" providerId="AD" clId="Web-{5E8024D4-CE76-4AF1-992E-04FA62D5E2AB}" dt="2022-01-08T08:13:21.016" v="100"/>
          <ac:picMkLst>
            <pc:docMk/>
            <pc:sldMk cId="3971465157" sldId="345"/>
            <ac:picMk id="8" creationId="{43C821D0-E8DD-4E0C-918F-E8AFE57FBD79}"/>
          </ac:picMkLst>
        </pc:picChg>
        <pc:picChg chg="del">
          <ac:chgData name="WONGYONGLIN91" userId="S::wongyonglin91_gmail.com#ext#@risebcg.onmicrosoft.com::b2d94f93-e580-4f0d-9dda-2138509d25ae" providerId="AD" clId="Web-{5E8024D4-CE76-4AF1-992E-04FA62D5E2AB}" dt="2022-01-08T08:14:00.907" v="105"/>
          <ac:picMkLst>
            <pc:docMk/>
            <pc:sldMk cId="3971465157" sldId="345"/>
            <ac:picMk id="9" creationId="{7E7137EB-EB04-47D4-ADDE-3138CAD2FE22}"/>
          </ac:picMkLst>
        </pc:picChg>
        <pc:picChg chg="add del">
          <ac:chgData name="WONGYONGLIN91" userId="S::wongyonglin91_gmail.com#ext#@risebcg.onmicrosoft.com::b2d94f93-e580-4f0d-9dda-2138509d25ae" providerId="AD" clId="Web-{5E8024D4-CE76-4AF1-992E-04FA62D5E2AB}" dt="2022-01-08T09:13:07.315" v="190"/>
          <ac:picMkLst>
            <pc:docMk/>
            <pc:sldMk cId="3971465157" sldId="345"/>
            <ac:picMk id="10" creationId="{5C5BFFE9-19E0-4AAC-BCA1-0A74C6D93C5F}"/>
          </ac:picMkLst>
        </pc:picChg>
        <pc:picChg chg="add del">
          <ac:chgData name="WONGYONGLIN91" userId="S::wongyonglin91_gmail.com#ext#@risebcg.onmicrosoft.com::b2d94f93-e580-4f0d-9dda-2138509d25ae" providerId="AD" clId="Web-{5E8024D4-CE76-4AF1-992E-04FA62D5E2AB}" dt="2022-01-08T09:13:07.752" v="191"/>
          <ac:picMkLst>
            <pc:docMk/>
            <pc:sldMk cId="3971465157" sldId="345"/>
            <ac:picMk id="11" creationId="{A57CFE02-5F8C-4E5D-85E3-23A246851199}"/>
          </ac:picMkLst>
        </pc:picChg>
        <pc:picChg chg="add del mod">
          <ac:chgData name="WONGYONGLIN91" userId="S::wongyonglin91_gmail.com#ext#@risebcg.onmicrosoft.com::b2d94f93-e580-4f0d-9dda-2138509d25ae" providerId="AD" clId="Web-{5E8024D4-CE76-4AF1-992E-04FA62D5E2AB}" dt="2022-01-08T08:20:10.760" v="121"/>
          <ac:picMkLst>
            <pc:docMk/>
            <pc:sldMk cId="3971465157" sldId="345"/>
            <ac:picMk id="13" creationId="{8D644E13-361E-4752-8757-63788850562E}"/>
          </ac:picMkLst>
        </pc:picChg>
        <pc:picChg chg="add mod">
          <ac:chgData name="WONGYONGLIN91" userId="S::wongyonglin91_gmail.com#ext#@risebcg.onmicrosoft.com::b2d94f93-e580-4f0d-9dda-2138509d25ae" providerId="AD" clId="Web-{5E8024D4-CE76-4AF1-992E-04FA62D5E2AB}" dt="2022-01-08T09:14:37.817" v="200" actId="14100"/>
          <ac:picMkLst>
            <pc:docMk/>
            <pc:sldMk cId="3971465157" sldId="345"/>
            <ac:picMk id="14" creationId="{6C32E5A9-2DAB-4399-BC5F-DFEF3CE42056}"/>
          </ac:picMkLst>
        </pc:picChg>
        <pc:picChg chg="add mod">
          <ac:chgData name="WONGYONGLIN91" userId="S::wongyonglin91_gmail.com#ext#@risebcg.onmicrosoft.com::b2d94f93-e580-4f0d-9dda-2138509d25ae" providerId="AD" clId="Web-{5E8024D4-CE76-4AF1-992E-04FA62D5E2AB}" dt="2022-01-08T08:21:44.730" v="128" actId="14100"/>
          <ac:picMkLst>
            <pc:docMk/>
            <pc:sldMk cId="3971465157" sldId="345"/>
            <ac:picMk id="15" creationId="{D29E5551-D1FB-4B15-B981-AF5FE6C4338B}"/>
          </ac:picMkLst>
        </pc:picChg>
      </pc:sldChg>
      <pc:sldChg chg="addSp delSp modSp add replId">
        <pc:chgData name="WONGYONGLIN91" userId="S::wongyonglin91_gmail.com#ext#@risebcg.onmicrosoft.com::b2d94f93-e580-4f0d-9dda-2138509d25ae" providerId="AD" clId="Web-{5E8024D4-CE76-4AF1-992E-04FA62D5E2AB}" dt="2022-01-08T09:19:42.513" v="280" actId="20577"/>
        <pc:sldMkLst>
          <pc:docMk/>
          <pc:sldMk cId="2149037765" sldId="346"/>
        </pc:sldMkLst>
        <pc:spChg chg="mod">
          <ac:chgData name="WONGYONGLIN91" userId="S::wongyonglin91_gmail.com#ext#@risebcg.onmicrosoft.com::b2d94f93-e580-4f0d-9dda-2138509d25ae" providerId="AD" clId="Web-{5E8024D4-CE76-4AF1-992E-04FA62D5E2AB}" dt="2022-01-08T09:12:25.282" v="184" actId="20577"/>
          <ac:spMkLst>
            <pc:docMk/>
            <pc:sldMk cId="2149037765" sldId="346"/>
            <ac:spMk id="2" creationId="{ED14AA63-35D8-4136-8B2F-DE1837A583A2}"/>
          </ac:spMkLst>
        </pc:spChg>
        <pc:spChg chg="mod">
          <ac:chgData name="WONGYONGLIN91" userId="S::wongyonglin91_gmail.com#ext#@risebcg.onmicrosoft.com::b2d94f93-e580-4f0d-9dda-2138509d25ae" providerId="AD" clId="Web-{5E8024D4-CE76-4AF1-992E-04FA62D5E2AB}" dt="2022-01-08T09:19:42.513" v="280" actId="20577"/>
          <ac:spMkLst>
            <pc:docMk/>
            <pc:sldMk cId="2149037765" sldId="346"/>
            <ac:spMk id="4" creationId="{215644EC-E1A2-4B5F-BA53-79EB189605EC}"/>
          </ac:spMkLst>
        </pc:spChg>
        <pc:picChg chg="del">
          <ac:chgData name="WONGYONGLIN91" userId="S::wongyonglin91_gmail.com#ext#@risebcg.onmicrosoft.com::b2d94f93-e580-4f0d-9dda-2138509d25ae" providerId="AD" clId="Web-{5E8024D4-CE76-4AF1-992E-04FA62D5E2AB}" dt="2022-01-08T08:17:08.334" v="116"/>
          <ac:picMkLst>
            <pc:docMk/>
            <pc:sldMk cId="2149037765" sldId="346"/>
            <ac:picMk id="6" creationId="{25C9F62F-D45E-4445-8F13-99FCBB75DCA9}"/>
          </ac:picMkLst>
        </pc:picChg>
        <pc:picChg chg="add mod">
          <ac:chgData name="WONGYONGLIN91" userId="S::wongyonglin91_gmail.com#ext#@risebcg.onmicrosoft.com::b2d94f93-e580-4f0d-9dda-2138509d25ae" providerId="AD" clId="Web-{5E8024D4-CE76-4AF1-992E-04FA62D5E2AB}" dt="2022-01-08T09:12:43.767" v="187" actId="14100"/>
          <ac:picMkLst>
            <pc:docMk/>
            <pc:sldMk cId="2149037765" sldId="346"/>
            <ac:picMk id="6" creationId="{8B12E724-F7D6-46BF-AE6E-486289EC7CC6}"/>
          </ac:picMkLst>
        </pc:picChg>
        <pc:picChg chg="del">
          <ac:chgData name="WONGYONGLIN91" userId="S::wongyonglin91_gmail.com#ext#@risebcg.onmicrosoft.com::b2d94f93-e580-4f0d-9dda-2138509d25ae" providerId="AD" clId="Web-{5E8024D4-CE76-4AF1-992E-04FA62D5E2AB}" dt="2022-01-08T08:17:06.787" v="115"/>
          <ac:picMkLst>
            <pc:docMk/>
            <pc:sldMk cId="2149037765" sldId="346"/>
            <ac:picMk id="7" creationId="{6B409D3D-909A-4119-B3C7-FBF488970228}"/>
          </ac:picMkLst>
        </pc:picChg>
        <pc:picChg chg="add mod">
          <ac:chgData name="WONGYONGLIN91" userId="S::wongyonglin91_gmail.com#ext#@risebcg.onmicrosoft.com::b2d94f93-e580-4f0d-9dda-2138509d25ae" providerId="AD" clId="Web-{5E8024D4-CE76-4AF1-992E-04FA62D5E2AB}" dt="2022-01-08T09:02:31.470" v="134" actId="14100"/>
          <ac:picMkLst>
            <pc:docMk/>
            <pc:sldMk cId="2149037765" sldId="346"/>
            <ac:picMk id="7" creationId="{9A3D2A3F-16A2-4B00-AD57-DD79E305B4AB}"/>
          </ac:picMkLst>
        </pc:picChg>
        <pc:picChg chg="add del mod">
          <ac:chgData name="WONGYONGLIN91" userId="S::wongyonglin91_gmail.com#ext#@risebcg.onmicrosoft.com::b2d94f93-e580-4f0d-9dda-2138509d25ae" providerId="AD" clId="Web-{5E8024D4-CE76-4AF1-992E-04FA62D5E2AB}" dt="2022-01-08T09:12:48.564" v="188" actId="14100"/>
          <ac:picMkLst>
            <pc:docMk/>
            <pc:sldMk cId="2149037765" sldId="346"/>
            <ac:picMk id="8" creationId="{B55EB88B-1131-49F1-9EBF-9451360D2DC8}"/>
          </ac:picMkLst>
        </pc:picChg>
        <pc:picChg chg="add del mod">
          <ac:chgData name="WONGYONGLIN91" userId="S::wongyonglin91_gmail.com#ext#@risebcg.onmicrosoft.com::b2d94f93-e580-4f0d-9dda-2138509d25ae" providerId="AD" clId="Web-{5E8024D4-CE76-4AF1-992E-04FA62D5E2AB}" dt="2022-01-08T09:12:51.361" v="189" actId="14100"/>
          <ac:picMkLst>
            <pc:docMk/>
            <pc:sldMk cId="2149037765" sldId="346"/>
            <ac:picMk id="9" creationId="{3C5E64A5-AEC6-4C45-A9BB-6D9278736CF1}"/>
          </ac:picMkLst>
        </pc:picChg>
        <pc:picChg chg="del">
          <ac:chgData name="WONGYONGLIN91" userId="S::wongyonglin91_gmail.com#ext#@risebcg.onmicrosoft.com::b2d94f93-e580-4f0d-9dda-2138509d25ae" providerId="AD" clId="Web-{5E8024D4-CE76-4AF1-992E-04FA62D5E2AB}" dt="2022-01-08T09:03:20.268" v="140"/>
          <ac:picMkLst>
            <pc:docMk/>
            <pc:sldMk cId="2149037765" sldId="346"/>
            <ac:picMk id="10" creationId="{5C5BFFE9-19E0-4AAC-BCA1-0A74C6D93C5F}"/>
          </ac:picMkLst>
        </pc:picChg>
        <pc:picChg chg="del">
          <ac:chgData name="WONGYONGLIN91" userId="S::wongyonglin91_gmail.com#ext#@risebcg.onmicrosoft.com::b2d94f93-e580-4f0d-9dda-2138509d25ae" providerId="AD" clId="Web-{5E8024D4-CE76-4AF1-992E-04FA62D5E2AB}" dt="2022-01-08T09:03:19.706" v="139"/>
          <ac:picMkLst>
            <pc:docMk/>
            <pc:sldMk cId="2149037765" sldId="346"/>
            <ac:picMk id="11" creationId="{A57CFE02-5F8C-4E5D-85E3-23A246851199}"/>
          </ac:picMkLst>
        </pc:picChg>
        <pc:picChg chg="add del mod">
          <ac:chgData name="WONGYONGLIN91" userId="S::wongyonglin91_gmail.com#ext#@risebcg.onmicrosoft.com::b2d94f93-e580-4f0d-9dda-2138509d25ae" providerId="AD" clId="Web-{5E8024D4-CE76-4AF1-992E-04FA62D5E2AB}" dt="2022-01-08T09:11:40.969" v="176"/>
          <ac:picMkLst>
            <pc:docMk/>
            <pc:sldMk cId="2149037765" sldId="346"/>
            <ac:picMk id="13" creationId="{B50304B1-EFCF-47CE-B02C-051CD07526F5}"/>
          </ac:picMkLst>
        </pc:picChg>
        <pc:picChg chg="add del mod">
          <ac:chgData name="WONGYONGLIN91" userId="S::wongyonglin91_gmail.com#ext#@risebcg.onmicrosoft.com::b2d94f93-e580-4f0d-9dda-2138509d25ae" providerId="AD" clId="Web-{5E8024D4-CE76-4AF1-992E-04FA62D5E2AB}" dt="2022-01-08T09:11:37.500" v="173"/>
          <ac:picMkLst>
            <pc:docMk/>
            <pc:sldMk cId="2149037765" sldId="346"/>
            <ac:picMk id="14" creationId="{E6EB8151-E2D1-4355-A773-9C32D9A7B251}"/>
          </ac:picMkLst>
        </pc:picChg>
      </pc:sldChg>
    </pc:docChg>
  </pc:docChgLst>
  <pc:docChgLst>
    <pc:chgData name="WONGYONGLIN91" userId="S::wongyonglin91_gmail.com#ext#@risebcg.onmicrosoft.com::b2d94f93-e580-4f0d-9dda-2138509d25ae" providerId="AD" clId="Web-{0EAB42A7-036F-4A14-8FB0-25A7DE98B9AA}"/>
    <pc:docChg chg="addSld delSld modSld sldOrd">
      <pc:chgData name="WONGYONGLIN91" userId="S::wongyonglin91_gmail.com#ext#@risebcg.onmicrosoft.com::b2d94f93-e580-4f0d-9dda-2138509d25ae" providerId="AD" clId="Web-{0EAB42A7-036F-4A14-8FB0-25A7DE98B9AA}" dt="2022-01-10T09:34:52.844" v="155" actId="20577"/>
      <pc:docMkLst>
        <pc:docMk/>
      </pc:docMkLst>
      <pc:sldChg chg="del">
        <pc:chgData name="WONGYONGLIN91" userId="S::wongyonglin91_gmail.com#ext#@risebcg.onmicrosoft.com::b2d94f93-e580-4f0d-9dda-2138509d25ae" providerId="AD" clId="Web-{0EAB42A7-036F-4A14-8FB0-25A7DE98B9AA}" dt="2022-01-10T08:58:16.890" v="23"/>
        <pc:sldMkLst>
          <pc:docMk/>
          <pc:sldMk cId="3295513976" sldId="262"/>
        </pc:sldMkLst>
      </pc:sldChg>
      <pc:sldChg chg="del">
        <pc:chgData name="WONGYONGLIN91" userId="S::wongyonglin91_gmail.com#ext#@risebcg.onmicrosoft.com::b2d94f93-e580-4f0d-9dda-2138509d25ae" providerId="AD" clId="Web-{0EAB42A7-036F-4A14-8FB0-25A7DE98B9AA}" dt="2022-01-10T08:59:13.641" v="30"/>
        <pc:sldMkLst>
          <pc:docMk/>
          <pc:sldMk cId="2651815169" sldId="283"/>
        </pc:sldMkLst>
      </pc:sldChg>
      <pc:sldChg chg="del">
        <pc:chgData name="WONGYONGLIN91" userId="S::wongyonglin91_gmail.com#ext#@risebcg.onmicrosoft.com::b2d94f93-e580-4f0d-9dda-2138509d25ae" providerId="AD" clId="Web-{0EAB42A7-036F-4A14-8FB0-25A7DE98B9AA}" dt="2022-01-10T08:58:37.968" v="27"/>
        <pc:sldMkLst>
          <pc:docMk/>
          <pc:sldMk cId="539976337" sldId="286"/>
        </pc:sldMkLst>
      </pc:sldChg>
      <pc:sldChg chg="del">
        <pc:chgData name="WONGYONGLIN91" userId="S::wongyonglin91_gmail.com#ext#@risebcg.onmicrosoft.com::b2d94f93-e580-4f0d-9dda-2138509d25ae" providerId="AD" clId="Web-{0EAB42A7-036F-4A14-8FB0-25A7DE98B9AA}" dt="2022-01-10T08:58:18.749" v="24"/>
        <pc:sldMkLst>
          <pc:docMk/>
          <pc:sldMk cId="2422572169" sldId="288"/>
        </pc:sldMkLst>
      </pc:sldChg>
      <pc:sldChg chg="del">
        <pc:chgData name="WONGYONGLIN91" userId="S::wongyonglin91_gmail.com#ext#@risebcg.onmicrosoft.com::b2d94f93-e580-4f0d-9dda-2138509d25ae" providerId="AD" clId="Web-{0EAB42A7-036F-4A14-8FB0-25A7DE98B9AA}" dt="2022-01-10T08:58:13.343" v="21"/>
        <pc:sldMkLst>
          <pc:docMk/>
          <pc:sldMk cId="2840975703" sldId="289"/>
        </pc:sldMkLst>
      </pc:sldChg>
      <pc:sldChg chg="del">
        <pc:chgData name="WONGYONGLIN91" userId="S::wongyonglin91_gmail.com#ext#@risebcg.onmicrosoft.com::b2d94f93-e580-4f0d-9dda-2138509d25ae" providerId="AD" clId="Web-{0EAB42A7-036F-4A14-8FB0-25A7DE98B9AA}" dt="2022-01-10T08:58:32.015" v="26"/>
        <pc:sldMkLst>
          <pc:docMk/>
          <pc:sldMk cId="2555850817" sldId="290"/>
        </pc:sldMkLst>
      </pc:sldChg>
      <pc:sldChg chg="del">
        <pc:chgData name="WONGYONGLIN91" userId="S::wongyonglin91_gmail.com#ext#@risebcg.onmicrosoft.com::b2d94f93-e580-4f0d-9dda-2138509d25ae" providerId="AD" clId="Web-{0EAB42A7-036F-4A14-8FB0-25A7DE98B9AA}" dt="2022-01-10T08:58:14.608" v="22"/>
        <pc:sldMkLst>
          <pc:docMk/>
          <pc:sldMk cId="1509380057" sldId="291"/>
        </pc:sldMkLst>
      </pc:sldChg>
      <pc:sldChg chg="del">
        <pc:chgData name="WONGYONGLIN91" userId="S::wongyonglin91_gmail.com#ext#@risebcg.onmicrosoft.com::b2d94f93-e580-4f0d-9dda-2138509d25ae" providerId="AD" clId="Web-{0EAB42A7-036F-4A14-8FB0-25A7DE98B9AA}" dt="2022-01-10T08:57:29.795" v="19"/>
        <pc:sldMkLst>
          <pc:docMk/>
          <pc:sldMk cId="32296890" sldId="293"/>
        </pc:sldMkLst>
      </pc:sldChg>
      <pc:sldChg chg="del">
        <pc:chgData name="WONGYONGLIN91" userId="S::wongyonglin91_gmail.com#ext#@risebcg.onmicrosoft.com::b2d94f93-e580-4f0d-9dda-2138509d25ae" providerId="AD" clId="Web-{0EAB42A7-036F-4A14-8FB0-25A7DE98B9AA}" dt="2022-01-10T08:57:25.545" v="18"/>
        <pc:sldMkLst>
          <pc:docMk/>
          <pc:sldMk cId="2864801151" sldId="294"/>
        </pc:sldMkLst>
      </pc:sldChg>
      <pc:sldChg chg="del">
        <pc:chgData name="WONGYONGLIN91" userId="S::wongyonglin91_gmail.com#ext#@risebcg.onmicrosoft.com::b2d94f93-e580-4f0d-9dda-2138509d25ae" providerId="AD" clId="Web-{0EAB42A7-036F-4A14-8FB0-25A7DE98B9AA}" dt="2022-01-10T08:58:28.530" v="25"/>
        <pc:sldMkLst>
          <pc:docMk/>
          <pc:sldMk cId="744766544" sldId="295"/>
        </pc:sldMkLst>
      </pc:sldChg>
      <pc:sldChg chg="del">
        <pc:chgData name="WONGYONGLIN91" userId="S::wongyonglin91_gmail.com#ext#@risebcg.onmicrosoft.com::b2d94f93-e580-4f0d-9dda-2138509d25ae" providerId="AD" clId="Web-{0EAB42A7-036F-4A14-8FB0-25A7DE98B9AA}" dt="2022-01-10T08:58:12.577" v="20"/>
        <pc:sldMkLst>
          <pc:docMk/>
          <pc:sldMk cId="1146848289" sldId="296"/>
        </pc:sldMkLst>
      </pc:sldChg>
      <pc:sldChg chg="del">
        <pc:chgData name="WONGYONGLIN91" userId="S::wongyonglin91_gmail.com#ext#@risebcg.onmicrosoft.com::b2d94f93-e580-4f0d-9dda-2138509d25ae" providerId="AD" clId="Web-{0EAB42A7-036F-4A14-8FB0-25A7DE98B9AA}" dt="2022-01-10T08:58:40.796" v="28"/>
        <pc:sldMkLst>
          <pc:docMk/>
          <pc:sldMk cId="1165460783" sldId="299"/>
        </pc:sldMkLst>
      </pc:sldChg>
      <pc:sldChg chg="del">
        <pc:chgData name="WONGYONGLIN91" userId="S::wongyonglin91_gmail.com#ext#@risebcg.onmicrosoft.com::b2d94f93-e580-4f0d-9dda-2138509d25ae" providerId="AD" clId="Web-{0EAB42A7-036F-4A14-8FB0-25A7DE98B9AA}" dt="2022-01-10T08:57:22.857" v="17"/>
        <pc:sldMkLst>
          <pc:docMk/>
          <pc:sldMk cId="2307665363" sldId="309"/>
        </pc:sldMkLst>
      </pc:sldChg>
      <pc:sldChg chg="addSp delSp modSp">
        <pc:chgData name="WONGYONGLIN91" userId="S::wongyonglin91_gmail.com#ext#@risebcg.onmicrosoft.com::b2d94f93-e580-4f0d-9dda-2138509d25ae" providerId="AD" clId="Web-{0EAB42A7-036F-4A14-8FB0-25A7DE98B9AA}" dt="2022-01-10T08:56:20.090" v="16" actId="20577"/>
        <pc:sldMkLst>
          <pc:docMk/>
          <pc:sldMk cId="2761597836" sldId="317"/>
        </pc:sldMkLst>
        <pc:spChg chg="mod">
          <ac:chgData name="WONGYONGLIN91" userId="S::wongyonglin91_gmail.com#ext#@risebcg.onmicrosoft.com::b2d94f93-e580-4f0d-9dda-2138509d25ae" providerId="AD" clId="Web-{0EAB42A7-036F-4A14-8FB0-25A7DE98B9AA}" dt="2022-01-10T08:56:20.090" v="16" actId="20577"/>
          <ac:spMkLst>
            <pc:docMk/>
            <pc:sldMk cId="2761597836" sldId="317"/>
            <ac:spMk id="3" creationId="{3AAD55FA-63B7-4DBA-8DC0-293DEF7C309C}"/>
          </ac:spMkLst>
        </pc:spChg>
        <pc:picChg chg="del">
          <ac:chgData name="WONGYONGLIN91" userId="S::wongyonglin91_gmail.com#ext#@risebcg.onmicrosoft.com::b2d94f93-e580-4f0d-9dda-2138509d25ae" providerId="AD" clId="Web-{0EAB42A7-036F-4A14-8FB0-25A7DE98B9AA}" dt="2022-01-10T08:55:47.761" v="2"/>
          <ac:picMkLst>
            <pc:docMk/>
            <pc:sldMk cId="2761597836" sldId="317"/>
            <ac:picMk id="4" creationId="{B052766A-13D1-4657-87F7-23139C8B3360}"/>
          </ac:picMkLst>
        </pc:picChg>
        <pc:picChg chg="add mod">
          <ac:chgData name="WONGYONGLIN91" userId="S::wongyonglin91_gmail.com#ext#@risebcg.onmicrosoft.com::b2d94f93-e580-4f0d-9dda-2138509d25ae" providerId="AD" clId="Web-{0EAB42A7-036F-4A14-8FB0-25A7DE98B9AA}" dt="2022-01-10T08:55:56.293" v="4" actId="14100"/>
          <ac:picMkLst>
            <pc:docMk/>
            <pc:sldMk cId="2761597836" sldId="317"/>
            <ac:picMk id="5" creationId="{EFAB945F-9334-4743-9C72-A318D57D242D}"/>
          </ac:picMkLst>
        </pc:picChg>
      </pc:sldChg>
      <pc:sldChg chg="del">
        <pc:chgData name="WONGYONGLIN91" userId="S::wongyonglin91_gmail.com#ext#@risebcg.onmicrosoft.com::b2d94f93-e580-4f0d-9dda-2138509d25ae" providerId="AD" clId="Web-{0EAB42A7-036F-4A14-8FB0-25A7DE98B9AA}" dt="2022-01-10T08:59:00" v="29"/>
        <pc:sldMkLst>
          <pc:docMk/>
          <pc:sldMk cId="1791060006" sldId="319"/>
        </pc:sldMkLst>
      </pc:sldChg>
      <pc:sldChg chg="ord">
        <pc:chgData name="WONGYONGLIN91" userId="S::wongyonglin91_gmail.com#ext#@risebcg.onmicrosoft.com::b2d94f93-e580-4f0d-9dda-2138509d25ae" providerId="AD" clId="Web-{0EAB42A7-036F-4A14-8FB0-25A7DE98B9AA}" dt="2022-01-10T09:26:16.629" v="31"/>
        <pc:sldMkLst>
          <pc:docMk/>
          <pc:sldMk cId="3971465157" sldId="345"/>
        </pc:sldMkLst>
      </pc:sldChg>
      <pc:sldChg chg="ord">
        <pc:chgData name="WONGYONGLIN91" userId="S::wongyonglin91_gmail.com#ext#@risebcg.onmicrosoft.com::b2d94f93-e580-4f0d-9dda-2138509d25ae" providerId="AD" clId="Web-{0EAB42A7-036F-4A14-8FB0-25A7DE98B9AA}" dt="2022-01-10T09:26:16.629" v="32"/>
        <pc:sldMkLst>
          <pc:docMk/>
          <pc:sldMk cId="2149037765" sldId="346"/>
        </pc:sldMkLst>
      </pc:sldChg>
      <pc:sldChg chg="modSp new">
        <pc:chgData name="WONGYONGLIN91" userId="S::wongyonglin91_gmail.com#ext#@risebcg.onmicrosoft.com::b2d94f93-e580-4f0d-9dda-2138509d25ae" providerId="AD" clId="Web-{0EAB42A7-036F-4A14-8FB0-25A7DE98B9AA}" dt="2022-01-10T09:34:48.125" v="143" actId="20577"/>
        <pc:sldMkLst>
          <pc:docMk/>
          <pc:sldMk cId="3758978858" sldId="379"/>
        </pc:sldMkLst>
        <pc:spChg chg="mod">
          <ac:chgData name="WONGYONGLIN91" userId="S::wongyonglin91_gmail.com#ext#@risebcg.onmicrosoft.com::b2d94f93-e580-4f0d-9dda-2138509d25ae" providerId="AD" clId="Web-{0EAB42A7-036F-4A14-8FB0-25A7DE98B9AA}" dt="2022-01-10T09:34:48.125" v="143" actId="20577"/>
          <ac:spMkLst>
            <pc:docMk/>
            <pc:sldMk cId="3758978858" sldId="379"/>
            <ac:spMk id="2" creationId="{C8764925-553F-46C0-AD49-7EDC41FA393B}"/>
          </ac:spMkLst>
        </pc:spChg>
      </pc:sldChg>
      <pc:sldChg chg="modSp add replId">
        <pc:chgData name="WONGYONGLIN91" userId="S::wongyonglin91_gmail.com#ext#@risebcg.onmicrosoft.com::b2d94f93-e580-4f0d-9dda-2138509d25ae" providerId="AD" clId="Web-{0EAB42A7-036F-4A14-8FB0-25A7DE98B9AA}" dt="2022-01-10T09:34:52.844" v="155" actId="20577"/>
        <pc:sldMkLst>
          <pc:docMk/>
          <pc:sldMk cId="1926172623" sldId="380"/>
        </pc:sldMkLst>
        <pc:spChg chg="mod">
          <ac:chgData name="WONGYONGLIN91" userId="S::wongyonglin91_gmail.com#ext#@risebcg.onmicrosoft.com::b2d94f93-e580-4f0d-9dda-2138509d25ae" providerId="AD" clId="Web-{0EAB42A7-036F-4A14-8FB0-25A7DE98B9AA}" dt="2022-01-10T09:34:52.844" v="155" actId="20577"/>
          <ac:spMkLst>
            <pc:docMk/>
            <pc:sldMk cId="1926172623" sldId="380"/>
            <ac:spMk id="2" creationId="{C8764925-553F-46C0-AD49-7EDC41FA393B}"/>
          </ac:spMkLst>
        </pc:spChg>
      </pc:sldChg>
    </pc:docChg>
  </pc:docChgLst>
  <pc:docChgLst>
    <pc:chgData name="WONGYONGLIN91" userId="S::wongyonglin91_gmail.com#ext#@risebcg.onmicrosoft.com::b2d94f93-e580-4f0d-9dda-2138509d25ae" providerId="AD" clId="Web-{8405161F-0664-4DBB-AC2D-FC21A0495B53}"/>
    <pc:docChg chg="modSld sldOrd">
      <pc:chgData name="WONGYONGLIN91" userId="S::wongyonglin91_gmail.com#ext#@risebcg.onmicrosoft.com::b2d94f93-e580-4f0d-9dda-2138509d25ae" providerId="AD" clId="Web-{8405161F-0664-4DBB-AC2D-FC21A0495B53}" dt="2022-01-11T13:52:12.406" v="227"/>
      <pc:docMkLst>
        <pc:docMk/>
      </pc:docMkLst>
      <pc:sldChg chg="ord">
        <pc:chgData name="WONGYONGLIN91" userId="S::wongyonglin91_gmail.com#ext#@risebcg.onmicrosoft.com::b2d94f93-e580-4f0d-9dda-2138509d25ae" providerId="AD" clId="Web-{8405161F-0664-4DBB-AC2D-FC21A0495B53}" dt="2022-01-11T13:52:12.406" v="227"/>
        <pc:sldMkLst>
          <pc:docMk/>
          <pc:sldMk cId="2023673819" sldId="276"/>
        </pc:sldMkLst>
      </pc:sldChg>
      <pc:sldChg chg="modSp">
        <pc:chgData name="WONGYONGLIN91" userId="S::wongyonglin91_gmail.com#ext#@risebcg.onmicrosoft.com::b2d94f93-e580-4f0d-9dda-2138509d25ae" providerId="AD" clId="Web-{8405161F-0664-4DBB-AC2D-FC21A0495B53}" dt="2022-01-11T13:48:12.400" v="226" actId="14100"/>
        <pc:sldMkLst>
          <pc:docMk/>
          <pc:sldMk cId="4084366951" sldId="318"/>
        </pc:sldMkLst>
        <pc:spChg chg="mod">
          <ac:chgData name="WONGYONGLIN91" userId="S::wongyonglin91_gmail.com#ext#@risebcg.onmicrosoft.com::b2d94f93-e580-4f0d-9dda-2138509d25ae" providerId="AD" clId="Web-{8405161F-0664-4DBB-AC2D-FC21A0495B53}" dt="2022-01-11T13:48:12.400" v="226" actId="14100"/>
          <ac:spMkLst>
            <pc:docMk/>
            <pc:sldMk cId="4084366951" sldId="318"/>
            <ac:spMk id="11" creationId="{A6F20F02-BD7A-4398-8CBB-C5E420FA8443}"/>
          </ac:spMkLst>
        </pc:spChg>
      </pc:sldChg>
      <pc:sldChg chg="addSp delSp modSp">
        <pc:chgData name="WONGYONGLIN91" userId="S::wongyonglin91_gmail.com#ext#@risebcg.onmicrosoft.com::b2d94f93-e580-4f0d-9dda-2138509d25ae" providerId="AD" clId="Web-{8405161F-0664-4DBB-AC2D-FC21A0495B53}" dt="2022-01-11T13:30:15.968" v="50" actId="20577"/>
        <pc:sldMkLst>
          <pc:docMk/>
          <pc:sldMk cId="2316358039" sldId="325"/>
        </pc:sldMkLst>
        <pc:spChg chg="add del">
          <ac:chgData name="WONGYONGLIN91" userId="S::wongyonglin91_gmail.com#ext#@risebcg.onmicrosoft.com::b2d94f93-e580-4f0d-9dda-2138509d25ae" providerId="AD" clId="Web-{8405161F-0664-4DBB-AC2D-FC21A0495B53}" dt="2022-01-11T13:26:22.526" v="49"/>
          <ac:spMkLst>
            <pc:docMk/>
            <pc:sldMk cId="2316358039" sldId="325"/>
            <ac:spMk id="3" creationId="{51FC6D4F-17D6-4014-9D16-0AE889D980DD}"/>
          </ac:spMkLst>
        </pc:spChg>
        <pc:spChg chg="add del">
          <ac:chgData name="WONGYONGLIN91" userId="S::wongyonglin91_gmail.com#ext#@risebcg.onmicrosoft.com::b2d94f93-e580-4f0d-9dda-2138509d25ae" providerId="AD" clId="Web-{8405161F-0664-4DBB-AC2D-FC21A0495B53}" dt="2022-01-11T13:26:18.447" v="48"/>
          <ac:spMkLst>
            <pc:docMk/>
            <pc:sldMk cId="2316358039" sldId="325"/>
            <ac:spMk id="4" creationId="{B1D897E9-ADF5-4C1C-8EC1-7DEDB68AEDAC}"/>
          </ac:spMkLst>
        </pc:spChg>
        <pc:spChg chg="add mod">
          <ac:chgData name="WONGYONGLIN91" userId="S::wongyonglin91_gmail.com#ext#@risebcg.onmicrosoft.com::b2d94f93-e580-4f0d-9dda-2138509d25ae" providerId="AD" clId="Web-{8405161F-0664-4DBB-AC2D-FC21A0495B53}" dt="2022-01-11T13:30:15.968" v="50" actId="20577"/>
          <ac:spMkLst>
            <pc:docMk/>
            <pc:sldMk cId="2316358039" sldId="325"/>
            <ac:spMk id="8" creationId="{AFEC3007-62B5-48C0-BCC6-E98808527E58}"/>
          </ac:spMkLst>
        </pc:spChg>
        <pc:picChg chg="mod">
          <ac:chgData name="WONGYONGLIN91" userId="S::wongyonglin91_gmail.com#ext#@risebcg.onmicrosoft.com::b2d94f93-e580-4f0d-9dda-2138509d25ae" providerId="AD" clId="Web-{8405161F-0664-4DBB-AC2D-FC21A0495B53}" dt="2022-01-11T13:24:09.726" v="1" actId="14100"/>
          <ac:picMkLst>
            <pc:docMk/>
            <pc:sldMk cId="2316358039" sldId="325"/>
            <ac:picMk id="2" creationId="{69CF128B-0B09-4BF1-B2CA-1BA877B1F78B}"/>
          </ac:picMkLst>
        </pc:picChg>
      </pc:sldChg>
      <pc:sldChg chg="modSp">
        <pc:chgData name="WONGYONGLIN91" userId="S::wongyonglin91_gmail.com#ext#@risebcg.onmicrosoft.com::b2d94f93-e580-4f0d-9dda-2138509d25ae" providerId="AD" clId="Web-{8405161F-0664-4DBB-AC2D-FC21A0495B53}" dt="2022-01-11T13:43:46.800" v="210" actId="20577"/>
        <pc:sldMkLst>
          <pc:docMk/>
          <pc:sldMk cId="416007632" sldId="327"/>
        </pc:sldMkLst>
        <pc:spChg chg="mod">
          <ac:chgData name="WONGYONGLIN91" userId="S::wongyonglin91_gmail.com#ext#@risebcg.onmicrosoft.com::b2d94f93-e580-4f0d-9dda-2138509d25ae" providerId="AD" clId="Web-{8405161F-0664-4DBB-AC2D-FC21A0495B53}" dt="2022-01-11T13:43:46.800" v="210" actId="20577"/>
          <ac:spMkLst>
            <pc:docMk/>
            <pc:sldMk cId="416007632" sldId="327"/>
            <ac:spMk id="32" creationId="{19924F50-9976-41A7-88C1-641F1509CEE0}"/>
          </ac:spMkLst>
        </pc:spChg>
        <pc:spChg chg="mod">
          <ac:chgData name="WONGYONGLIN91" userId="S::wongyonglin91_gmail.com#ext#@risebcg.onmicrosoft.com::b2d94f93-e580-4f0d-9dda-2138509d25ae" providerId="AD" clId="Web-{8405161F-0664-4DBB-AC2D-FC21A0495B53}" dt="2022-01-11T13:32:53.582" v="67" actId="14100"/>
          <ac:spMkLst>
            <pc:docMk/>
            <pc:sldMk cId="416007632" sldId="327"/>
            <ac:spMk id="33" creationId="{C9B7F08E-D629-47BA-B28C-40CF22219379}"/>
          </ac:spMkLst>
        </pc:spChg>
        <pc:spChg chg="mod">
          <ac:chgData name="WONGYONGLIN91" userId="S::wongyonglin91_gmail.com#ext#@risebcg.onmicrosoft.com::b2d94f93-e580-4f0d-9dda-2138509d25ae" providerId="AD" clId="Web-{8405161F-0664-4DBB-AC2D-FC21A0495B53}" dt="2022-01-11T13:35:44.007" v="181" actId="14100"/>
          <ac:spMkLst>
            <pc:docMk/>
            <pc:sldMk cId="416007632" sldId="327"/>
            <ac:spMk id="34" creationId="{06D19D76-F677-4AAA-AA6A-7CA4B9DAF436}"/>
          </ac:spMkLst>
        </pc:spChg>
        <pc:spChg chg="mod">
          <ac:chgData name="WONGYONGLIN91" userId="S::wongyonglin91_gmail.com#ext#@risebcg.onmicrosoft.com::b2d94f93-e580-4f0d-9dda-2138509d25ae" providerId="AD" clId="Web-{8405161F-0664-4DBB-AC2D-FC21A0495B53}" dt="2022-01-11T13:35:25.070" v="163" actId="14100"/>
          <ac:spMkLst>
            <pc:docMk/>
            <pc:sldMk cId="416007632" sldId="327"/>
            <ac:spMk id="35" creationId="{E20AAA99-395B-4009-AF86-AC6B211B7758}"/>
          </ac:spMkLst>
        </pc:spChg>
        <pc:spChg chg="mod">
          <ac:chgData name="WONGYONGLIN91" userId="S::wongyonglin91_gmail.com#ext#@risebcg.onmicrosoft.com::b2d94f93-e580-4f0d-9dda-2138509d25ae" providerId="AD" clId="Web-{8405161F-0664-4DBB-AC2D-FC21A0495B53}" dt="2022-01-11T13:35:14.288" v="140" actId="14100"/>
          <ac:spMkLst>
            <pc:docMk/>
            <pc:sldMk cId="416007632" sldId="327"/>
            <ac:spMk id="37" creationId="{1AA86EF9-D1F2-488E-902B-9C25FAEFDD52}"/>
          </ac:spMkLst>
        </pc:spChg>
      </pc:sldChg>
    </pc:docChg>
  </pc:docChgLst>
  <pc:docChgLst>
    <pc:chgData name="COSMOSFREN" userId="S::cosmosfren_yahoo.com#ext#@risebcg.onmicrosoft.com::5462f5f4-f618-47aa-abd8-fd504e002570" providerId="AD" clId="Web-{6DD72EF3-2C83-4B6C-A9CA-4BAB243B16FD}"/>
    <pc:docChg chg="delSld modSld">
      <pc:chgData name="COSMOSFREN" userId="S::cosmosfren_yahoo.com#ext#@risebcg.onmicrosoft.com::5462f5f4-f618-47aa-abd8-fd504e002570" providerId="AD" clId="Web-{6DD72EF3-2C83-4B6C-A9CA-4BAB243B16FD}" dt="2022-01-12T09:23:13.261" v="1797" actId="20577"/>
      <pc:docMkLst>
        <pc:docMk/>
      </pc:docMkLst>
      <pc:sldChg chg="modNotes">
        <pc:chgData name="COSMOSFREN" userId="S::cosmosfren_yahoo.com#ext#@risebcg.onmicrosoft.com::5462f5f4-f618-47aa-abd8-fd504e002570" providerId="AD" clId="Web-{6DD72EF3-2C83-4B6C-A9CA-4BAB243B16FD}" dt="2022-01-12T08:14:27.479" v="514"/>
        <pc:sldMkLst>
          <pc:docMk/>
          <pc:sldMk cId="2023673819" sldId="276"/>
        </pc:sldMkLst>
      </pc:sldChg>
      <pc:sldChg chg="modNotes">
        <pc:chgData name="COSMOSFREN" userId="S::cosmosfren_yahoo.com#ext#@risebcg.onmicrosoft.com::5462f5f4-f618-47aa-abd8-fd504e002570" providerId="AD" clId="Web-{6DD72EF3-2C83-4B6C-A9CA-4BAB243B16FD}" dt="2022-01-12T08:26:43.821" v="1093"/>
        <pc:sldMkLst>
          <pc:docMk/>
          <pc:sldMk cId="3666302761" sldId="324"/>
        </pc:sldMkLst>
      </pc:sldChg>
      <pc:sldChg chg="modNotes">
        <pc:chgData name="COSMOSFREN" userId="S::cosmosfren_yahoo.com#ext#@risebcg.onmicrosoft.com::5462f5f4-f618-47aa-abd8-fd504e002570" providerId="AD" clId="Web-{6DD72EF3-2C83-4B6C-A9CA-4BAB243B16FD}" dt="2022-01-12T08:35:53.535" v="1233"/>
        <pc:sldMkLst>
          <pc:docMk/>
          <pc:sldMk cId="2316358039" sldId="325"/>
        </pc:sldMkLst>
      </pc:sldChg>
      <pc:sldChg chg="addSp delSp modSp modNotes">
        <pc:chgData name="COSMOSFREN" userId="S::cosmosfren_yahoo.com#ext#@risebcg.onmicrosoft.com::5462f5f4-f618-47aa-abd8-fd504e002570" providerId="AD" clId="Web-{6DD72EF3-2C83-4B6C-A9CA-4BAB243B16FD}" dt="2022-01-12T09:15:40.550" v="1422" actId="20577"/>
        <pc:sldMkLst>
          <pc:docMk/>
          <pc:sldMk cId="416007632" sldId="327"/>
        </pc:sldMkLst>
        <pc:spChg chg="mod">
          <ac:chgData name="COSMOSFREN" userId="S::cosmosfren_yahoo.com#ext#@risebcg.onmicrosoft.com::5462f5f4-f618-47aa-abd8-fd504e002570" providerId="AD" clId="Web-{6DD72EF3-2C83-4B6C-A9CA-4BAB243B16FD}" dt="2022-01-12T08:29:21.262" v="1170" actId="20577"/>
          <ac:spMkLst>
            <pc:docMk/>
            <pc:sldMk cId="416007632" sldId="327"/>
            <ac:spMk id="2" creationId="{ED14AA63-35D8-4136-8B2F-DE1837A583A2}"/>
          </ac:spMkLst>
        </pc:spChg>
        <pc:spChg chg="mod">
          <ac:chgData name="COSMOSFREN" userId="S::cosmosfren_yahoo.com#ext#@risebcg.onmicrosoft.com::5462f5f4-f618-47aa-abd8-fd504e002570" providerId="AD" clId="Web-{6DD72EF3-2C83-4B6C-A9CA-4BAB243B16FD}" dt="2022-01-12T07:41:36.675" v="278" actId="20577"/>
          <ac:spMkLst>
            <pc:docMk/>
            <pc:sldMk cId="416007632" sldId="327"/>
            <ac:spMk id="8" creationId="{E577B412-68A3-4185-A772-40E2096ADDCA}"/>
          </ac:spMkLst>
        </pc:spChg>
        <pc:spChg chg="add del mod">
          <ac:chgData name="COSMOSFREN" userId="S::cosmosfren_yahoo.com#ext#@risebcg.onmicrosoft.com::5462f5f4-f618-47aa-abd8-fd504e002570" providerId="AD" clId="Web-{6DD72EF3-2C83-4B6C-A9CA-4BAB243B16FD}" dt="2022-01-12T07:36:26.607" v="137"/>
          <ac:spMkLst>
            <pc:docMk/>
            <pc:sldMk cId="416007632" sldId="327"/>
            <ac:spMk id="18" creationId="{B729609A-1831-4B36-AFDF-9ACB5472312A}"/>
          </ac:spMkLst>
        </pc:spChg>
        <pc:spChg chg="mod">
          <ac:chgData name="COSMOSFREN" userId="S::cosmosfren_yahoo.com#ext#@risebcg.onmicrosoft.com::5462f5f4-f618-47aa-abd8-fd504e002570" providerId="AD" clId="Web-{6DD72EF3-2C83-4B6C-A9CA-4BAB243B16FD}" dt="2022-01-12T07:10:37.327" v="100" actId="1076"/>
          <ac:spMkLst>
            <pc:docMk/>
            <pc:sldMk cId="416007632" sldId="327"/>
            <ac:spMk id="20" creationId="{1085C789-C333-47C0-9A39-FFAFB278B841}"/>
          </ac:spMkLst>
        </pc:spChg>
        <pc:spChg chg="del mod">
          <ac:chgData name="COSMOSFREN" userId="S::cosmosfren_yahoo.com#ext#@risebcg.onmicrosoft.com::5462f5f4-f618-47aa-abd8-fd504e002570" providerId="AD" clId="Web-{6DD72EF3-2C83-4B6C-A9CA-4BAB243B16FD}" dt="2022-01-12T07:36:23.653" v="136"/>
          <ac:spMkLst>
            <pc:docMk/>
            <pc:sldMk cId="416007632" sldId="327"/>
            <ac:spMk id="21" creationId="{346E0901-D4AC-43CB-8815-64588832102C}"/>
          </ac:spMkLst>
        </pc:spChg>
        <pc:spChg chg="mod">
          <ac:chgData name="COSMOSFREN" userId="S::cosmosfren_yahoo.com#ext#@risebcg.onmicrosoft.com::5462f5f4-f618-47aa-abd8-fd504e002570" providerId="AD" clId="Web-{6DD72EF3-2C83-4B6C-A9CA-4BAB243B16FD}" dt="2022-01-12T07:09:06.528" v="80" actId="1076"/>
          <ac:spMkLst>
            <pc:docMk/>
            <pc:sldMk cId="416007632" sldId="327"/>
            <ac:spMk id="22" creationId="{E617BC09-C752-43E7-ACBA-77B43873D3F7}"/>
          </ac:spMkLst>
        </pc:spChg>
        <pc:spChg chg="mod">
          <ac:chgData name="COSMOSFREN" userId="S::cosmosfren_yahoo.com#ext#@risebcg.onmicrosoft.com::5462f5f4-f618-47aa-abd8-fd504e002570" providerId="AD" clId="Web-{6DD72EF3-2C83-4B6C-A9CA-4BAB243B16FD}" dt="2022-01-12T07:08:58.528" v="77" actId="1076"/>
          <ac:spMkLst>
            <pc:docMk/>
            <pc:sldMk cId="416007632" sldId="327"/>
            <ac:spMk id="25" creationId="{F9FE7D81-29DC-498D-91D4-543B8A261CE1}"/>
          </ac:spMkLst>
        </pc:spChg>
        <pc:spChg chg="mod">
          <ac:chgData name="COSMOSFREN" userId="S::cosmosfren_yahoo.com#ext#@risebcg.onmicrosoft.com::5462f5f4-f618-47aa-abd8-fd504e002570" providerId="AD" clId="Web-{6DD72EF3-2C83-4B6C-A9CA-4BAB243B16FD}" dt="2022-01-12T07:08:53.434" v="75" actId="1076"/>
          <ac:spMkLst>
            <pc:docMk/>
            <pc:sldMk cId="416007632" sldId="327"/>
            <ac:spMk id="32" creationId="{19924F50-9976-41A7-88C1-641F1509CEE0}"/>
          </ac:spMkLst>
        </pc:spChg>
        <pc:spChg chg="mod">
          <ac:chgData name="COSMOSFREN" userId="S::cosmosfren_yahoo.com#ext#@risebcg.onmicrosoft.com::5462f5f4-f618-47aa-abd8-fd504e002570" providerId="AD" clId="Web-{6DD72EF3-2C83-4B6C-A9CA-4BAB243B16FD}" dt="2022-01-12T07:11:37.765" v="129" actId="20577"/>
          <ac:spMkLst>
            <pc:docMk/>
            <pc:sldMk cId="416007632" sldId="327"/>
            <ac:spMk id="33" creationId="{C9B7F08E-D629-47BA-B28C-40CF22219379}"/>
          </ac:spMkLst>
        </pc:spChg>
        <pc:spChg chg="mod">
          <ac:chgData name="COSMOSFREN" userId="S::cosmosfren_yahoo.com#ext#@risebcg.onmicrosoft.com::5462f5f4-f618-47aa-abd8-fd504e002570" providerId="AD" clId="Web-{6DD72EF3-2C83-4B6C-A9CA-4BAB243B16FD}" dt="2022-01-12T07:36:32.154" v="139" actId="1076"/>
          <ac:spMkLst>
            <pc:docMk/>
            <pc:sldMk cId="416007632" sldId="327"/>
            <ac:spMk id="34" creationId="{06D19D76-F677-4AAA-AA6A-7CA4B9DAF436}"/>
          </ac:spMkLst>
        </pc:spChg>
        <pc:spChg chg="mod">
          <ac:chgData name="COSMOSFREN" userId="S::cosmosfren_yahoo.com#ext#@risebcg.onmicrosoft.com::5462f5f4-f618-47aa-abd8-fd504e002570" providerId="AD" clId="Web-{6DD72EF3-2C83-4B6C-A9CA-4BAB243B16FD}" dt="2022-01-12T09:15:40.550" v="1422" actId="20577"/>
          <ac:spMkLst>
            <pc:docMk/>
            <pc:sldMk cId="416007632" sldId="327"/>
            <ac:spMk id="37" creationId="{1AA86EF9-D1F2-488E-902B-9C25FAEFDD52}"/>
          </ac:spMkLst>
        </pc:spChg>
        <pc:grpChg chg="mod">
          <ac:chgData name="COSMOSFREN" userId="S::cosmosfren_yahoo.com#ext#@risebcg.onmicrosoft.com::5462f5f4-f618-47aa-abd8-fd504e002570" providerId="AD" clId="Web-{6DD72EF3-2C83-4B6C-A9CA-4BAB243B16FD}" dt="2022-01-12T07:10:25.389" v="98" actId="14100"/>
          <ac:grpSpMkLst>
            <pc:docMk/>
            <pc:sldMk cId="416007632" sldId="327"/>
            <ac:grpSpMk id="3" creationId="{D8298F4A-5213-4A7E-8DC6-09D01E722D62}"/>
          </ac:grpSpMkLst>
        </pc:grpChg>
        <pc:picChg chg="mod">
          <ac:chgData name="COSMOSFREN" userId="S::cosmosfren_yahoo.com#ext#@risebcg.onmicrosoft.com::5462f5f4-f618-47aa-abd8-fd504e002570" providerId="AD" clId="Web-{6DD72EF3-2C83-4B6C-A9CA-4BAB243B16FD}" dt="2022-01-12T07:36:19.731" v="135" actId="1076"/>
          <ac:picMkLst>
            <pc:docMk/>
            <pc:sldMk cId="416007632" sldId="327"/>
            <ac:picMk id="7" creationId="{52098F02-F658-4E94-9501-A14F3E2D33CE}"/>
          </ac:picMkLst>
        </pc:picChg>
        <pc:picChg chg="mod">
          <ac:chgData name="COSMOSFREN" userId="S::cosmosfren_yahoo.com#ext#@risebcg.onmicrosoft.com::5462f5f4-f618-47aa-abd8-fd504e002570" providerId="AD" clId="Web-{6DD72EF3-2C83-4B6C-A9CA-4BAB243B16FD}" dt="2022-01-12T07:36:37.701" v="141" actId="1076"/>
          <ac:picMkLst>
            <pc:docMk/>
            <pc:sldMk cId="416007632" sldId="327"/>
            <ac:picMk id="9" creationId="{A7D42D63-B632-4192-9AF9-4120DFBDAFF3}"/>
          </ac:picMkLst>
        </pc:picChg>
        <pc:picChg chg="mod">
          <ac:chgData name="COSMOSFREN" userId="S::cosmosfren_yahoo.com#ext#@risebcg.onmicrosoft.com::5462f5f4-f618-47aa-abd8-fd504e002570" providerId="AD" clId="Web-{6DD72EF3-2C83-4B6C-A9CA-4BAB243B16FD}" dt="2022-01-12T07:36:41.138" v="142" actId="1076"/>
          <ac:picMkLst>
            <pc:docMk/>
            <pc:sldMk cId="416007632" sldId="327"/>
            <ac:picMk id="13" creationId="{9D9C893F-03E6-48D6-942D-542F03E4CD7B}"/>
          </ac:picMkLst>
        </pc:picChg>
        <pc:picChg chg="mod">
          <ac:chgData name="COSMOSFREN" userId="S::cosmosfren_yahoo.com#ext#@risebcg.onmicrosoft.com::5462f5f4-f618-47aa-abd8-fd504e002570" providerId="AD" clId="Web-{6DD72EF3-2C83-4B6C-A9CA-4BAB243B16FD}" dt="2022-01-12T07:09:15.497" v="83" actId="1076"/>
          <ac:picMkLst>
            <pc:docMk/>
            <pc:sldMk cId="416007632" sldId="327"/>
            <ac:picMk id="23" creationId="{AEC9587C-3F93-4045-ACEB-A1A4AFB0FC11}"/>
          </ac:picMkLst>
        </pc:picChg>
        <pc:picChg chg="mod">
          <ac:chgData name="COSMOSFREN" userId="S::cosmosfren_yahoo.com#ext#@risebcg.onmicrosoft.com::5462f5f4-f618-47aa-abd8-fd504e002570" providerId="AD" clId="Web-{6DD72EF3-2C83-4B6C-A9CA-4BAB243B16FD}" dt="2022-01-12T07:10:31.920" v="99" actId="1076"/>
          <ac:picMkLst>
            <pc:docMk/>
            <pc:sldMk cId="416007632" sldId="327"/>
            <ac:picMk id="29" creationId="{4F6899D5-3109-4938-82DA-041DEA46D7EF}"/>
          </ac:picMkLst>
        </pc:picChg>
      </pc:sldChg>
      <pc:sldChg chg="modSp">
        <pc:chgData name="COSMOSFREN" userId="S::cosmosfren_yahoo.com#ext#@risebcg.onmicrosoft.com::5462f5f4-f618-47aa-abd8-fd504e002570" providerId="AD" clId="Web-{6DD72EF3-2C83-4B6C-A9CA-4BAB243B16FD}" dt="2022-01-12T09:23:13.261" v="1797" actId="20577"/>
        <pc:sldMkLst>
          <pc:docMk/>
          <pc:sldMk cId="3391215681" sldId="339"/>
        </pc:sldMkLst>
        <pc:graphicFrameChg chg="modGraphic">
          <ac:chgData name="COSMOSFREN" userId="S::cosmosfren_yahoo.com#ext#@risebcg.onmicrosoft.com::5462f5f4-f618-47aa-abd8-fd504e002570" providerId="AD" clId="Web-{6DD72EF3-2C83-4B6C-A9CA-4BAB243B16FD}" dt="2022-01-12T09:23:13.261" v="1797" actId="20577"/>
          <ac:graphicFrameMkLst>
            <pc:docMk/>
            <pc:sldMk cId="3391215681" sldId="339"/>
            <ac:graphicFrameMk id="28" creationId="{9D58B7B4-DE29-4DDF-BB8A-729D2B705659}"/>
          </ac:graphicFrameMkLst>
        </pc:graphicFrameChg>
      </pc:sldChg>
      <pc:sldChg chg="modNotes">
        <pc:chgData name="COSMOSFREN" userId="S::cosmosfren_yahoo.com#ext#@risebcg.onmicrosoft.com::5462f5f4-f618-47aa-abd8-fd504e002570" providerId="AD" clId="Web-{6DD72EF3-2C83-4B6C-A9CA-4BAB243B16FD}" dt="2022-01-12T08:54:03.931" v="1417"/>
        <pc:sldMkLst>
          <pc:docMk/>
          <pc:sldMk cId="1894441827" sldId="358"/>
        </pc:sldMkLst>
      </pc:sldChg>
      <pc:sldChg chg="delSp modSp modNotes">
        <pc:chgData name="COSMOSFREN" userId="S::cosmosfren_yahoo.com#ext#@risebcg.onmicrosoft.com::5462f5f4-f618-47aa-abd8-fd504e002570" providerId="AD" clId="Web-{6DD72EF3-2C83-4B6C-A9CA-4BAB243B16FD}" dt="2022-01-12T08:54:49.385" v="1419"/>
        <pc:sldMkLst>
          <pc:docMk/>
          <pc:sldMk cId="59737257" sldId="391"/>
        </pc:sldMkLst>
        <pc:spChg chg="del mod">
          <ac:chgData name="COSMOSFREN" userId="S::cosmosfren_yahoo.com#ext#@risebcg.onmicrosoft.com::5462f5f4-f618-47aa-abd8-fd504e002570" providerId="AD" clId="Web-{6DD72EF3-2C83-4B6C-A9CA-4BAB243B16FD}" dt="2022-01-12T07:35:48.075" v="134"/>
          <ac:spMkLst>
            <pc:docMk/>
            <pc:sldMk cId="59737257" sldId="391"/>
            <ac:spMk id="2" creationId="{5D0182D1-30C4-437B-85CD-3079C8C4FB8A}"/>
          </ac:spMkLst>
        </pc:spChg>
        <pc:spChg chg="mod">
          <ac:chgData name="COSMOSFREN" userId="S::cosmosfren_yahoo.com#ext#@risebcg.onmicrosoft.com::5462f5f4-f618-47aa-abd8-fd504e002570" providerId="AD" clId="Web-{6DD72EF3-2C83-4B6C-A9CA-4BAB243B16FD}" dt="2022-01-12T08:42:53.355" v="1408" actId="20577"/>
          <ac:spMkLst>
            <pc:docMk/>
            <pc:sldMk cId="59737257" sldId="391"/>
            <ac:spMk id="160" creationId="{129EBF9C-3DCE-40EC-8CFB-1CB201B252BE}"/>
          </ac:spMkLst>
        </pc:spChg>
        <pc:spChg chg="mod">
          <ac:chgData name="COSMOSFREN" userId="S::cosmosfren_yahoo.com#ext#@risebcg.onmicrosoft.com::5462f5f4-f618-47aa-abd8-fd504e002570" providerId="AD" clId="Web-{6DD72EF3-2C83-4B6C-A9CA-4BAB243B16FD}" dt="2022-01-12T08:21:52.519" v="916" actId="20577"/>
          <ac:spMkLst>
            <pc:docMk/>
            <pc:sldMk cId="59737257" sldId="391"/>
            <ac:spMk id="211" creationId="{BE8EF75F-4A8F-4CC0-B3A0-4689491D690B}"/>
          </ac:spMkLst>
        </pc:spChg>
        <pc:spChg chg="del mod">
          <ac:chgData name="COSMOSFREN" userId="S::cosmosfren_yahoo.com#ext#@risebcg.onmicrosoft.com::5462f5f4-f618-47aa-abd8-fd504e002570" providerId="AD" clId="Web-{6DD72EF3-2C83-4B6C-A9CA-4BAB243B16FD}" dt="2022-01-12T08:21:44.550" v="914"/>
          <ac:spMkLst>
            <pc:docMk/>
            <pc:sldMk cId="59737257" sldId="391"/>
            <ac:spMk id="3097" creationId="{B43BCD4D-C119-4545-A18A-03EFECDDCAC1}"/>
          </ac:spMkLst>
        </pc:spChg>
      </pc:sldChg>
      <pc:sldChg chg="del">
        <pc:chgData name="COSMOSFREN" userId="S::cosmosfren_yahoo.com#ext#@risebcg.onmicrosoft.com::5462f5f4-f618-47aa-abd8-fd504e002570" providerId="AD" clId="Web-{6DD72EF3-2C83-4B6C-A9CA-4BAB243B16FD}" dt="2022-01-12T07:27:23.721" v="130"/>
        <pc:sldMkLst>
          <pc:docMk/>
          <pc:sldMk cId="3911172933" sldId="394"/>
        </pc:sldMkLst>
      </pc:sldChg>
    </pc:docChg>
  </pc:docChgLst>
  <pc:docChgLst>
    <pc:chgData name="COSMOSFREN" userId="S::cosmosfren_yahoo.com#ext#@risebcg.onmicrosoft.com::5462f5f4-f618-47aa-abd8-fd504e002570" providerId="AD" clId="Web-{2E7C0D6E-C6A5-4772-9216-92AEF06745C3}"/>
    <pc:docChg chg="addSld delSld modSld sldOrd">
      <pc:chgData name="COSMOSFREN" userId="S::cosmosfren_yahoo.com#ext#@risebcg.onmicrosoft.com::5462f5f4-f618-47aa-abd8-fd504e002570" providerId="AD" clId="Web-{2E7C0D6E-C6A5-4772-9216-92AEF06745C3}" dt="2022-01-10T09:16:40.907" v="2060"/>
      <pc:docMkLst>
        <pc:docMk/>
      </pc:docMkLst>
      <pc:sldChg chg="modNotes">
        <pc:chgData name="COSMOSFREN" userId="S::cosmosfren_yahoo.com#ext#@risebcg.onmicrosoft.com::5462f5f4-f618-47aa-abd8-fd504e002570" providerId="AD" clId="Web-{2E7C0D6E-C6A5-4772-9216-92AEF06745C3}" dt="2022-01-10T09:05:20.472" v="1068"/>
        <pc:sldMkLst>
          <pc:docMk/>
          <pc:sldMk cId="873372039" sldId="275"/>
        </pc:sldMkLst>
      </pc:sldChg>
      <pc:sldChg chg="modNotes">
        <pc:chgData name="COSMOSFREN" userId="S::cosmosfren_yahoo.com#ext#@risebcg.onmicrosoft.com::5462f5f4-f618-47aa-abd8-fd504e002570" providerId="AD" clId="Web-{2E7C0D6E-C6A5-4772-9216-92AEF06745C3}" dt="2022-01-10T09:05:48.003" v="1083"/>
        <pc:sldMkLst>
          <pc:docMk/>
          <pc:sldMk cId="2023673819" sldId="276"/>
        </pc:sldMkLst>
      </pc:sldChg>
      <pc:sldChg chg="ord">
        <pc:chgData name="COSMOSFREN" userId="S::cosmosfren_yahoo.com#ext#@risebcg.onmicrosoft.com::5462f5f4-f618-47aa-abd8-fd504e002570" providerId="AD" clId="Web-{2E7C0D6E-C6A5-4772-9216-92AEF06745C3}" dt="2022-01-10T08:49:42.656" v="186"/>
        <pc:sldMkLst>
          <pc:docMk/>
          <pc:sldMk cId="393760993" sldId="278"/>
        </pc:sldMkLst>
      </pc:sldChg>
      <pc:sldChg chg="del">
        <pc:chgData name="COSMOSFREN" userId="S::cosmosfren_yahoo.com#ext#@risebcg.onmicrosoft.com::5462f5f4-f618-47aa-abd8-fd504e002570" providerId="AD" clId="Web-{2E7C0D6E-C6A5-4772-9216-92AEF06745C3}" dt="2022-01-10T08:50:38.985" v="192"/>
        <pc:sldMkLst>
          <pc:docMk/>
          <pc:sldMk cId="2997843956" sldId="282"/>
        </pc:sldMkLst>
      </pc:sldChg>
      <pc:sldChg chg="del">
        <pc:chgData name="COSMOSFREN" userId="S::cosmosfren_yahoo.com#ext#@risebcg.onmicrosoft.com::5462f5f4-f618-47aa-abd8-fd504e002570" providerId="AD" clId="Web-{2E7C0D6E-C6A5-4772-9216-92AEF06745C3}" dt="2022-01-10T08:49:55.578" v="190"/>
        <pc:sldMkLst>
          <pc:docMk/>
          <pc:sldMk cId="1552488435" sldId="292"/>
        </pc:sldMkLst>
      </pc:sldChg>
      <pc:sldChg chg="modSp del modNotes">
        <pc:chgData name="COSMOSFREN" userId="S::cosmosfren_yahoo.com#ext#@risebcg.onmicrosoft.com::5462f5f4-f618-47aa-abd8-fd504e002570" providerId="AD" clId="Web-{2E7C0D6E-C6A5-4772-9216-92AEF06745C3}" dt="2022-01-10T08:18:53.681" v="51"/>
        <pc:sldMkLst>
          <pc:docMk/>
          <pc:sldMk cId="1960038968" sldId="302"/>
        </pc:sldMkLst>
        <pc:spChg chg="mod">
          <ac:chgData name="COSMOSFREN" userId="S::cosmosfren_yahoo.com#ext#@risebcg.onmicrosoft.com::5462f5f4-f618-47aa-abd8-fd504e002570" providerId="AD" clId="Web-{2E7C0D6E-C6A5-4772-9216-92AEF06745C3}" dt="2022-01-10T08:18:48.197" v="50" actId="20577"/>
          <ac:spMkLst>
            <pc:docMk/>
            <pc:sldMk cId="1960038968" sldId="302"/>
            <ac:spMk id="3" creationId="{24EA6045-D161-499A-99D8-27A9B2007106}"/>
          </ac:spMkLst>
        </pc:spChg>
      </pc:sldChg>
      <pc:sldChg chg="del">
        <pc:chgData name="COSMOSFREN" userId="S::cosmosfren_yahoo.com#ext#@risebcg.onmicrosoft.com::5462f5f4-f618-47aa-abd8-fd504e002570" providerId="AD" clId="Web-{2E7C0D6E-C6A5-4772-9216-92AEF06745C3}" dt="2022-01-10T08:49:53.062" v="189"/>
        <pc:sldMkLst>
          <pc:docMk/>
          <pc:sldMk cId="1351338838" sldId="307"/>
        </pc:sldMkLst>
      </pc:sldChg>
      <pc:sldChg chg="del">
        <pc:chgData name="COSMOSFREN" userId="S::cosmosfren_yahoo.com#ext#@risebcg.onmicrosoft.com::5462f5f4-f618-47aa-abd8-fd504e002570" providerId="AD" clId="Web-{2E7C0D6E-C6A5-4772-9216-92AEF06745C3}" dt="2022-01-10T08:49:50.344" v="188"/>
        <pc:sldMkLst>
          <pc:docMk/>
          <pc:sldMk cId="1986299068" sldId="308"/>
        </pc:sldMkLst>
      </pc:sldChg>
      <pc:sldChg chg="del">
        <pc:chgData name="COSMOSFREN" userId="S::cosmosfren_yahoo.com#ext#@risebcg.onmicrosoft.com::5462f5f4-f618-47aa-abd8-fd504e002570" providerId="AD" clId="Web-{2E7C0D6E-C6A5-4772-9216-92AEF06745C3}" dt="2022-01-10T08:49:47.437" v="187"/>
        <pc:sldMkLst>
          <pc:docMk/>
          <pc:sldMk cId="560075665" sldId="313"/>
        </pc:sldMkLst>
      </pc:sldChg>
      <pc:sldChg chg="modNotes">
        <pc:chgData name="COSMOSFREN" userId="S::cosmosfren_yahoo.com#ext#@risebcg.onmicrosoft.com::5462f5f4-f618-47aa-abd8-fd504e002570" providerId="AD" clId="Web-{2E7C0D6E-C6A5-4772-9216-92AEF06745C3}" dt="2022-01-10T08:53:55.755" v="340"/>
        <pc:sldMkLst>
          <pc:docMk/>
          <pc:sldMk cId="2067521295" sldId="323"/>
        </pc:sldMkLst>
      </pc:sldChg>
      <pc:sldChg chg="modNotes">
        <pc:chgData name="COSMOSFREN" userId="S::cosmosfren_yahoo.com#ext#@risebcg.onmicrosoft.com::5462f5f4-f618-47aa-abd8-fd504e002570" providerId="AD" clId="Web-{2E7C0D6E-C6A5-4772-9216-92AEF06745C3}" dt="2022-01-10T09:04:12.908" v="1067"/>
        <pc:sldMkLst>
          <pc:docMk/>
          <pc:sldMk cId="3666302761" sldId="324"/>
        </pc:sldMkLst>
      </pc:sldChg>
      <pc:sldChg chg="modNotes">
        <pc:chgData name="COSMOSFREN" userId="S::cosmosfren_yahoo.com#ext#@risebcg.onmicrosoft.com::5462f5f4-f618-47aa-abd8-fd504e002570" providerId="AD" clId="Web-{2E7C0D6E-C6A5-4772-9216-92AEF06745C3}" dt="2022-01-10T08:53:02.285" v="315"/>
        <pc:sldMkLst>
          <pc:docMk/>
          <pc:sldMk cId="416007632" sldId="327"/>
        </pc:sldMkLst>
      </pc:sldChg>
      <pc:sldChg chg="del">
        <pc:chgData name="COSMOSFREN" userId="S::cosmosfren_yahoo.com#ext#@risebcg.onmicrosoft.com::5462f5f4-f618-47aa-abd8-fd504e002570" providerId="AD" clId="Web-{2E7C0D6E-C6A5-4772-9216-92AEF06745C3}" dt="2022-01-10T08:50:43.751" v="193"/>
        <pc:sldMkLst>
          <pc:docMk/>
          <pc:sldMk cId="768738816" sldId="330"/>
        </pc:sldMkLst>
      </pc:sldChg>
      <pc:sldChg chg="del">
        <pc:chgData name="COSMOSFREN" userId="S::cosmosfren_yahoo.com#ext#@risebcg.onmicrosoft.com::5462f5f4-f618-47aa-abd8-fd504e002570" providerId="AD" clId="Web-{2E7C0D6E-C6A5-4772-9216-92AEF06745C3}" dt="2022-01-10T08:50:46.063" v="194"/>
        <pc:sldMkLst>
          <pc:docMk/>
          <pc:sldMk cId="4030892583" sldId="332"/>
        </pc:sldMkLst>
      </pc:sldChg>
      <pc:sldChg chg="del">
        <pc:chgData name="COSMOSFREN" userId="S::cosmosfren_yahoo.com#ext#@risebcg.onmicrosoft.com::5462f5f4-f618-47aa-abd8-fd504e002570" providerId="AD" clId="Web-{2E7C0D6E-C6A5-4772-9216-92AEF06745C3}" dt="2022-01-10T08:50:15.750" v="191"/>
        <pc:sldMkLst>
          <pc:docMk/>
          <pc:sldMk cId="861222469" sldId="348"/>
        </pc:sldMkLst>
      </pc:sldChg>
      <pc:sldChg chg="addSp delSp modSp new modNotes">
        <pc:chgData name="COSMOSFREN" userId="S::cosmosfren_yahoo.com#ext#@risebcg.onmicrosoft.com::5462f5f4-f618-47aa-abd8-fd504e002570" providerId="AD" clId="Web-{2E7C0D6E-C6A5-4772-9216-92AEF06745C3}" dt="2022-01-10T09:16:40.907" v="2060"/>
        <pc:sldMkLst>
          <pc:docMk/>
          <pc:sldMk cId="3944993204" sldId="370"/>
        </pc:sldMkLst>
        <pc:spChg chg="del">
          <ac:chgData name="COSMOSFREN" userId="S::cosmosfren_yahoo.com#ext#@risebcg.onmicrosoft.com::5462f5f4-f618-47aa-abd8-fd504e002570" providerId="AD" clId="Web-{2E7C0D6E-C6A5-4772-9216-92AEF06745C3}" dt="2022-01-10T08:19:27.463" v="60"/>
          <ac:spMkLst>
            <pc:docMk/>
            <pc:sldMk cId="3944993204" sldId="370"/>
            <ac:spMk id="2" creationId="{3EB10E6C-E223-49E7-BB8C-07474F65BA06}"/>
          </ac:spMkLst>
        </pc:spChg>
        <pc:spChg chg="del">
          <ac:chgData name="COSMOSFREN" userId="S::cosmosfren_yahoo.com#ext#@risebcg.onmicrosoft.com::5462f5f4-f618-47aa-abd8-fd504e002570" providerId="AD" clId="Web-{2E7C0D6E-C6A5-4772-9216-92AEF06745C3}" dt="2022-01-10T08:19:05.103" v="54"/>
          <ac:spMkLst>
            <pc:docMk/>
            <pc:sldMk cId="3944993204" sldId="370"/>
            <ac:spMk id="3" creationId="{8FEB5338-9088-42DE-8CE9-F83373E7BE0D}"/>
          </ac:spMkLst>
        </pc:spChg>
        <pc:spChg chg="add del mod">
          <ac:chgData name="COSMOSFREN" userId="S::cosmosfren_yahoo.com#ext#@risebcg.onmicrosoft.com::5462f5f4-f618-47aa-abd8-fd504e002570" providerId="AD" clId="Web-{2E7C0D6E-C6A5-4772-9216-92AEF06745C3}" dt="2022-01-10T08:19:53.089" v="67"/>
          <ac:spMkLst>
            <pc:docMk/>
            <pc:sldMk cId="3944993204" sldId="370"/>
            <ac:spMk id="4" creationId="{44495AD0-03BB-4CA6-A7B3-8DA49DA9249D}"/>
          </ac:spMkLst>
        </pc:spChg>
        <pc:picChg chg="add mod">
          <ac:chgData name="COSMOSFREN" userId="S::cosmosfren_yahoo.com#ext#@risebcg.onmicrosoft.com::5462f5f4-f618-47aa-abd8-fd504e002570" providerId="AD" clId="Web-{2E7C0D6E-C6A5-4772-9216-92AEF06745C3}" dt="2022-01-10T08:20:14.245" v="72" actId="14100"/>
          <ac:picMkLst>
            <pc:docMk/>
            <pc:sldMk cId="3944993204" sldId="370"/>
            <ac:picMk id="5" creationId="{7A0255F7-E360-4642-8E8C-390EA5102BF1}"/>
          </ac:picMkLst>
        </pc:picChg>
      </pc:sldChg>
      <pc:sldChg chg="delSp modSp">
        <pc:chgData name="COSMOSFREN" userId="S::cosmosfren_yahoo.com#ext#@risebcg.onmicrosoft.com::5462f5f4-f618-47aa-abd8-fd504e002570" providerId="AD" clId="Web-{2E7C0D6E-C6A5-4772-9216-92AEF06745C3}" dt="2022-01-10T08:53:26.551" v="318"/>
        <pc:sldMkLst>
          <pc:docMk/>
          <pc:sldMk cId="2447926016" sldId="371"/>
        </pc:sldMkLst>
        <pc:spChg chg="del mod">
          <ac:chgData name="COSMOSFREN" userId="S::cosmosfren_yahoo.com#ext#@risebcg.onmicrosoft.com::5462f5f4-f618-47aa-abd8-fd504e002570" providerId="AD" clId="Web-{2E7C0D6E-C6A5-4772-9216-92AEF06745C3}" dt="2022-01-10T08:53:26.551" v="318"/>
          <ac:spMkLst>
            <pc:docMk/>
            <pc:sldMk cId="2447926016" sldId="371"/>
            <ac:spMk id="14" creationId="{2C69D88B-2C3E-4585-9F55-DDB354CF5322}"/>
          </ac:spMkLst>
        </pc:spChg>
      </pc:sldChg>
    </pc:docChg>
  </pc:docChgLst>
  <pc:docChgLst>
    <pc:chgData name="COSMOSFREN" userId="S::cosmosfren_yahoo.com#ext#@risebcg.onmicrosoft.com::5462f5f4-f618-47aa-abd8-fd504e002570" providerId="AD" clId="Web-{4E6E0DEA-90C1-4A1E-9096-69DC99BE4D41}"/>
    <pc:docChg chg="delSld modSld">
      <pc:chgData name="COSMOSFREN" userId="S::cosmosfren_yahoo.com#ext#@risebcg.onmicrosoft.com::5462f5f4-f618-47aa-abd8-fd504e002570" providerId="AD" clId="Web-{4E6E0DEA-90C1-4A1E-9096-69DC99BE4D41}" dt="2022-01-10T14:40:44.024" v="1611"/>
      <pc:docMkLst>
        <pc:docMk/>
      </pc:docMkLst>
      <pc:sldChg chg="modNotes">
        <pc:chgData name="COSMOSFREN" userId="S::cosmosfren_yahoo.com#ext#@risebcg.onmicrosoft.com::5462f5f4-f618-47aa-abd8-fd504e002570" providerId="AD" clId="Web-{4E6E0DEA-90C1-4A1E-9096-69DC99BE4D41}" dt="2022-01-10T13:53:03.928" v="59"/>
        <pc:sldMkLst>
          <pc:docMk/>
          <pc:sldMk cId="3666302761" sldId="324"/>
        </pc:sldMkLst>
      </pc:sldChg>
      <pc:sldChg chg="modSp">
        <pc:chgData name="COSMOSFREN" userId="S::cosmosfren_yahoo.com#ext#@risebcg.onmicrosoft.com::5462f5f4-f618-47aa-abd8-fd504e002570" providerId="AD" clId="Web-{4E6E0DEA-90C1-4A1E-9096-69DC99BE4D41}" dt="2022-01-10T14:19:46.720" v="1083" actId="1076"/>
        <pc:sldMkLst>
          <pc:docMk/>
          <pc:sldMk cId="2160415509" sldId="326"/>
        </pc:sldMkLst>
        <pc:spChg chg="mod">
          <ac:chgData name="COSMOSFREN" userId="S::cosmosfren_yahoo.com#ext#@risebcg.onmicrosoft.com::5462f5f4-f618-47aa-abd8-fd504e002570" providerId="AD" clId="Web-{4E6E0DEA-90C1-4A1E-9096-69DC99BE4D41}" dt="2022-01-10T14:19:46.720" v="1083" actId="1076"/>
          <ac:spMkLst>
            <pc:docMk/>
            <pc:sldMk cId="2160415509" sldId="326"/>
            <ac:spMk id="2" creationId="{ED14AA63-35D8-4136-8B2F-DE1837A583A2}"/>
          </ac:spMkLst>
        </pc:spChg>
      </pc:sldChg>
      <pc:sldChg chg="modNotes">
        <pc:chgData name="COSMOSFREN" userId="S::cosmosfren_yahoo.com#ext#@risebcg.onmicrosoft.com::5462f5f4-f618-47aa-abd8-fd504e002570" providerId="AD" clId="Web-{4E6E0DEA-90C1-4A1E-9096-69DC99BE4D41}" dt="2022-01-10T13:56:27.767" v="133"/>
        <pc:sldMkLst>
          <pc:docMk/>
          <pc:sldMk cId="416007632" sldId="327"/>
        </pc:sldMkLst>
      </pc:sldChg>
      <pc:sldChg chg="del">
        <pc:chgData name="COSMOSFREN" userId="S::cosmosfren_yahoo.com#ext#@risebcg.onmicrosoft.com::5462f5f4-f618-47aa-abd8-fd504e002570" providerId="AD" clId="Web-{4E6E0DEA-90C1-4A1E-9096-69DC99BE4D41}" dt="2022-01-10T13:31:37.326" v="49"/>
        <pc:sldMkLst>
          <pc:docMk/>
          <pc:sldMk cId="2538826858" sldId="336"/>
        </pc:sldMkLst>
      </pc:sldChg>
      <pc:sldChg chg="modSp">
        <pc:chgData name="COSMOSFREN" userId="S::cosmosfren_yahoo.com#ext#@risebcg.onmicrosoft.com::5462f5f4-f618-47aa-abd8-fd504e002570" providerId="AD" clId="Web-{4E6E0DEA-90C1-4A1E-9096-69DC99BE4D41}" dt="2022-01-10T13:07:18.010" v="30" actId="14100"/>
        <pc:sldMkLst>
          <pc:docMk/>
          <pc:sldMk cId="855648020" sldId="337"/>
        </pc:sldMkLst>
        <pc:spChg chg="mod">
          <ac:chgData name="COSMOSFREN" userId="S::cosmosfren_yahoo.com#ext#@risebcg.onmicrosoft.com::5462f5f4-f618-47aa-abd8-fd504e002570" providerId="AD" clId="Web-{4E6E0DEA-90C1-4A1E-9096-69DC99BE4D41}" dt="2022-01-10T13:07:13.432" v="29" actId="1076"/>
          <ac:spMkLst>
            <pc:docMk/>
            <pc:sldMk cId="855648020" sldId="337"/>
            <ac:spMk id="10" creationId="{07073218-5F15-4EF5-A452-773E04940AE9}"/>
          </ac:spMkLst>
        </pc:spChg>
        <pc:picChg chg="mod">
          <ac:chgData name="COSMOSFREN" userId="S::cosmosfren_yahoo.com#ext#@risebcg.onmicrosoft.com::5462f5f4-f618-47aa-abd8-fd504e002570" providerId="AD" clId="Web-{4E6E0DEA-90C1-4A1E-9096-69DC99BE4D41}" dt="2022-01-10T13:07:18.010" v="30" actId="14100"/>
          <ac:picMkLst>
            <pc:docMk/>
            <pc:sldMk cId="855648020" sldId="337"/>
            <ac:picMk id="4" creationId="{D1E8906C-F7B4-4B64-A4F6-A75BD1D8E774}"/>
          </ac:picMkLst>
        </pc:picChg>
      </pc:sldChg>
      <pc:sldChg chg="del">
        <pc:chgData name="COSMOSFREN" userId="S::cosmosfren_yahoo.com#ext#@risebcg.onmicrosoft.com::5462f5f4-f618-47aa-abd8-fd504e002570" providerId="AD" clId="Web-{4E6E0DEA-90C1-4A1E-9096-69DC99BE4D41}" dt="2022-01-10T13:31:34.185" v="48"/>
        <pc:sldMkLst>
          <pc:docMk/>
          <pc:sldMk cId="1003929508" sldId="338"/>
        </pc:sldMkLst>
      </pc:sldChg>
      <pc:sldChg chg="modNotes">
        <pc:chgData name="COSMOSFREN" userId="S::cosmosfren_yahoo.com#ext#@risebcg.onmicrosoft.com::5462f5f4-f618-47aa-abd8-fd504e002570" providerId="AD" clId="Web-{4E6E0DEA-90C1-4A1E-9096-69DC99BE4D41}" dt="2022-01-10T14:34:08.189" v="1609"/>
        <pc:sldMkLst>
          <pc:docMk/>
          <pc:sldMk cId="3391215681" sldId="339"/>
        </pc:sldMkLst>
      </pc:sldChg>
      <pc:sldChg chg="delSp modSp">
        <pc:chgData name="COSMOSFREN" userId="S::cosmosfren_yahoo.com#ext#@risebcg.onmicrosoft.com::5462f5f4-f618-47aa-abd8-fd504e002570" providerId="AD" clId="Web-{4E6E0DEA-90C1-4A1E-9096-69DC99BE4D41}" dt="2022-01-10T13:06:16.319" v="24" actId="20577"/>
        <pc:sldMkLst>
          <pc:docMk/>
          <pc:sldMk cId="165658709" sldId="355"/>
        </pc:sldMkLst>
        <pc:spChg chg="mod">
          <ac:chgData name="COSMOSFREN" userId="S::cosmosfren_yahoo.com#ext#@risebcg.onmicrosoft.com::5462f5f4-f618-47aa-abd8-fd504e002570" providerId="AD" clId="Web-{4E6E0DEA-90C1-4A1E-9096-69DC99BE4D41}" dt="2022-01-10T13:05:52.302" v="3" actId="20577"/>
          <ac:spMkLst>
            <pc:docMk/>
            <pc:sldMk cId="165658709" sldId="355"/>
            <ac:spMk id="4" creationId="{19708EDC-3A90-4EC0-A789-51301070BDC6}"/>
          </ac:spMkLst>
        </pc:spChg>
        <pc:spChg chg="mod">
          <ac:chgData name="COSMOSFREN" userId="S::cosmosfren_yahoo.com#ext#@risebcg.onmicrosoft.com::5462f5f4-f618-47aa-abd8-fd504e002570" providerId="AD" clId="Web-{4E6E0DEA-90C1-4A1E-9096-69DC99BE4D41}" dt="2022-01-10T13:06:16.319" v="24" actId="20577"/>
          <ac:spMkLst>
            <pc:docMk/>
            <pc:sldMk cId="165658709" sldId="355"/>
            <ac:spMk id="7" creationId="{5040411B-0A54-429E-94AB-0F4DA7C1917E}"/>
          </ac:spMkLst>
        </pc:spChg>
        <pc:spChg chg="mod">
          <ac:chgData name="COSMOSFREN" userId="S::cosmosfren_yahoo.com#ext#@risebcg.onmicrosoft.com::5462f5f4-f618-47aa-abd8-fd504e002570" providerId="AD" clId="Web-{4E6E0DEA-90C1-4A1E-9096-69DC99BE4D41}" dt="2022-01-10T13:06:08.397" v="7" actId="1076"/>
          <ac:spMkLst>
            <pc:docMk/>
            <pc:sldMk cId="165658709" sldId="355"/>
            <ac:spMk id="12" creationId="{844D08C5-3EE5-4BAC-9392-6CA8001CAD4E}"/>
          </ac:spMkLst>
        </pc:spChg>
        <pc:spChg chg="del">
          <ac:chgData name="COSMOSFREN" userId="S::cosmosfren_yahoo.com#ext#@risebcg.onmicrosoft.com::5462f5f4-f618-47aa-abd8-fd504e002570" providerId="AD" clId="Web-{4E6E0DEA-90C1-4A1E-9096-69DC99BE4D41}" dt="2022-01-10T13:05:55.756" v="4"/>
          <ac:spMkLst>
            <pc:docMk/>
            <pc:sldMk cId="165658709" sldId="355"/>
            <ac:spMk id="25" creationId="{A72C66DB-3DFA-4DD0-BB16-94A4A31F5E94}"/>
          </ac:spMkLst>
        </pc:spChg>
        <pc:picChg chg="mod">
          <ac:chgData name="COSMOSFREN" userId="S::cosmosfren_yahoo.com#ext#@risebcg.onmicrosoft.com::5462f5f4-f618-47aa-abd8-fd504e002570" providerId="AD" clId="Web-{4E6E0DEA-90C1-4A1E-9096-69DC99BE4D41}" dt="2022-01-10T13:05:59.240" v="5" actId="1076"/>
          <ac:picMkLst>
            <pc:docMk/>
            <pc:sldMk cId="165658709" sldId="355"/>
            <ac:picMk id="2" creationId="{BD070F67-C046-4FA4-BC49-57AF06A15A77}"/>
          </ac:picMkLst>
        </pc:picChg>
        <pc:picChg chg="del">
          <ac:chgData name="COSMOSFREN" userId="S::cosmosfren_yahoo.com#ext#@risebcg.onmicrosoft.com::5462f5f4-f618-47aa-abd8-fd504e002570" providerId="AD" clId="Web-{4E6E0DEA-90C1-4A1E-9096-69DC99BE4D41}" dt="2022-01-10T13:05:42.083" v="1"/>
          <ac:picMkLst>
            <pc:docMk/>
            <pc:sldMk cId="165658709" sldId="355"/>
            <ac:picMk id="15" creationId="{5D59DB1C-172C-47ED-95FD-1E3F001466CE}"/>
          </ac:picMkLst>
        </pc:picChg>
      </pc:sldChg>
      <pc:sldChg chg="modNotes">
        <pc:chgData name="COSMOSFREN" userId="S::cosmosfren_yahoo.com#ext#@risebcg.onmicrosoft.com::5462f5f4-f618-47aa-abd8-fd504e002570" providerId="AD" clId="Web-{4E6E0DEA-90C1-4A1E-9096-69DC99BE4D41}" dt="2022-01-10T14:40:44.024" v="1611"/>
        <pc:sldMkLst>
          <pc:docMk/>
          <pc:sldMk cId="1894441827" sldId="358"/>
        </pc:sldMkLst>
      </pc:sldChg>
      <pc:sldChg chg="del">
        <pc:chgData name="COSMOSFREN" userId="S::cosmosfren_yahoo.com#ext#@risebcg.onmicrosoft.com::5462f5f4-f618-47aa-abd8-fd504e002570" providerId="AD" clId="Web-{4E6E0DEA-90C1-4A1E-9096-69DC99BE4D41}" dt="2022-01-10T13:31:43.388" v="50"/>
        <pc:sldMkLst>
          <pc:docMk/>
          <pc:sldMk cId="1365250593" sldId="359"/>
        </pc:sldMkLst>
      </pc:sldChg>
      <pc:sldChg chg="modNotes">
        <pc:chgData name="COSMOSFREN" userId="S::cosmosfren_yahoo.com#ext#@risebcg.onmicrosoft.com::5462f5f4-f618-47aa-abd8-fd504e002570" providerId="AD" clId="Web-{4E6E0DEA-90C1-4A1E-9096-69DC99BE4D41}" dt="2022-01-10T14:15:29.924" v="1003"/>
        <pc:sldMkLst>
          <pc:docMk/>
          <pc:sldMk cId="3531645893" sldId="360"/>
        </pc:sldMkLst>
      </pc:sldChg>
      <pc:sldChg chg="modSp">
        <pc:chgData name="COSMOSFREN" userId="S::cosmosfren_yahoo.com#ext#@risebcg.onmicrosoft.com::5462f5f4-f618-47aa-abd8-fd504e002570" providerId="AD" clId="Web-{4E6E0DEA-90C1-4A1E-9096-69DC99BE4D41}" dt="2022-01-10T13:06:36.899" v="26" actId="14100"/>
        <pc:sldMkLst>
          <pc:docMk/>
          <pc:sldMk cId="3295041884" sldId="369"/>
        </pc:sldMkLst>
        <pc:picChg chg="mod">
          <ac:chgData name="COSMOSFREN" userId="S::cosmosfren_yahoo.com#ext#@risebcg.onmicrosoft.com::5462f5f4-f618-47aa-abd8-fd504e002570" providerId="AD" clId="Web-{4E6E0DEA-90C1-4A1E-9096-69DC99BE4D41}" dt="2022-01-10T13:06:36.899" v="26" actId="14100"/>
          <ac:picMkLst>
            <pc:docMk/>
            <pc:sldMk cId="3295041884" sldId="369"/>
            <ac:picMk id="3" creationId="{5DEAADBB-8BEB-4916-8B81-E680A113BDAC}"/>
          </ac:picMkLst>
        </pc:picChg>
      </pc:sldChg>
      <pc:sldChg chg="del">
        <pc:chgData name="COSMOSFREN" userId="S::cosmosfren_yahoo.com#ext#@risebcg.onmicrosoft.com::5462f5f4-f618-47aa-abd8-fd504e002570" providerId="AD" clId="Web-{4E6E0DEA-90C1-4A1E-9096-69DC99BE4D41}" dt="2022-01-10T13:05:23.238" v="0"/>
        <pc:sldMkLst>
          <pc:docMk/>
          <pc:sldMk cId="3944993204" sldId="370"/>
        </pc:sldMkLst>
      </pc:sldChg>
      <pc:sldChg chg="modSp">
        <pc:chgData name="COSMOSFREN" userId="S::cosmosfren_yahoo.com#ext#@risebcg.onmicrosoft.com::5462f5f4-f618-47aa-abd8-fd504e002570" providerId="AD" clId="Web-{4E6E0DEA-90C1-4A1E-9096-69DC99BE4D41}" dt="2022-01-10T13:11:00.195" v="45" actId="14100"/>
        <pc:sldMkLst>
          <pc:docMk/>
          <pc:sldMk cId="3758978858" sldId="379"/>
        </pc:sldMkLst>
        <pc:spChg chg="mod">
          <ac:chgData name="COSMOSFREN" userId="S::cosmosfren_yahoo.com#ext#@risebcg.onmicrosoft.com::5462f5f4-f618-47aa-abd8-fd504e002570" providerId="AD" clId="Web-{4E6E0DEA-90C1-4A1E-9096-69DC99BE4D41}" dt="2022-01-10T13:10:44.678" v="41" actId="1076"/>
          <ac:spMkLst>
            <pc:docMk/>
            <pc:sldMk cId="3758978858" sldId="379"/>
            <ac:spMk id="2" creationId="{C8764925-553F-46C0-AD49-7EDC41FA393B}"/>
          </ac:spMkLst>
        </pc:spChg>
        <pc:spChg chg="mod">
          <ac:chgData name="COSMOSFREN" userId="S::cosmosfren_yahoo.com#ext#@risebcg.onmicrosoft.com::5462f5f4-f618-47aa-abd8-fd504e002570" providerId="AD" clId="Web-{4E6E0DEA-90C1-4A1E-9096-69DC99BE4D41}" dt="2022-01-10T13:11:00.195" v="45" actId="14100"/>
          <ac:spMkLst>
            <pc:docMk/>
            <pc:sldMk cId="3758978858" sldId="379"/>
            <ac:spMk id="3" creationId="{D93B70F6-8F9F-4D73-AE2A-A23E51FFBBC3}"/>
          </ac:spMkLst>
        </pc:spChg>
        <pc:picChg chg="mod">
          <ac:chgData name="COSMOSFREN" userId="S::cosmosfren_yahoo.com#ext#@risebcg.onmicrosoft.com::5462f5f4-f618-47aa-abd8-fd504e002570" providerId="AD" clId="Web-{4E6E0DEA-90C1-4A1E-9096-69DC99BE4D41}" dt="2022-01-10T13:10:48.475" v="42" actId="1076"/>
          <ac:picMkLst>
            <pc:docMk/>
            <pc:sldMk cId="3758978858" sldId="379"/>
            <ac:picMk id="4" creationId="{645E4C34-8A7C-455C-918F-46EBACD32826}"/>
          </ac:picMkLst>
        </pc:picChg>
        <pc:picChg chg="mod">
          <ac:chgData name="COSMOSFREN" userId="S::cosmosfren_yahoo.com#ext#@risebcg.onmicrosoft.com::5462f5f4-f618-47aa-abd8-fd504e002570" providerId="AD" clId="Web-{4E6E0DEA-90C1-4A1E-9096-69DC99BE4D41}" dt="2022-01-10T13:10:51.960" v="43" actId="1076"/>
          <ac:picMkLst>
            <pc:docMk/>
            <pc:sldMk cId="3758978858" sldId="379"/>
            <ac:picMk id="5" creationId="{4C0717A3-F270-40BA-91D9-A08D7039A05B}"/>
          </ac:picMkLst>
        </pc:picChg>
        <pc:picChg chg="mod">
          <ac:chgData name="COSMOSFREN" userId="S::cosmosfren_yahoo.com#ext#@risebcg.onmicrosoft.com::5462f5f4-f618-47aa-abd8-fd504e002570" providerId="AD" clId="Web-{4E6E0DEA-90C1-4A1E-9096-69DC99BE4D41}" dt="2022-01-10T13:10:56.772" v="44" actId="1076"/>
          <ac:picMkLst>
            <pc:docMk/>
            <pc:sldMk cId="3758978858" sldId="379"/>
            <ac:picMk id="6" creationId="{18A63D16-B496-4004-AB0A-2AAA668E85F4}"/>
          </ac:picMkLst>
        </pc:picChg>
      </pc:sldChg>
      <pc:sldChg chg="modSp modNotes">
        <pc:chgData name="COSMOSFREN" userId="S::cosmosfren_yahoo.com#ext#@risebcg.onmicrosoft.com::5462f5f4-f618-47aa-abd8-fd504e002570" providerId="AD" clId="Web-{4E6E0DEA-90C1-4A1E-9096-69DC99BE4D41}" dt="2022-01-10T14:06:01.659" v="635"/>
        <pc:sldMkLst>
          <pc:docMk/>
          <pc:sldMk cId="531825606" sldId="383"/>
        </pc:sldMkLst>
        <pc:spChg chg="mod">
          <ac:chgData name="COSMOSFREN" userId="S::cosmosfren_yahoo.com#ext#@risebcg.onmicrosoft.com::5462f5f4-f618-47aa-abd8-fd504e002570" providerId="AD" clId="Web-{4E6E0DEA-90C1-4A1E-9096-69DC99BE4D41}" dt="2022-01-10T14:05:12.046" v="596" actId="20577"/>
          <ac:spMkLst>
            <pc:docMk/>
            <pc:sldMk cId="531825606" sldId="383"/>
            <ac:spMk id="3" creationId="{9771EDC6-5C2F-4F03-A28A-6F11306CF575}"/>
          </ac:spMkLst>
        </pc:spChg>
      </pc:sldChg>
    </pc:docChg>
  </pc:docChgLst>
  <pc:docChgLst>
    <pc:chgData name="wei yuan" userId="S::pwy_92_hotmail.com#ext#@risebcg.onmicrosoft.com::ca38e7f8-9ace-4d94-b37a-86e65e91f2b0" providerId="AD" clId="Web-{29E29440-0DE4-4097-B1BF-169145A03F4F}"/>
    <pc:docChg chg="addSld delSld modSld">
      <pc:chgData name="wei yuan" userId="S::pwy_92_hotmail.com#ext#@risebcg.onmicrosoft.com::ca38e7f8-9ace-4d94-b37a-86e65e91f2b0" providerId="AD" clId="Web-{29E29440-0DE4-4097-B1BF-169145A03F4F}" dt="2022-01-09T08:56:03.225" v="356" actId="20577"/>
      <pc:docMkLst>
        <pc:docMk/>
      </pc:docMkLst>
      <pc:sldChg chg="modNotes">
        <pc:chgData name="wei yuan" userId="S::pwy_92_hotmail.com#ext#@risebcg.onmicrosoft.com::ca38e7f8-9ace-4d94-b37a-86e65e91f2b0" providerId="AD" clId="Web-{29E29440-0DE4-4097-B1BF-169145A03F4F}" dt="2022-01-09T08:50:25.609" v="346"/>
        <pc:sldMkLst>
          <pc:docMk/>
          <pc:sldMk cId="2316358039" sldId="325"/>
        </pc:sldMkLst>
      </pc:sldChg>
      <pc:sldChg chg="modNotes">
        <pc:chgData name="wei yuan" userId="S::pwy_92_hotmail.com#ext#@risebcg.onmicrosoft.com::ca38e7f8-9ace-4d94-b37a-86e65e91f2b0" providerId="AD" clId="Web-{29E29440-0DE4-4097-B1BF-169145A03F4F}" dt="2022-01-09T08:52:35.111" v="348"/>
        <pc:sldMkLst>
          <pc:docMk/>
          <pc:sldMk cId="2160415509" sldId="326"/>
        </pc:sldMkLst>
      </pc:sldChg>
      <pc:sldChg chg="addSp delSp modSp add del modNotes">
        <pc:chgData name="wei yuan" userId="S::pwy_92_hotmail.com#ext#@risebcg.onmicrosoft.com::ca38e7f8-9ace-4d94-b37a-86e65e91f2b0" providerId="AD" clId="Web-{29E29440-0DE4-4097-B1BF-169145A03F4F}" dt="2022-01-09T08:56:03.225" v="356" actId="20577"/>
        <pc:sldMkLst>
          <pc:docMk/>
          <pc:sldMk cId="1894441827" sldId="358"/>
        </pc:sldMkLst>
        <pc:spChg chg="add del mod">
          <ac:chgData name="wei yuan" userId="S::pwy_92_hotmail.com#ext#@risebcg.onmicrosoft.com::ca38e7f8-9ace-4d94-b37a-86e65e91f2b0" providerId="AD" clId="Web-{29E29440-0DE4-4097-B1BF-169145A03F4F}" dt="2022-01-09T08:17:59.860" v="250"/>
          <ac:spMkLst>
            <pc:docMk/>
            <pc:sldMk cId="1894441827" sldId="358"/>
            <ac:spMk id="7" creationId="{C875E6A0-EABB-449F-9ECB-6A3C65E04861}"/>
          </ac:spMkLst>
        </pc:spChg>
        <pc:spChg chg="add del mod">
          <ac:chgData name="wei yuan" userId="S::pwy_92_hotmail.com#ext#@risebcg.onmicrosoft.com::ca38e7f8-9ace-4d94-b37a-86e65e91f2b0" providerId="AD" clId="Web-{29E29440-0DE4-4097-B1BF-169145A03F4F}" dt="2022-01-09T08:45:44.853" v="273"/>
          <ac:spMkLst>
            <pc:docMk/>
            <pc:sldMk cId="1894441827" sldId="358"/>
            <ac:spMk id="9" creationId="{92EEB0AA-64C3-4E13-8BEA-F77E623D694C}"/>
          </ac:spMkLst>
        </pc:spChg>
        <pc:spChg chg="add mod">
          <ac:chgData name="wei yuan" userId="S::pwy_92_hotmail.com#ext#@risebcg.onmicrosoft.com::ca38e7f8-9ace-4d94-b37a-86e65e91f2b0" providerId="AD" clId="Web-{29E29440-0DE4-4097-B1BF-169145A03F4F}" dt="2022-01-09T08:56:03.225" v="356" actId="20577"/>
          <ac:spMkLst>
            <pc:docMk/>
            <pc:sldMk cId="1894441827" sldId="358"/>
            <ac:spMk id="13" creationId="{E2455A5F-294A-4EA7-8956-A3DA20378328}"/>
          </ac:spMkLst>
        </pc:spChg>
        <pc:spChg chg="add del mod">
          <ac:chgData name="wei yuan" userId="S::pwy_92_hotmail.com#ext#@risebcg.onmicrosoft.com::ca38e7f8-9ace-4d94-b37a-86e65e91f2b0" providerId="AD" clId="Web-{29E29440-0DE4-4097-B1BF-169145A03F4F}" dt="2022-01-09T08:45:06.290" v="262"/>
          <ac:spMkLst>
            <pc:docMk/>
            <pc:sldMk cId="1894441827" sldId="358"/>
            <ac:spMk id="15" creationId="{63ED1F91-0863-42D5-A8F2-EA890B5F54CF}"/>
          </ac:spMkLst>
        </pc:spChg>
      </pc:sldChg>
    </pc:docChg>
  </pc:docChgLst>
  <pc:docChgLst>
    <pc:chgData name="WESLEY.TBW" userId="S::wesley.tbw_gmail.com#ext#@risebcg.onmicrosoft.com::1034df62-ee6d-4b2f-8a56-03c4406a0a8a" providerId="AD" clId="Web-{00ABE0A6-2F84-4FF2-BCA4-CB1ED55588C9}"/>
    <pc:docChg chg="modSld">
      <pc:chgData name="WESLEY.TBW" userId="S::wesley.tbw_gmail.com#ext#@risebcg.onmicrosoft.com::1034df62-ee6d-4b2f-8a56-03c4406a0a8a" providerId="AD" clId="Web-{00ABE0A6-2F84-4FF2-BCA4-CB1ED55588C9}" dt="2022-01-12T10:02:00.807" v="7"/>
      <pc:docMkLst>
        <pc:docMk/>
      </pc:docMkLst>
      <pc:sldChg chg="modNotes">
        <pc:chgData name="WESLEY.TBW" userId="S::wesley.tbw_gmail.com#ext#@risebcg.onmicrosoft.com::1034df62-ee6d-4b2f-8a56-03c4406a0a8a" providerId="AD" clId="Web-{00ABE0A6-2F84-4FF2-BCA4-CB1ED55588C9}" dt="2022-01-12T09:59:38.570" v="1"/>
        <pc:sldMkLst>
          <pc:docMk/>
          <pc:sldMk cId="2256265757" sldId="315"/>
        </pc:sldMkLst>
      </pc:sldChg>
      <pc:sldChg chg="modNotes">
        <pc:chgData name="WESLEY.TBW" userId="S::wesley.tbw_gmail.com#ext#@risebcg.onmicrosoft.com::1034df62-ee6d-4b2f-8a56-03c4406a0a8a" providerId="AD" clId="Web-{00ABE0A6-2F84-4FF2-BCA4-CB1ED55588C9}" dt="2022-01-12T10:00:00.758" v="3"/>
        <pc:sldMkLst>
          <pc:docMk/>
          <pc:sldMk cId="4084366951" sldId="318"/>
        </pc:sldMkLst>
      </pc:sldChg>
      <pc:sldChg chg="modNotes">
        <pc:chgData name="WESLEY.TBW" userId="S::wesley.tbw_gmail.com#ext#@risebcg.onmicrosoft.com::1034df62-ee6d-4b2f-8a56-03c4406a0a8a" providerId="AD" clId="Web-{00ABE0A6-2F84-4FF2-BCA4-CB1ED55588C9}" dt="2022-01-12T10:01:41.620" v="6"/>
        <pc:sldMkLst>
          <pc:docMk/>
          <pc:sldMk cId="1249418479" sldId="334"/>
        </pc:sldMkLst>
      </pc:sldChg>
      <pc:sldChg chg="modNotes">
        <pc:chgData name="WESLEY.TBW" userId="S::wesley.tbw_gmail.com#ext#@risebcg.onmicrosoft.com::1034df62-ee6d-4b2f-8a56-03c4406a0a8a" providerId="AD" clId="Web-{00ABE0A6-2F84-4FF2-BCA4-CB1ED55588C9}" dt="2022-01-12T10:02:00.807" v="7"/>
        <pc:sldMkLst>
          <pc:docMk/>
          <pc:sldMk cId="4159389698" sldId="342"/>
        </pc:sldMkLst>
      </pc:sldChg>
    </pc:docChg>
  </pc:docChgLst>
  <pc:docChgLst>
    <pc:chgData name="wei yuan" userId="S::pwy_92_hotmail.com#ext#@risebcg.onmicrosoft.com::ca38e7f8-9ace-4d94-b37a-86e65e91f2b0" providerId="AD" clId="Web-{0F3143D1-733D-4693-A1B4-4AC0E952203C}"/>
    <pc:docChg chg="modSld">
      <pc:chgData name="wei yuan" userId="S::pwy_92_hotmail.com#ext#@risebcg.onmicrosoft.com::ca38e7f8-9ace-4d94-b37a-86e65e91f2b0" providerId="AD" clId="Web-{0F3143D1-733D-4693-A1B4-4AC0E952203C}" dt="2022-01-07T13:10:42.577" v="1096" actId="20577"/>
      <pc:docMkLst>
        <pc:docMk/>
      </pc:docMkLst>
      <pc:sldChg chg="modSp">
        <pc:chgData name="wei yuan" userId="S::pwy_92_hotmail.com#ext#@risebcg.onmicrosoft.com::ca38e7f8-9ace-4d94-b37a-86e65e91f2b0" providerId="AD" clId="Web-{0F3143D1-733D-4693-A1B4-4AC0E952203C}" dt="2022-01-07T13:10:42.577" v="1096" actId="20577"/>
        <pc:sldMkLst>
          <pc:docMk/>
          <pc:sldMk cId="2316358039" sldId="325"/>
        </pc:sldMkLst>
        <pc:spChg chg="mod">
          <ac:chgData name="wei yuan" userId="S::pwy_92_hotmail.com#ext#@risebcg.onmicrosoft.com::ca38e7f8-9ace-4d94-b37a-86e65e91f2b0" providerId="AD" clId="Web-{0F3143D1-733D-4693-A1B4-4AC0E952203C}" dt="2022-01-07T13:10:42.577" v="1096" actId="20577"/>
          <ac:spMkLst>
            <pc:docMk/>
            <pc:sldMk cId="2316358039" sldId="325"/>
            <ac:spMk id="14" creationId="{3C1C8EDA-91F1-403C-A371-164289F5FB16}"/>
          </ac:spMkLst>
        </pc:spChg>
      </pc:sldChg>
    </pc:docChg>
  </pc:docChgLst>
  <pc:docChgLst>
    <pc:chgData name="WONGYONGLIN91" userId="S::wongyonglin91_gmail.com#ext#@risebcg.onmicrosoft.com::b2d94f93-e580-4f0d-9dda-2138509d25ae" providerId="AD" clId="Web-{AADDA445-BDD6-42F9-85C9-88CD3230B937}"/>
    <pc:docChg chg="addSld delSld modSld">
      <pc:chgData name="WONGYONGLIN91" userId="S::wongyonglin91_gmail.com#ext#@risebcg.onmicrosoft.com::b2d94f93-e580-4f0d-9dda-2138509d25ae" providerId="AD" clId="Web-{AADDA445-BDD6-42F9-85C9-88CD3230B937}" dt="2022-01-09T11:24:00.148" v="152"/>
      <pc:docMkLst>
        <pc:docMk/>
      </pc:docMkLst>
      <pc:sldChg chg="modSp">
        <pc:chgData name="WONGYONGLIN91" userId="S::wongyonglin91_gmail.com#ext#@risebcg.onmicrosoft.com::b2d94f93-e580-4f0d-9dda-2138509d25ae" providerId="AD" clId="Web-{AADDA445-BDD6-42F9-85C9-88CD3230B937}" dt="2022-01-09T09:08:41.528" v="25" actId="20577"/>
        <pc:sldMkLst>
          <pc:docMk/>
          <pc:sldMk cId="2761597836" sldId="317"/>
        </pc:sldMkLst>
        <pc:spChg chg="mod">
          <ac:chgData name="WONGYONGLIN91" userId="S::wongyonglin91_gmail.com#ext#@risebcg.onmicrosoft.com::b2d94f93-e580-4f0d-9dda-2138509d25ae" providerId="AD" clId="Web-{AADDA445-BDD6-42F9-85C9-88CD3230B937}" dt="2022-01-09T09:08:41.528" v="25" actId="20577"/>
          <ac:spMkLst>
            <pc:docMk/>
            <pc:sldMk cId="2761597836" sldId="317"/>
            <ac:spMk id="3" creationId="{3AAD55FA-63B7-4DBA-8DC0-293DEF7C309C}"/>
          </ac:spMkLst>
        </pc:spChg>
      </pc:sldChg>
      <pc:sldChg chg="addSp delSp modSp">
        <pc:chgData name="WONGYONGLIN91" userId="S::wongyonglin91_gmail.com#ext#@risebcg.onmicrosoft.com::b2d94f93-e580-4f0d-9dda-2138509d25ae" providerId="AD" clId="Web-{AADDA445-BDD6-42F9-85C9-88CD3230B937}" dt="2022-01-09T09:05:35.321" v="23" actId="14100"/>
        <pc:sldMkLst>
          <pc:docMk/>
          <pc:sldMk cId="3971465157" sldId="345"/>
        </pc:sldMkLst>
        <pc:spChg chg="mod">
          <ac:chgData name="WONGYONGLIN91" userId="S::wongyonglin91_gmail.com#ext#@risebcg.onmicrosoft.com::b2d94f93-e580-4f0d-9dda-2138509d25ae" providerId="AD" clId="Web-{AADDA445-BDD6-42F9-85C9-88CD3230B937}" dt="2022-01-09T08:47:21.248" v="7" actId="20577"/>
          <ac:spMkLst>
            <pc:docMk/>
            <pc:sldMk cId="3971465157" sldId="345"/>
            <ac:spMk id="2" creationId="{ED14AA63-35D8-4136-8B2F-DE1837A583A2}"/>
          </ac:spMkLst>
        </pc:spChg>
        <pc:picChg chg="del">
          <ac:chgData name="WONGYONGLIN91" userId="S::wongyonglin91_gmail.com#ext#@risebcg.onmicrosoft.com::b2d94f93-e580-4f0d-9dda-2138509d25ae" providerId="AD" clId="Web-{AADDA445-BDD6-42F9-85C9-88CD3230B937}" dt="2022-01-09T09:05:19.555" v="18"/>
          <ac:picMkLst>
            <pc:docMk/>
            <pc:sldMk cId="3971465157" sldId="345"/>
            <ac:picMk id="6" creationId="{0543AB5E-0C46-4F5B-92B9-8460B4265166}"/>
          </ac:picMkLst>
        </pc:picChg>
        <pc:picChg chg="del">
          <ac:chgData name="WONGYONGLIN91" userId="S::wongyonglin91_gmail.com#ext#@risebcg.onmicrosoft.com::b2d94f93-e580-4f0d-9dda-2138509d25ae" providerId="AD" clId="Web-{AADDA445-BDD6-42F9-85C9-88CD3230B937}" dt="2022-01-09T08:51:46.504" v="8"/>
          <ac:picMkLst>
            <pc:docMk/>
            <pc:sldMk cId="3971465157" sldId="345"/>
            <ac:picMk id="7" creationId="{F2806C6D-F724-4DED-AEF0-61ECCAB05DB6}"/>
          </ac:picMkLst>
        </pc:picChg>
        <pc:picChg chg="mod">
          <ac:chgData name="WONGYONGLIN91" userId="S::wongyonglin91_gmail.com#ext#@risebcg.onmicrosoft.com::b2d94f93-e580-4f0d-9dda-2138509d25ae" providerId="AD" clId="Web-{AADDA445-BDD6-42F9-85C9-88CD3230B937}" dt="2022-01-09T08:52:33.568" v="14" actId="14100"/>
          <ac:picMkLst>
            <pc:docMk/>
            <pc:sldMk cId="3971465157" sldId="345"/>
            <ac:picMk id="8" creationId="{1C37FA25-553F-4164-8C97-7E76EEDF8003}"/>
          </ac:picMkLst>
        </pc:picChg>
        <pc:picChg chg="add mod">
          <ac:chgData name="WONGYONGLIN91" userId="S::wongyonglin91_gmail.com#ext#@risebcg.onmicrosoft.com::b2d94f93-e580-4f0d-9dda-2138509d25ae" providerId="AD" clId="Web-{AADDA445-BDD6-42F9-85C9-88CD3230B937}" dt="2022-01-09T09:05:35.321" v="23" actId="14100"/>
          <ac:picMkLst>
            <pc:docMk/>
            <pc:sldMk cId="3971465157" sldId="345"/>
            <ac:picMk id="10" creationId="{BC57136E-9901-4CDB-9B10-C29044E8BCA8}"/>
          </ac:picMkLst>
        </pc:picChg>
        <pc:picChg chg="add mod">
          <ac:chgData name="WONGYONGLIN91" userId="S::wongyonglin91_gmail.com#ext#@risebcg.onmicrosoft.com::b2d94f93-e580-4f0d-9dda-2138509d25ae" providerId="AD" clId="Web-{AADDA445-BDD6-42F9-85C9-88CD3230B937}" dt="2022-01-09T09:05:28.649" v="21" actId="14100"/>
          <ac:picMkLst>
            <pc:docMk/>
            <pc:sldMk cId="3971465157" sldId="345"/>
            <ac:picMk id="11" creationId="{31819B31-85B9-4D2E-B13C-BE009B402BB3}"/>
          </ac:picMkLst>
        </pc:picChg>
      </pc:sldChg>
      <pc:sldChg chg="addSp delSp modSp">
        <pc:chgData name="WONGYONGLIN91" userId="S::wongyonglin91_gmail.com#ext#@risebcg.onmicrosoft.com::b2d94f93-e580-4f0d-9dda-2138509d25ae" providerId="AD" clId="Web-{AADDA445-BDD6-42F9-85C9-88CD3230B937}" dt="2022-01-09T10:57:37.268" v="151" actId="1076"/>
        <pc:sldMkLst>
          <pc:docMk/>
          <pc:sldMk cId="1894441827" sldId="358"/>
        </pc:sldMkLst>
        <pc:spChg chg="mod">
          <ac:chgData name="WONGYONGLIN91" userId="S::wongyonglin91_gmail.com#ext#@risebcg.onmicrosoft.com::b2d94f93-e580-4f0d-9dda-2138509d25ae" providerId="AD" clId="Web-{AADDA445-BDD6-42F9-85C9-88CD3230B937}" dt="2022-01-09T10:30:25.940" v="70" actId="1076"/>
          <ac:spMkLst>
            <pc:docMk/>
            <pc:sldMk cId="1894441827" sldId="358"/>
            <ac:spMk id="3" creationId="{2321500F-B116-49E9-B713-1C89E59A92D6}"/>
          </ac:spMkLst>
        </pc:spChg>
        <pc:spChg chg="mod">
          <ac:chgData name="WONGYONGLIN91" userId="S::wongyonglin91_gmail.com#ext#@risebcg.onmicrosoft.com::b2d94f93-e580-4f0d-9dda-2138509d25ae" providerId="AD" clId="Web-{AADDA445-BDD6-42F9-85C9-88CD3230B937}" dt="2022-01-09T10:25:53.607" v="57" actId="1076"/>
          <ac:spMkLst>
            <pc:docMk/>
            <pc:sldMk cId="1894441827" sldId="358"/>
            <ac:spMk id="13" creationId="{E2455A5F-294A-4EA7-8956-A3DA20378328}"/>
          </ac:spMkLst>
        </pc:spChg>
        <pc:spChg chg="mod">
          <ac:chgData name="WONGYONGLIN91" userId="S::wongyonglin91_gmail.com#ext#@risebcg.onmicrosoft.com::b2d94f93-e580-4f0d-9dda-2138509d25ae" providerId="AD" clId="Web-{AADDA445-BDD6-42F9-85C9-88CD3230B937}" dt="2022-01-09T08:59:26.171" v="16" actId="14100"/>
          <ac:spMkLst>
            <pc:docMk/>
            <pc:sldMk cId="1894441827" sldId="358"/>
            <ac:spMk id="16" creationId="{6F7C634F-B1DE-4A85-9321-B939E0949224}"/>
          </ac:spMkLst>
        </pc:spChg>
        <pc:picChg chg="del">
          <ac:chgData name="WONGYONGLIN91" userId="S::wongyonglin91_gmail.com#ext#@risebcg.onmicrosoft.com::b2d94f93-e580-4f0d-9dda-2138509d25ae" providerId="AD" clId="Web-{AADDA445-BDD6-42F9-85C9-88CD3230B937}" dt="2022-01-09T10:23:11.948" v="37"/>
          <ac:picMkLst>
            <pc:docMk/>
            <pc:sldMk cId="1894441827" sldId="358"/>
            <ac:picMk id="4" creationId="{BA22EAA2-4B47-4688-9DD6-1B3E79191AAF}"/>
          </ac:picMkLst>
        </pc:picChg>
        <pc:picChg chg="add del mod">
          <ac:chgData name="WONGYONGLIN91" userId="S::wongyonglin91_gmail.com#ext#@risebcg.onmicrosoft.com::b2d94f93-e580-4f0d-9dda-2138509d25ae" providerId="AD" clId="Web-{AADDA445-BDD6-42F9-85C9-88CD3230B937}" dt="2022-01-09T10:22:30.010" v="31"/>
          <ac:picMkLst>
            <pc:docMk/>
            <pc:sldMk cId="1894441827" sldId="358"/>
            <ac:picMk id="5" creationId="{C9FC6C8D-9193-48E1-8D0D-039C37E52BE0}"/>
          </ac:picMkLst>
        </pc:picChg>
        <pc:picChg chg="add del mod">
          <ac:chgData name="WONGYONGLIN91" userId="S::wongyonglin91_gmail.com#ext#@risebcg.onmicrosoft.com::b2d94f93-e580-4f0d-9dda-2138509d25ae" providerId="AD" clId="Web-{AADDA445-BDD6-42F9-85C9-88CD3230B937}" dt="2022-01-09T10:32:57.255" v="90"/>
          <ac:picMkLst>
            <pc:docMk/>
            <pc:sldMk cId="1894441827" sldId="358"/>
            <ac:picMk id="6" creationId="{36E933AE-617C-4DEB-B4AD-4702ECE92209}"/>
          </ac:picMkLst>
        </pc:picChg>
        <pc:picChg chg="add mod">
          <ac:chgData name="WONGYONGLIN91" userId="S::wongyonglin91_gmail.com#ext#@risebcg.onmicrosoft.com::b2d94f93-e580-4f0d-9dda-2138509d25ae" providerId="AD" clId="Web-{AADDA445-BDD6-42F9-85C9-88CD3230B937}" dt="2022-01-09T10:57:37.268" v="151" actId="1076"/>
          <ac:picMkLst>
            <pc:docMk/>
            <pc:sldMk cId="1894441827" sldId="358"/>
            <ac:picMk id="7" creationId="{39EBC9D3-EE2E-4A60-B21B-2E3F051B1C2C}"/>
          </ac:picMkLst>
        </pc:picChg>
        <pc:picChg chg="add del mod">
          <ac:chgData name="WONGYONGLIN91" userId="S::wongyonglin91_gmail.com#ext#@risebcg.onmicrosoft.com::b2d94f93-e580-4f0d-9dda-2138509d25ae" providerId="AD" clId="Web-{AADDA445-BDD6-42F9-85C9-88CD3230B937}" dt="2022-01-09T10:32:58.192" v="91"/>
          <ac:picMkLst>
            <pc:docMk/>
            <pc:sldMk cId="1894441827" sldId="358"/>
            <ac:picMk id="8" creationId="{80090A9D-A882-4EB8-927C-696FEDD289AC}"/>
          </ac:picMkLst>
        </pc:picChg>
        <pc:picChg chg="add del mod">
          <ac:chgData name="WONGYONGLIN91" userId="S::wongyonglin91_gmail.com#ext#@risebcg.onmicrosoft.com::b2d94f93-e580-4f0d-9dda-2138509d25ae" providerId="AD" clId="Web-{AADDA445-BDD6-42F9-85C9-88CD3230B937}" dt="2022-01-09T10:25:26.435" v="50"/>
          <ac:picMkLst>
            <pc:docMk/>
            <pc:sldMk cId="1894441827" sldId="358"/>
            <ac:picMk id="9" creationId="{27B7F3D9-829F-4CE3-BF59-36D06B23DB76}"/>
          </ac:picMkLst>
        </pc:picChg>
        <pc:picChg chg="del">
          <ac:chgData name="WONGYONGLIN91" userId="S::wongyonglin91_gmail.com#ext#@risebcg.onmicrosoft.com::b2d94f93-e580-4f0d-9dda-2138509d25ae" providerId="AD" clId="Web-{AADDA445-BDD6-42F9-85C9-88CD3230B937}" dt="2022-01-09T10:21:29.446" v="27"/>
          <ac:picMkLst>
            <pc:docMk/>
            <pc:sldMk cId="1894441827" sldId="358"/>
            <ac:picMk id="11" creationId="{BCAB455B-1F72-43F9-AE57-6EC5913938BF}"/>
          </ac:picMkLst>
        </pc:picChg>
        <pc:picChg chg="add del mod">
          <ac:chgData name="WONGYONGLIN91" userId="S::wongyonglin91_gmail.com#ext#@risebcg.onmicrosoft.com::b2d94f93-e580-4f0d-9dda-2138509d25ae" providerId="AD" clId="Web-{AADDA445-BDD6-42F9-85C9-88CD3230B937}" dt="2022-01-09T10:25:32.513" v="51"/>
          <ac:picMkLst>
            <pc:docMk/>
            <pc:sldMk cId="1894441827" sldId="358"/>
            <ac:picMk id="14" creationId="{367952F4-ADCE-4ED2-B7CB-F3E8FAB1E214}"/>
          </ac:picMkLst>
        </pc:picChg>
        <pc:picChg chg="add del mod">
          <ac:chgData name="WONGYONGLIN91" userId="S::wongyonglin91_gmail.com#ext#@risebcg.onmicrosoft.com::b2d94f93-e580-4f0d-9dda-2138509d25ae" providerId="AD" clId="Web-{AADDA445-BDD6-42F9-85C9-88CD3230B937}" dt="2022-01-09T10:37:52.104" v="118"/>
          <ac:picMkLst>
            <pc:docMk/>
            <pc:sldMk cId="1894441827" sldId="358"/>
            <ac:picMk id="16" creationId="{9128F571-EA1C-41C3-819C-579D9B69F12F}"/>
          </ac:picMkLst>
        </pc:picChg>
        <pc:picChg chg="add del mod">
          <ac:chgData name="WONGYONGLIN91" userId="S::wongyonglin91_gmail.com#ext#@risebcg.onmicrosoft.com::b2d94f93-e580-4f0d-9dda-2138509d25ae" providerId="AD" clId="Web-{AADDA445-BDD6-42F9-85C9-88CD3230B937}" dt="2022-01-09T10:34:43.569" v="101"/>
          <ac:picMkLst>
            <pc:docMk/>
            <pc:sldMk cId="1894441827" sldId="358"/>
            <ac:picMk id="17" creationId="{C5CB374D-66B4-4CAB-890B-EDFE516A14D4}"/>
          </ac:picMkLst>
        </pc:picChg>
        <pc:picChg chg="add del mod">
          <ac:chgData name="WONGYONGLIN91" userId="S::wongyonglin91_gmail.com#ext#@risebcg.onmicrosoft.com::b2d94f93-e580-4f0d-9dda-2138509d25ae" providerId="AD" clId="Web-{AADDA445-BDD6-42F9-85C9-88CD3230B937}" dt="2022-01-09T10:34:14.475" v="97"/>
          <ac:picMkLst>
            <pc:docMk/>
            <pc:sldMk cId="1894441827" sldId="358"/>
            <ac:picMk id="20" creationId="{FE3A540E-FB7E-407A-85A9-9D35BD49D392}"/>
          </ac:picMkLst>
        </pc:picChg>
        <pc:picChg chg="add del mod">
          <ac:chgData name="WONGYONGLIN91" userId="S::wongyonglin91_gmail.com#ext#@risebcg.onmicrosoft.com::b2d94f93-e580-4f0d-9dda-2138509d25ae" providerId="AD" clId="Web-{AADDA445-BDD6-42F9-85C9-88CD3230B937}" dt="2022-01-09T10:56:29.294" v="143"/>
          <ac:picMkLst>
            <pc:docMk/>
            <pc:sldMk cId="1894441827" sldId="358"/>
            <ac:picMk id="21" creationId="{E02FAB94-FF9C-4FBE-A58E-017834133684}"/>
          </ac:picMkLst>
        </pc:picChg>
        <pc:picChg chg="add del mod">
          <ac:chgData name="WONGYONGLIN91" userId="S::wongyonglin91_gmail.com#ext#@risebcg.onmicrosoft.com::b2d94f93-e580-4f0d-9dda-2138509d25ae" providerId="AD" clId="Web-{AADDA445-BDD6-42F9-85C9-88CD3230B937}" dt="2022-01-09T10:36:11.321" v="106"/>
          <ac:picMkLst>
            <pc:docMk/>
            <pc:sldMk cId="1894441827" sldId="358"/>
            <ac:picMk id="22" creationId="{D80FCB91-0311-4992-A071-6D2CD6176DF7}"/>
          </ac:picMkLst>
        </pc:picChg>
        <pc:picChg chg="add del mod">
          <ac:chgData name="WONGYONGLIN91" userId="S::wongyonglin91_gmail.com#ext#@risebcg.onmicrosoft.com::b2d94f93-e580-4f0d-9dda-2138509d25ae" providerId="AD" clId="Web-{AADDA445-BDD6-42F9-85C9-88CD3230B937}" dt="2022-01-09T10:56:29.404" v="144"/>
          <ac:picMkLst>
            <pc:docMk/>
            <pc:sldMk cId="1894441827" sldId="358"/>
            <ac:picMk id="23" creationId="{0F94226D-CA9B-4269-AEF7-160EF3B0F687}"/>
          </ac:picMkLst>
        </pc:picChg>
        <pc:picChg chg="add del mod">
          <ac:chgData name="WONGYONGLIN91" userId="S::wongyonglin91_gmail.com#ext#@risebcg.onmicrosoft.com::b2d94f93-e580-4f0d-9dda-2138509d25ae" providerId="AD" clId="Web-{AADDA445-BDD6-42F9-85C9-88CD3230B937}" dt="2022-01-09T10:55:12.965" v="130"/>
          <ac:picMkLst>
            <pc:docMk/>
            <pc:sldMk cId="1894441827" sldId="358"/>
            <ac:picMk id="24" creationId="{D29FDE95-35DB-40AF-AF2A-3FF6E6DEB7AF}"/>
          </ac:picMkLst>
        </pc:picChg>
        <pc:picChg chg="add del mod">
          <ac:chgData name="WONGYONGLIN91" userId="S::wongyonglin91_gmail.com#ext#@risebcg.onmicrosoft.com::b2d94f93-e580-4f0d-9dda-2138509d25ae" providerId="AD" clId="Web-{AADDA445-BDD6-42F9-85C9-88CD3230B937}" dt="2022-01-09T10:44:39.189" v="126"/>
          <ac:picMkLst>
            <pc:docMk/>
            <pc:sldMk cId="1894441827" sldId="358"/>
            <ac:picMk id="25" creationId="{CD2EC3BC-8E21-4DC8-8701-491580519376}"/>
          </ac:picMkLst>
        </pc:picChg>
        <pc:picChg chg="add mod">
          <ac:chgData name="WONGYONGLIN91" userId="S::wongyonglin91_gmail.com#ext#@risebcg.onmicrosoft.com::b2d94f93-e580-4f0d-9dda-2138509d25ae" providerId="AD" clId="Web-{AADDA445-BDD6-42F9-85C9-88CD3230B937}" dt="2022-01-09T10:56:54.670" v="148" actId="1076"/>
          <ac:picMkLst>
            <pc:docMk/>
            <pc:sldMk cId="1894441827" sldId="358"/>
            <ac:picMk id="26" creationId="{3E7D9E39-2C33-40F6-B21B-E6ABF43A27B6}"/>
          </ac:picMkLst>
        </pc:picChg>
        <pc:picChg chg="add mod">
          <ac:chgData name="WONGYONGLIN91" userId="S::wongyonglin91_gmail.com#ext#@risebcg.onmicrosoft.com::b2d94f93-e580-4f0d-9dda-2138509d25ae" providerId="AD" clId="Web-{AADDA445-BDD6-42F9-85C9-88CD3230B937}" dt="2022-01-09T10:56:49.998" v="147" actId="1076"/>
          <ac:picMkLst>
            <pc:docMk/>
            <pc:sldMk cId="1894441827" sldId="358"/>
            <ac:picMk id="27" creationId="{8B582F99-5D50-4D77-A9E6-86BF01C61EEE}"/>
          </ac:picMkLst>
        </pc:picChg>
      </pc:sldChg>
      <pc:sldChg chg="delSp modSp add del replId">
        <pc:chgData name="WONGYONGLIN91" userId="S::wongyonglin91_gmail.com#ext#@risebcg.onmicrosoft.com::b2d94f93-e580-4f0d-9dda-2138509d25ae" providerId="AD" clId="Web-{AADDA445-BDD6-42F9-85C9-88CD3230B937}" dt="2022-01-09T11:24:00.148" v="152"/>
        <pc:sldMkLst>
          <pc:docMk/>
          <pc:sldMk cId="2950691373" sldId="369"/>
        </pc:sldMkLst>
        <pc:picChg chg="mod">
          <ac:chgData name="WONGYONGLIN91" userId="S::wongyonglin91_gmail.com#ext#@risebcg.onmicrosoft.com::b2d94f93-e580-4f0d-9dda-2138509d25ae" providerId="AD" clId="Web-{AADDA445-BDD6-42F9-85C9-88CD3230B937}" dt="2022-01-09T10:32:48.989" v="89" actId="1076"/>
          <ac:picMkLst>
            <pc:docMk/>
            <pc:sldMk cId="2950691373" sldId="369"/>
            <ac:picMk id="6" creationId="{36E933AE-617C-4DEB-B4AD-4702ECE92209}"/>
          </ac:picMkLst>
        </pc:picChg>
        <pc:picChg chg="mod">
          <ac:chgData name="WONGYONGLIN91" userId="S::wongyonglin91_gmail.com#ext#@risebcg.onmicrosoft.com::b2d94f93-e580-4f0d-9dda-2138509d25ae" providerId="AD" clId="Web-{AADDA445-BDD6-42F9-85C9-88CD3230B937}" dt="2022-01-09T10:32:47.020" v="88" actId="1076"/>
          <ac:picMkLst>
            <pc:docMk/>
            <pc:sldMk cId="2950691373" sldId="369"/>
            <ac:picMk id="8" creationId="{80090A9D-A882-4EB8-927C-696FEDD289AC}"/>
          </ac:picMkLst>
        </pc:picChg>
        <pc:picChg chg="del">
          <ac:chgData name="WONGYONGLIN91" userId="S::wongyonglin91_gmail.com#ext#@risebcg.onmicrosoft.com::b2d94f93-e580-4f0d-9dda-2138509d25ae" providerId="AD" clId="Web-{AADDA445-BDD6-42F9-85C9-88CD3230B937}" dt="2022-01-09T10:32:41.176" v="86"/>
          <ac:picMkLst>
            <pc:docMk/>
            <pc:sldMk cId="2950691373" sldId="369"/>
            <ac:picMk id="16" creationId="{9128F571-EA1C-41C3-819C-579D9B69F12F}"/>
          </ac:picMkLst>
        </pc:picChg>
        <pc:picChg chg="del">
          <ac:chgData name="WONGYONGLIN91" userId="S::wongyonglin91_gmail.com#ext#@risebcg.onmicrosoft.com::b2d94f93-e580-4f0d-9dda-2138509d25ae" providerId="AD" clId="Web-{AADDA445-BDD6-42F9-85C9-88CD3230B937}" dt="2022-01-09T10:32:46.848" v="87"/>
          <ac:picMkLst>
            <pc:docMk/>
            <pc:sldMk cId="2950691373" sldId="369"/>
            <ac:picMk id="17" creationId="{C5CB374D-66B4-4CAB-890B-EDFE516A14D4}"/>
          </ac:picMkLst>
        </pc:picChg>
      </pc:sldChg>
    </pc:docChg>
  </pc:docChgLst>
  <pc:docChgLst>
    <pc:chgData name="EVELYNSM.YONG" userId="S::evelynsm.yong_gmail.com#ext#@risebcg.onmicrosoft.com::67a27a72-2420-4d38-b745-316a53f4b99a" providerId="AD" clId="Web-{1BD39029-34DE-40D2-B8EE-FA7F5EAF2821}"/>
    <pc:docChg chg="modSld">
      <pc:chgData name="EVELYNSM.YONG" userId="S::evelynsm.yong_gmail.com#ext#@risebcg.onmicrosoft.com::67a27a72-2420-4d38-b745-316a53f4b99a" providerId="AD" clId="Web-{1BD39029-34DE-40D2-B8EE-FA7F5EAF2821}" dt="2022-01-12T05:07:01.919" v="0" actId="1076"/>
      <pc:docMkLst>
        <pc:docMk/>
      </pc:docMkLst>
      <pc:sldChg chg="modSp">
        <pc:chgData name="EVELYNSM.YONG" userId="S::evelynsm.yong_gmail.com#ext#@risebcg.onmicrosoft.com::67a27a72-2420-4d38-b745-316a53f4b99a" providerId="AD" clId="Web-{1BD39029-34DE-40D2-B8EE-FA7F5EAF2821}" dt="2022-01-12T05:07:01.919" v="0" actId="1076"/>
        <pc:sldMkLst>
          <pc:docMk/>
          <pc:sldMk cId="3666302761" sldId="324"/>
        </pc:sldMkLst>
        <pc:spChg chg="mod">
          <ac:chgData name="EVELYNSM.YONG" userId="S::evelynsm.yong_gmail.com#ext#@risebcg.onmicrosoft.com::67a27a72-2420-4d38-b745-316a53f4b99a" providerId="AD" clId="Web-{1BD39029-34DE-40D2-B8EE-FA7F5EAF2821}" dt="2022-01-12T05:07:01.919" v="0" actId="1076"/>
          <ac:spMkLst>
            <pc:docMk/>
            <pc:sldMk cId="3666302761" sldId="324"/>
            <ac:spMk id="5" creationId="{0A784A15-5CA4-4DDF-B588-22BE7AFBC9A8}"/>
          </ac:spMkLst>
        </pc:spChg>
      </pc:sldChg>
    </pc:docChg>
  </pc:docChgLst>
  <pc:docChgLst>
    <pc:chgData name="wei yuan" userId="S::pwy_92_hotmail.com#ext#@risebcg.onmicrosoft.com::ca38e7f8-9ace-4d94-b37a-86e65e91f2b0" providerId="AD" clId="Web-{E31483D7-A304-4EBA-B911-57F26C6A6211}"/>
    <pc:docChg chg="modSld">
      <pc:chgData name="wei yuan" userId="S::pwy_92_hotmail.com#ext#@risebcg.onmicrosoft.com::ca38e7f8-9ace-4d94-b37a-86e65e91f2b0" providerId="AD" clId="Web-{E31483D7-A304-4EBA-B911-57F26C6A6211}" dt="2022-01-12T08:58:17.369" v="121"/>
      <pc:docMkLst>
        <pc:docMk/>
      </pc:docMkLst>
      <pc:sldChg chg="modNotes">
        <pc:chgData name="wei yuan" userId="S::pwy_92_hotmail.com#ext#@risebcg.onmicrosoft.com::ca38e7f8-9ace-4d94-b37a-86e65e91f2b0" providerId="AD" clId="Web-{E31483D7-A304-4EBA-B911-57F26C6A6211}" dt="2022-01-12T08:20:15.122" v="6"/>
        <pc:sldMkLst>
          <pc:docMk/>
          <pc:sldMk cId="2316358039" sldId="325"/>
        </pc:sldMkLst>
      </pc:sldChg>
      <pc:sldChg chg="modNotes">
        <pc:chgData name="wei yuan" userId="S::pwy_92_hotmail.com#ext#@risebcg.onmicrosoft.com::ca38e7f8-9ace-4d94-b37a-86e65e91f2b0" providerId="AD" clId="Web-{E31483D7-A304-4EBA-B911-57F26C6A6211}" dt="2022-01-12T08:36:54.070" v="19"/>
        <pc:sldMkLst>
          <pc:docMk/>
          <pc:sldMk cId="2160415509" sldId="326"/>
        </pc:sldMkLst>
      </pc:sldChg>
      <pc:sldChg chg="modNotes">
        <pc:chgData name="wei yuan" userId="S::pwy_92_hotmail.com#ext#@risebcg.onmicrosoft.com::ca38e7f8-9ace-4d94-b37a-86e65e91f2b0" providerId="AD" clId="Web-{E31483D7-A304-4EBA-B911-57F26C6A6211}" dt="2022-01-12T08:58:17.369" v="121"/>
        <pc:sldMkLst>
          <pc:docMk/>
          <pc:sldMk cId="1894441827" sldId="358"/>
        </pc:sldMkLst>
      </pc:sldChg>
    </pc:docChg>
  </pc:docChgLst>
  <pc:docChgLst>
    <pc:chgData name="COSMOSFREN" userId="S::cosmosfren_yahoo.com#ext#@risebcg.onmicrosoft.com::5462f5f4-f618-47aa-abd8-fd504e002570" providerId="AD" clId="Web-{909113B9-D1BF-464B-96C0-BDB1E5A914A4}"/>
    <pc:docChg chg="modSld">
      <pc:chgData name="COSMOSFREN" userId="S::cosmosfren_yahoo.com#ext#@risebcg.onmicrosoft.com::5462f5f4-f618-47aa-abd8-fd504e002570" providerId="AD" clId="Web-{909113B9-D1BF-464B-96C0-BDB1E5A914A4}" dt="2022-01-13T05:04:53.477" v="760"/>
      <pc:docMkLst>
        <pc:docMk/>
      </pc:docMkLst>
      <pc:sldChg chg="modNotes">
        <pc:chgData name="COSMOSFREN" userId="S::cosmosfren_yahoo.com#ext#@risebcg.onmicrosoft.com::5462f5f4-f618-47aa-abd8-fd504e002570" providerId="AD" clId="Web-{909113B9-D1BF-464B-96C0-BDB1E5A914A4}" dt="2022-01-13T04:58:33.906" v="733"/>
        <pc:sldMkLst>
          <pc:docMk/>
          <pc:sldMk cId="416007632" sldId="327"/>
        </pc:sldMkLst>
      </pc:sldChg>
      <pc:sldChg chg="modNotes">
        <pc:chgData name="COSMOSFREN" userId="S::cosmosfren_yahoo.com#ext#@risebcg.onmicrosoft.com::5462f5f4-f618-47aa-abd8-fd504e002570" providerId="AD" clId="Web-{909113B9-D1BF-464B-96C0-BDB1E5A914A4}" dt="2022-01-13T05:04:53.477" v="760"/>
        <pc:sldMkLst>
          <pc:docMk/>
          <pc:sldMk cId="3391215681" sldId="339"/>
        </pc:sldMkLst>
      </pc:sldChg>
      <pc:sldChg chg="modNotes">
        <pc:chgData name="COSMOSFREN" userId="S::cosmosfren_yahoo.com#ext#@risebcg.onmicrosoft.com::5462f5f4-f618-47aa-abd8-fd504e002570" providerId="AD" clId="Web-{909113B9-D1BF-464B-96C0-BDB1E5A914A4}" dt="2022-01-13T04:26:58.621" v="30"/>
        <pc:sldMkLst>
          <pc:docMk/>
          <pc:sldMk cId="1894441827" sldId="358"/>
        </pc:sldMkLst>
      </pc:sldChg>
      <pc:sldChg chg="modNotes">
        <pc:chgData name="COSMOSFREN" userId="S::cosmosfren_yahoo.com#ext#@risebcg.onmicrosoft.com::5462f5f4-f618-47aa-abd8-fd504e002570" providerId="AD" clId="Web-{909113B9-D1BF-464B-96C0-BDB1E5A914A4}" dt="2022-01-13T04:58:26.641" v="731"/>
        <pc:sldMkLst>
          <pc:docMk/>
          <pc:sldMk cId="59737257" sldId="391"/>
        </pc:sldMkLst>
      </pc:sldChg>
      <pc:sldChg chg="modNotes">
        <pc:chgData name="COSMOSFREN" userId="S::cosmosfren_yahoo.com#ext#@risebcg.onmicrosoft.com::5462f5f4-f618-47aa-abd8-fd504e002570" providerId="AD" clId="Web-{909113B9-D1BF-464B-96C0-BDB1E5A914A4}" dt="2022-01-13T04:58:56.876" v="740"/>
        <pc:sldMkLst>
          <pc:docMk/>
          <pc:sldMk cId="3581566203" sldId="396"/>
        </pc:sldMkLst>
      </pc:sldChg>
    </pc:docChg>
  </pc:docChgLst>
  <pc:docChgLst>
    <pc:chgData name="EVELYNSM.YONG" userId="S::evelynsm.yong_gmail.com#ext#@risebcg.onmicrosoft.com::67a27a72-2420-4d38-b745-316a53f4b99a" providerId="AD" clId="Web-{EDFFD962-2F08-4964-9C00-2786D8B0D9B5}"/>
    <pc:docChg chg="modSld">
      <pc:chgData name="EVELYNSM.YONG" userId="S::evelynsm.yong_gmail.com#ext#@risebcg.onmicrosoft.com::67a27a72-2420-4d38-b745-316a53f4b99a" providerId="AD" clId="Web-{EDFFD962-2F08-4964-9C00-2786D8B0D9B5}" dt="2022-01-12T10:05:21.951" v="1178"/>
      <pc:docMkLst>
        <pc:docMk/>
      </pc:docMkLst>
      <pc:sldChg chg="modNotes">
        <pc:chgData name="EVELYNSM.YONG" userId="S::evelynsm.yong_gmail.com#ext#@risebcg.onmicrosoft.com::67a27a72-2420-4d38-b745-316a53f4b99a" providerId="AD" clId="Web-{EDFFD962-2F08-4964-9C00-2786D8B0D9B5}" dt="2022-01-12T09:59:38.474" v="1110"/>
        <pc:sldMkLst>
          <pc:docMk/>
          <pc:sldMk cId="2160415509" sldId="326"/>
        </pc:sldMkLst>
      </pc:sldChg>
      <pc:sldChg chg="addSp modSp modNotes">
        <pc:chgData name="EVELYNSM.YONG" userId="S::evelynsm.yong_gmail.com#ext#@risebcg.onmicrosoft.com::67a27a72-2420-4d38-b745-316a53f4b99a" providerId="AD" clId="Web-{EDFFD962-2F08-4964-9C00-2786D8B0D9B5}" dt="2022-01-12T10:05:21.951" v="1178"/>
        <pc:sldMkLst>
          <pc:docMk/>
          <pc:sldMk cId="3391215681" sldId="339"/>
        </pc:sldMkLst>
        <pc:spChg chg="add mod">
          <ac:chgData name="EVELYNSM.YONG" userId="S::evelynsm.yong_gmail.com#ext#@risebcg.onmicrosoft.com::67a27a72-2420-4d38-b745-316a53f4b99a" providerId="AD" clId="Web-{EDFFD962-2F08-4964-9C00-2786D8B0D9B5}" dt="2022-01-12T09:23:22.346" v="44" actId="20577"/>
          <ac:spMkLst>
            <pc:docMk/>
            <pc:sldMk cId="3391215681" sldId="339"/>
            <ac:spMk id="19671" creationId="{172CA225-522F-4833-8F8C-990A80BD8259}"/>
          </ac:spMkLst>
        </pc:spChg>
        <pc:grpChg chg="mod">
          <ac:chgData name="EVELYNSM.YONG" userId="S::evelynsm.yong_gmail.com#ext#@risebcg.onmicrosoft.com::67a27a72-2420-4d38-b745-316a53f4b99a" providerId="AD" clId="Web-{EDFFD962-2F08-4964-9C00-2786D8B0D9B5}" dt="2022-01-12T09:44:17.594" v="1006" actId="1076"/>
          <ac:grpSpMkLst>
            <pc:docMk/>
            <pc:sldMk cId="3391215681" sldId="339"/>
            <ac:grpSpMk id="15152" creationId="{920701E5-CB08-4217-ACA3-DE3EB854DE24}"/>
          </ac:grpSpMkLst>
        </pc:grpChg>
        <pc:graphicFrameChg chg="mod modGraphic">
          <ac:chgData name="EVELYNSM.YONG" userId="S::evelynsm.yong_gmail.com#ext#@risebcg.onmicrosoft.com::67a27a72-2420-4d38-b745-316a53f4b99a" providerId="AD" clId="Web-{EDFFD962-2F08-4964-9C00-2786D8B0D9B5}" dt="2022-01-12T09:44:35.172" v="1008" actId="1076"/>
          <ac:graphicFrameMkLst>
            <pc:docMk/>
            <pc:sldMk cId="3391215681" sldId="339"/>
            <ac:graphicFrameMk id="28" creationId="{9D58B7B4-DE29-4DDF-BB8A-729D2B705659}"/>
          </ac:graphicFrameMkLst>
        </pc:graphicFrameChg>
        <pc:picChg chg="mod">
          <ac:chgData name="EVELYNSM.YONG" userId="S::evelynsm.yong_gmail.com#ext#@risebcg.onmicrosoft.com::67a27a72-2420-4d38-b745-316a53f4b99a" providerId="AD" clId="Web-{EDFFD962-2F08-4964-9C00-2786D8B0D9B5}" dt="2022-01-12T09:44:37.923" v="1009" actId="1076"/>
          <ac:picMkLst>
            <pc:docMk/>
            <pc:sldMk cId="3391215681" sldId="339"/>
            <ac:picMk id="107" creationId="{02601E91-3DEE-4781-ACC9-2A3154DCC85D}"/>
          </ac:picMkLst>
        </pc:picChg>
        <pc:picChg chg="mod">
          <ac:chgData name="EVELYNSM.YONG" userId="S::evelynsm.yong_gmail.com#ext#@risebcg.onmicrosoft.com::67a27a72-2420-4d38-b745-316a53f4b99a" providerId="AD" clId="Web-{EDFFD962-2F08-4964-9C00-2786D8B0D9B5}" dt="2022-01-12T09:44:46.844" v="1011" actId="14100"/>
          <ac:picMkLst>
            <pc:docMk/>
            <pc:sldMk cId="3391215681" sldId="339"/>
            <ac:picMk id="108" creationId="{590458A9-D7D6-4978-B569-22D281AE5CF2}"/>
          </ac:picMkLst>
        </pc:picChg>
        <pc:picChg chg="mod">
          <ac:chgData name="EVELYNSM.YONG" userId="S::evelynsm.yong_gmail.com#ext#@risebcg.onmicrosoft.com::67a27a72-2420-4d38-b745-316a53f4b99a" providerId="AD" clId="Web-{EDFFD962-2F08-4964-9C00-2786D8B0D9B5}" dt="2022-01-12T09:44:15.469" v="1005" actId="1076"/>
          <ac:picMkLst>
            <pc:docMk/>
            <pc:sldMk cId="3391215681" sldId="339"/>
            <ac:picMk id="127" creationId="{50C2EFDE-AE92-48A3-8F2F-DEC4BC518951}"/>
          </ac:picMkLst>
        </pc:picChg>
        <pc:picChg chg="mod">
          <ac:chgData name="EVELYNSM.YONG" userId="S::evelynsm.yong_gmail.com#ext#@risebcg.onmicrosoft.com::67a27a72-2420-4d38-b745-316a53f4b99a" providerId="AD" clId="Web-{EDFFD962-2F08-4964-9C00-2786D8B0D9B5}" dt="2022-01-12T09:44:44.063" v="1010" actId="1076"/>
          <ac:picMkLst>
            <pc:docMk/>
            <pc:sldMk cId="3391215681" sldId="339"/>
            <ac:picMk id="5328" creationId="{79187648-B5C6-4EDC-88C1-489201FB6DA0}"/>
          </ac:picMkLst>
        </pc:picChg>
      </pc:sldChg>
      <pc:sldChg chg="delSp">
        <pc:chgData name="EVELYNSM.YONG" userId="S::evelynsm.yong_gmail.com#ext#@risebcg.onmicrosoft.com::67a27a72-2420-4d38-b745-316a53f4b99a" providerId="AD" clId="Web-{EDFFD962-2F08-4964-9C00-2786D8B0D9B5}" dt="2022-01-12T10:00:48.319" v="1125"/>
        <pc:sldMkLst>
          <pc:docMk/>
          <pc:sldMk cId="426360798" sldId="347"/>
        </pc:sldMkLst>
        <pc:grpChg chg="del">
          <ac:chgData name="EVELYNSM.YONG" userId="S::evelynsm.yong_gmail.com#ext#@risebcg.onmicrosoft.com::67a27a72-2420-4d38-b745-316a53f4b99a" providerId="AD" clId="Web-{EDFFD962-2F08-4964-9C00-2786D8B0D9B5}" dt="2022-01-12T10:00:48.319" v="1125"/>
          <ac:grpSpMkLst>
            <pc:docMk/>
            <pc:sldMk cId="426360798" sldId="347"/>
            <ac:grpSpMk id="3" creationId="{4455BCB6-14D7-48F3-BD0E-54E7F3C808D5}"/>
          </ac:grpSpMkLst>
        </pc:grpChg>
      </pc:sldChg>
      <pc:sldChg chg="delSp">
        <pc:chgData name="EVELYNSM.YONG" userId="S::evelynsm.yong_gmail.com#ext#@risebcg.onmicrosoft.com::67a27a72-2420-4d38-b745-316a53f4b99a" providerId="AD" clId="Web-{EDFFD962-2F08-4964-9C00-2786D8B0D9B5}" dt="2022-01-12T10:00:56.116" v="1127"/>
        <pc:sldMkLst>
          <pc:docMk/>
          <pc:sldMk cId="2528704326" sldId="349"/>
        </pc:sldMkLst>
        <pc:grpChg chg="del">
          <ac:chgData name="EVELYNSM.YONG" userId="S::evelynsm.yong_gmail.com#ext#@risebcg.onmicrosoft.com::67a27a72-2420-4d38-b745-316a53f4b99a" providerId="AD" clId="Web-{EDFFD962-2F08-4964-9C00-2786D8B0D9B5}" dt="2022-01-12T10:00:56.116" v="1127"/>
          <ac:grpSpMkLst>
            <pc:docMk/>
            <pc:sldMk cId="2528704326" sldId="349"/>
            <ac:grpSpMk id="3" creationId="{57C87872-B27F-4BC8-B498-E61B67FA18BB}"/>
          </ac:grpSpMkLst>
        </pc:grpChg>
      </pc:sldChg>
      <pc:sldChg chg="delSp">
        <pc:chgData name="EVELYNSM.YONG" userId="S::evelynsm.yong_gmail.com#ext#@risebcg.onmicrosoft.com::67a27a72-2420-4d38-b745-316a53f4b99a" providerId="AD" clId="Web-{EDFFD962-2F08-4964-9C00-2786D8B0D9B5}" dt="2022-01-12T10:00:58.523" v="1128"/>
        <pc:sldMkLst>
          <pc:docMk/>
          <pc:sldMk cId="3685283696" sldId="350"/>
        </pc:sldMkLst>
        <pc:grpChg chg="del">
          <ac:chgData name="EVELYNSM.YONG" userId="S::evelynsm.yong_gmail.com#ext#@risebcg.onmicrosoft.com::67a27a72-2420-4d38-b745-316a53f4b99a" providerId="AD" clId="Web-{EDFFD962-2F08-4964-9C00-2786D8B0D9B5}" dt="2022-01-12T10:00:58.523" v="1128"/>
          <ac:grpSpMkLst>
            <pc:docMk/>
            <pc:sldMk cId="3685283696" sldId="350"/>
            <ac:grpSpMk id="2" creationId="{C4F68649-A620-4D16-A848-ACF857401516}"/>
          </ac:grpSpMkLst>
        </pc:grpChg>
      </pc:sldChg>
      <pc:sldChg chg="delSp">
        <pc:chgData name="EVELYNSM.YONG" userId="S::evelynsm.yong_gmail.com#ext#@risebcg.onmicrosoft.com::67a27a72-2420-4d38-b745-316a53f4b99a" providerId="AD" clId="Web-{EDFFD962-2F08-4964-9C00-2786D8B0D9B5}" dt="2022-01-12T10:00:52.382" v="1126"/>
        <pc:sldMkLst>
          <pc:docMk/>
          <pc:sldMk cId="1823296178" sldId="351"/>
        </pc:sldMkLst>
        <pc:grpChg chg="del">
          <ac:chgData name="EVELYNSM.YONG" userId="S::evelynsm.yong_gmail.com#ext#@risebcg.onmicrosoft.com::67a27a72-2420-4d38-b745-316a53f4b99a" providerId="AD" clId="Web-{EDFFD962-2F08-4964-9C00-2786D8B0D9B5}" dt="2022-01-12T10:00:52.382" v="1126"/>
          <ac:grpSpMkLst>
            <pc:docMk/>
            <pc:sldMk cId="1823296178" sldId="351"/>
            <ac:grpSpMk id="2" creationId="{906CB9A3-F9BB-42AA-B2BA-7AABFD3D8BBA}"/>
          </ac:grpSpMkLst>
        </pc:grpChg>
      </pc:sldChg>
      <pc:sldChg chg="delSp modSp">
        <pc:chgData name="EVELYNSM.YONG" userId="S::evelynsm.yong_gmail.com#ext#@risebcg.onmicrosoft.com::67a27a72-2420-4d38-b745-316a53f4b99a" providerId="AD" clId="Web-{EDFFD962-2F08-4964-9C00-2786D8B0D9B5}" dt="2022-01-12T10:00:43.741" v="1123"/>
        <pc:sldMkLst>
          <pc:docMk/>
          <pc:sldMk cId="1602317283" sldId="352"/>
        </pc:sldMkLst>
        <pc:spChg chg="del mod">
          <ac:chgData name="EVELYNSM.YONG" userId="S::evelynsm.yong_gmail.com#ext#@risebcg.onmicrosoft.com::67a27a72-2420-4d38-b745-316a53f4b99a" providerId="AD" clId="Web-{EDFFD962-2F08-4964-9C00-2786D8B0D9B5}" dt="2022-01-12T10:00:42.429" v="1122"/>
          <ac:spMkLst>
            <pc:docMk/>
            <pc:sldMk cId="1602317283" sldId="352"/>
            <ac:spMk id="6" creationId="{E8A5316F-D582-4BB2-BF38-6996247FD050}"/>
          </ac:spMkLst>
        </pc:spChg>
        <pc:grpChg chg="del">
          <ac:chgData name="EVELYNSM.YONG" userId="S::evelynsm.yong_gmail.com#ext#@risebcg.onmicrosoft.com::67a27a72-2420-4d38-b745-316a53f4b99a" providerId="AD" clId="Web-{EDFFD962-2F08-4964-9C00-2786D8B0D9B5}" dt="2022-01-12T10:00:43.741" v="1123"/>
          <ac:grpSpMkLst>
            <pc:docMk/>
            <pc:sldMk cId="1602317283" sldId="352"/>
            <ac:grpSpMk id="9" creationId="{D36EA632-07B3-4295-BE67-774163081217}"/>
          </ac:grpSpMkLst>
        </pc:grpChg>
      </pc:sldChg>
      <pc:sldChg chg="delSp">
        <pc:chgData name="EVELYNSM.YONG" userId="S::evelynsm.yong_gmail.com#ext#@risebcg.onmicrosoft.com::67a27a72-2420-4d38-b745-316a53f4b99a" providerId="AD" clId="Web-{EDFFD962-2F08-4964-9C00-2786D8B0D9B5}" dt="2022-01-12T10:00:45.929" v="1124"/>
        <pc:sldMkLst>
          <pc:docMk/>
          <pc:sldMk cId="1042141491" sldId="353"/>
        </pc:sldMkLst>
        <pc:grpChg chg="del">
          <ac:chgData name="EVELYNSM.YONG" userId="S::evelynsm.yong_gmail.com#ext#@risebcg.onmicrosoft.com::67a27a72-2420-4d38-b745-316a53f4b99a" providerId="AD" clId="Web-{EDFFD962-2F08-4964-9C00-2786D8B0D9B5}" dt="2022-01-12T10:00:45.929" v="1124"/>
          <ac:grpSpMkLst>
            <pc:docMk/>
            <pc:sldMk cId="1042141491" sldId="353"/>
            <ac:grpSpMk id="3" creationId="{A22A9F86-5576-4C0E-83B2-91D832BD93F8}"/>
          </ac:grpSpMkLst>
        </pc:grpChg>
      </pc:sldChg>
      <pc:sldChg chg="modNotes">
        <pc:chgData name="EVELYNSM.YONG" userId="S::evelynsm.yong_gmail.com#ext#@risebcg.onmicrosoft.com::67a27a72-2420-4d38-b745-316a53f4b99a" providerId="AD" clId="Web-{EDFFD962-2F08-4964-9C00-2786D8B0D9B5}" dt="2022-01-12T09:58:22.113" v="1108"/>
        <pc:sldMkLst>
          <pc:docMk/>
          <pc:sldMk cId="3531645893" sldId="360"/>
        </pc:sldMkLst>
      </pc:sldChg>
      <pc:sldChg chg="delSp">
        <pc:chgData name="EVELYNSM.YONG" userId="S::evelynsm.yong_gmail.com#ext#@risebcg.onmicrosoft.com::67a27a72-2420-4d38-b745-316a53f4b99a" providerId="AD" clId="Web-{EDFFD962-2F08-4964-9C00-2786D8B0D9B5}" dt="2022-01-12T09:59:58.396" v="1112"/>
        <pc:sldMkLst>
          <pc:docMk/>
          <pc:sldMk cId="1240857227" sldId="361"/>
        </pc:sldMkLst>
        <pc:spChg chg="del">
          <ac:chgData name="EVELYNSM.YONG" userId="S::evelynsm.yong_gmail.com#ext#@risebcg.onmicrosoft.com::67a27a72-2420-4d38-b745-316a53f4b99a" providerId="AD" clId="Web-{EDFFD962-2F08-4964-9C00-2786D8B0D9B5}" dt="2022-01-12T09:59:56.818" v="1111"/>
          <ac:spMkLst>
            <pc:docMk/>
            <pc:sldMk cId="1240857227" sldId="361"/>
            <ac:spMk id="11" creationId="{36B65383-5444-4D11-ADB0-5EA510031933}"/>
          </ac:spMkLst>
        </pc:spChg>
        <pc:grpChg chg="del">
          <ac:chgData name="EVELYNSM.YONG" userId="S::evelynsm.yong_gmail.com#ext#@risebcg.onmicrosoft.com::67a27a72-2420-4d38-b745-316a53f4b99a" providerId="AD" clId="Web-{EDFFD962-2F08-4964-9C00-2786D8B0D9B5}" dt="2022-01-12T09:59:58.396" v="1112"/>
          <ac:grpSpMkLst>
            <pc:docMk/>
            <pc:sldMk cId="1240857227" sldId="361"/>
            <ac:grpSpMk id="3" creationId="{E9266EB4-E081-4093-AF07-5B4F8ADB0019}"/>
          </ac:grpSpMkLst>
        </pc:grpChg>
      </pc:sldChg>
      <pc:sldChg chg="delSp">
        <pc:chgData name="EVELYNSM.YONG" userId="S::evelynsm.yong_gmail.com#ext#@risebcg.onmicrosoft.com::67a27a72-2420-4d38-b745-316a53f4b99a" providerId="AD" clId="Web-{EDFFD962-2F08-4964-9C00-2786D8B0D9B5}" dt="2022-01-12T10:00:02.600" v="1113"/>
        <pc:sldMkLst>
          <pc:docMk/>
          <pc:sldMk cId="1435943691" sldId="362"/>
        </pc:sldMkLst>
        <pc:grpChg chg="del">
          <ac:chgData name="EVELYNSM.YONG" userId="S::evelynsm.yong_gmail.com#ext#@risebcg.onmicrosoft.com::67a27a72-2420-4d38-b745-316a53f4b99a" providerId="AD" clId="Web-{EDFFD962-2F08-4964-9C00-2786D8B0D9B5}" dt="2022-01-12T10:00:02.600" v="1113"/>
          <ac:grpSpMkLst>
            <pc:docMk/>
            <pc:sldMk cId="1435943691" sldId="362"/>
            <ac:grpSpMk id="4" creationId="{544D715A-8263-44CD-B9C9-79985E548F45}"/>
          </ac:grpSpMkLst>
        </pc:grpChg>
      </pc:sldChg>
      <pc:sldChg chg="delSp">
        <pc:chgData name="EVELYNSM.YONG" userId="S::evelynsm.yong_gmail.com#ext#@risebcg.onmicrosoft.com::67a27a72-2420-4d38-b745-316a53f4b99a" providerId="AD" clId="Web-{EDFFD962-2F08-4964-9C00-2786D8B0D9B5}" dt="2022-01-12T10:00:05.053" v="1114"/>
        <pc:sldMkLst>
          <pc:docMk/>
          <pc:sldMk cId="3116244911" sldId="363"/>
        </pc:sldMkLst>
        <pc:grpChg chg="del">
          <ac:chgData name="EVELYNSM.YONG" userId="S::evelynsm.yong_gmail.com#ext#@risebcg.onmicrosoft.com::67a27a72-2420-4d38-b745-316a53f4b99a" providerId="AD" clId="Web-{EDFFD962-2F08-4964-9C00-2786D8B0D9B5}" dt="2022-01-12T10:00:05.053" v="1114"/>
          <ac:grpSpMkLst>
            <pc:docMk/>
            <pc:sldMk cId="3116244911" sldId="363"/>
            <ac:grpSpMk id="3" creationId="{A5AD30ED-255D-4ACB-A147-15B24091BD6C}"/>
          </ac:grpSpMkLst>
        </pc:grpChg>
      </pc:sldChg>
      <pc:sldChg chg="delSp">
        <pc:chgData name="EVELYNSM.YONG" userId="S::evelynsm.yong_gmail.com#ext#@risebcg.onmicrosoft.com::67a27a72-2420-4d38-b745-316a53f4b99a" providerId="AD" clId="Web-{EDFFD962-2F08-4964-9C00-2786D8B0D9B5}" dt="2022-01-12T10:00:08.490" v="1115"/>
        <pc:sldMkLst>
          <pc:docMk/>
          <pc:sldMk cId="3544593396" sldId="364"/>
        </pc:sldMkLst>
        <pc:grpChg chg="del">
          <ac:chgData name="EVELYNSM.YONG" userId="S::evelynsm.yong_gmail.com#ext#@risebcg.onmicrosoft.com::67a27a72-2420-4d38-b745-316a53f4b99a" providerId="AD" clId="Web-{EDFFD962-2F08-4964-9C00-2786D8B0D9B5}" dt="2022-01-12T10:00:08.490" v="1115"/>
          <ac:grpSpMkLst>
            <pc:docMk/>
            <pc:sldMk cId="3544593396" sldId="364"/>
            <ac:grpSpMk id="4" creationId="{0EA88A3E-121D-406F-903F-AD39A0C87108}"/>
          </ac:grpSpMkLst>
        </pc:grpChg>
      </pc:sldChg>
      <pc:sldChg chg="delSp">
        <pc:chgData name="EVELYNSM.YONG" userId="S::evelynsm.yong_gmail.com#ext#@risebcg.onmicrosoft.com::67a27a72-2420-4d38-b745-316a53f4b99a" providerId="AD" clId="Web-{EDFFD962-2F08-4964-9C00-2786D8B0D9B5}" dt="2022-01-12T10:00:11.053" v="1116"/>
        <pc:sldMkLst>
          <pc:docMk/>
          <pc:sldMk cId="1368706879" sldId="365"/>
        </pc:sldMkLst>
        <pc:grpChg chg="del">
          <ac:chgData name="EVELYNSM.YONG" userId="S::evelynsm.yong_gmail.com#ext#@risebcg.onmicrosoft.com::67a27a72-2420-4d38-b745-316a53f4b99a" providerId="AD" clId="Web-{EDFFD962-2F08-4964-9C00-2786D8B0D9B5}" dt="2022-01-12T10:00:11.053" v="1116"/>
          <ac:grpSpMkLst>
            <pc:docMk/>
            <pc:sldMk cId="1368706879" sldId="365"/>
            <ac:grpSpMk id="3" creationId="{1D469522-D02F-4DCD-8628-F3F045D43F1F}"/>
          </ac:grpSpMkLst>
        </pc:grpChg>
      </pc:sldChg>
      <pc:sldChg chg="delSp">
        <pc:chgData name="EVELYNSM.YONG" userId="S::evelynsm.yong_gmail.com#ext#@risebcg.onmicrosoft.com::67a27a72-2420-4d38-b745-316a53f4b99a" providerId="AD" clId="Web-{EDFFD962-2F08-4964-9C00-2786D8B0D9B5}" dt="2022-01-12T10:00:13.740" v="1117"/>
        <pc:sldMkLst>
          <pc:docMk/>
          <pc:sldMk cId="3891548654" sldId="366"/>
        </pc:sldMkLst>
        <pc:grpChg chg="del">
          <ac:chgData name="EVELYNSM.YONG" userId="S::evelynsm.yong_gmail.com#ext#@risebcg.onmicrosoft.com::67a27a72-2420-4d38-b745-316a53f4b99a" providerId="AD" clId="Web-{EDFFD962-2F08-4964-9C00-2786D8B0D9B5}" dt="2022-01-12T10:00:13.740" v="1117"/>
          <ac:grpSpMkLst>
            <pc:docMk/>
            <pc:sldMk cId="3891548654" sldId="366"/>
            <ac:grpSpMk id="4" creationId="{A54BDC52-FC29-4018-B0D6-87D401425E35}"/>
          </ac:grpSpMkLst>
        </pc:grpChg>
      </pc:sldChg>
      <pc:sldChg chg="delSp">
        <pc:chgData name="EVELYNSM.YONG" userId="S::evelynsm.yong_gmail.com#ext#@risebcg.onmicrosoft.com::67a27a72-2420-4d38-b745-316a53f4b99a" providerId="AD" clId="Web-{EDFFD962-2F08-4964-9C00-2786D8B0D9B5}" dt="2022-01-12T10:00:16.225" v="1118"/>
        <pc:sldMkLst>
          <pc:docMk/>
          <pc:sldMk cId="495325899" sldId="367"/>
        </pc:sldMkLst>
        <pc:grpChg chg="del">
          <ac:chgData name="EVELYNSM.YONG" userId="S::evelynsm.yong_gmail.com#ext#@risebcg.onmicrosoft.com::67a27a72-2420-4d38-b745-316a53f4b99a" providerId="AD" clId="Web-{EDFFD962-2F08-4964-9C00-2786D8B0D9B5}" dt="2022-01-12T10:00:16.225" v="1118"/>
          <ac:grpSpMkLst>
            <pc:docMk/>
            <pc:sldMk cId="495325899" sldId="367"/>
            <ac:grpSpMk id="3" creationId="{A5CB7353-8154-4FEC-A0E5-512671A7A8F9}"/>
          </ac:grpSpMkLst>
        </pc:grpChg>
      </pc:sldChg>
      <pc:sldChg chg="delSp">
        <pc:chgData name="EVELYNSM.YONG" userId="S::evelynsm.yong_gmail.com#ext#@risebcg.onmicrosoft.com::67a27a72-2420-4d38-b745-316a53f4b99a" providerId="AD" clId="Web-{EDFFD962-2F08-4964-9C00-2786D8B0D9B5}" dt="2022-01-12T10:00:18.256" v="1119"/>
        <pc:sldMkLst>
          <pc:docMk/>
          <pc:sldMk cId="371058751" sldId="368"/>
        </pc:sldMkLst>
        <pc:grpChg chg="del">
          <ac:chgData name="EVELYNSM.YONG" userId="S::evelynsm.yong_gmail.com#ext#@risebcg.onmicrosoft.com::67a27a72-2420-4d38-b745-316a53f4b99a" providerId="AD" clId="Web-{EDFFD962-2F08-4964-9C00-2786D8B0D9B5}" dt="2022-01-12T10:00:18.256" v="1119"/>
          <ac:grpSpMkLst>
            <pc:docMk/>
            <pc:sldMk cId="371058751" sldId="368"/>
            <ac:grpSpMk id="4" creationId="{0A6152A0-0A9D-4C47-A39C-AAF6B9D6B44A}"/>
          </ac:grpSpMkLst>
        </pc:grpChg>
      </pc:sldChg>
    </pc:docChg>
  </pc:docChgLst>
  <pc:docChgLst>
    <pc:chgData name="wei yuan" userId="S::pwy_92_hotmail.com#ext#@risebcg.onmicrosoft.com::ca38e7f8-9ace-4d94-b37a-86e65e91f2b0" providerId="AD" clId="Web-{828BBC6C-4A81-498B-B039-8F85469C9F22}"/>
    <pc:docChg chg="modSld">
      <pc:chgData name="wei yuan" userId="S::pwy_92_hotmail.com#ext#@risebcg.onmicrosoft.com::ca38e7f8-9ace-4d94-b37a-86e65e91f2b0" providerId="AD" clId="Web-{828BBC6C-4A81-498B-B039-8F85469C9F22}" dt="2022-01-10T04:25:52.845" v="4" actId="1076"/>
      <pc:docMkLst>
        <pc:docMk/>
      </pc:docMkLst>
      <pc:sldChg chg="addSp delSp modSp">
        <pc:chgData name="wei yuan" userId="S::pwy_92_hotmail.com#ext#@risebcg.onmicrosoft.com::ca38e7f8-9ace-4d94-b37a-86e65e91f2b0" providerId="AD" clId="Web-{828BBC6C-4A81-498B-B039-8F85469C9F22}" dt="2022-01-10T04:25:52.845" v="4" actId="1076"/>
        <pc:sldMkLst>
          <pc:docMk/>
          <pc:sldMk cId="1894441827" sldId="358"/>
        </pc:sldMkLst>
        <pc:spChg chg="add del mod">
          <ac:chgData name="wei yuan" userId="S::pwy_92_hotmail.com#ext#@risebcg.onmicrosoft.com::ca38e7f8-9ace-4d94-b37a-86e65e91f2b0" providerId="AD" clId="Web-{828BBC6C-4A81-498B-B039-8F85469C9F22}" dt="2022-01-10T04:25:52.845" v="4" actId="1076"/>
          <ac:spMkLst>
            <pc:docMk/>
            <pc:sldMk cId="1894441827" sldId="358"/>
            <ac:spMk id="13" creationId="{E2455A5F-294A-4EA7-8956-A3DA20378328}"/>
          </ac:spMkLst>
        </pc:spChg>
      </pc:sldChg>
    </pc:docChg>
  </pc:docChgLst>
  <pc:docChgLst>
    <pc:chgData name="WONGYONGLIN91" userId="S::wongyonglin91_gmail.com#ext#@risebcg.onmicrosoft.com::b2d94f93-e580-4f0d-9dda-2138509d25ae" providerId="AD" clId="Web-{1DBB4F16-1CCE-4857-AA6E-634E45949B51}"/>
    <pc:docChg chg="addSld delSld modSld">
      <pc:chgData name="WONGYONGLIN91" userId="S::wongyonglin91_gmail.com#ext#@risebcg.onmicrosoft.com::b2d94f93-e580-4f0d-9dda-2138509d25ae" providerId="AD" clId="Web-{1DBB4F16-1CCE-4857-AA6E-634E45949B51}" dt="2022-01-10T12:50:26.267" v="30" actId="1076"/>
      <pc:docMkLst>
        <pc:docMk/>
      </pc:docMkLst>
      <pc:sldChg chg="add del">
        <pc:chgData name="WONGYONGLIN91" userId="S::wongyonglin91_gmail.com#ext#@risebcg.onmicrosoft.com::b2d94f93-e580-4f0d-9dda-2138509d25ae" providerId="AD" clId="Web-{1DBB4F16-1CCE-4857-AA6E-634E45949B51}" dt="2022-01-10T12:47:23.670" v="11"/>
        <pc:sldMkLst>
          <pc:docMk/>
          <pc:sldMk cId="1894441827" sldId="358"/>
        </pc:sldMkLst>
      </pc:sldChg>
      <pc:sldChg chg="addSp modSp">
        <pc:chgData name="WONGYONGLIN91" userId="S::wongyonglin91_gmail.com#ext#@risebcg.onmicrosoft.com::b2d94f93-e580-4f0d-9dda-2138509d25ae" providerId="AD" clId="Web-{1DBB4F16-1CCE-4857-AA6E-634E45949B51}" dt="2022-01-10T12:50:26.267" v="30" actId="1076"/>
        <pc:sldMkLst>
          <pc:docMk/>
          <pc:sldMk cId="3758978858" sldId="379"/>
        </pc:sldMkLst>
        <pc:spChg chg="mod">
          <ac:chgData name="WONGYONGLIN91" userId="S::wongyonglin91_gmail.com#ext#@risebcg.onmicrosoft.com::b2d94f93-e580-4f0d-9dda-2138509d25ae" providerId="AD" clId="Web-{1DBB4F16-1CCE-4857-AA6E-634E45949B51}" dt="2022-01-10T12:46:20.559" v="7" actId="20577"/>
          <ac:spMkLst>
            <pc:docMk/>
            <pc:sldMk cId="3758978858" sldId="379"/>
            <ac:spMk id="2" creationId="{C8764925-553F-46C0-AD49-7EDC41FA393B}"/>
          </ac:spMkLst>
        </pc:spChg>
        <pc:spChg chg="mod">
          <ac:chgData name="WONGYONGLIN91" userId="S::wongyonglin91_gmail.com#ext#@risebcg.onmicrosoft.com::b2d94f93-e580-4f0d-9dda-2138509d25ae" providerId="AD" clId="Web-{1DBB4F16-1CCE-4857-AA6E-634E45949B51}" dt="2022-01-10T12:48:43.484" v="16" actId="14100"/>
          <ac:spMkLst>
            <pc:docMk/>
            <pc:sldMk cId="3758978858" sldId="379"/>
            <ac:spMk id="3" creationId="{D93B70F6-8F9F-4D73-AE2A-A23E51FFBBC3}"/>
          </ac:spMkLst>
        </pc:spChg>
        <pc:picChg chg="add mod">
          <ac:chgData name="WONGYONGLIN91" userId="S::wongyonglin91_gmail.com#ext#@risebcg.onmicrosoft.com::b2d94f93-e580-4f0d-9dda-2138509d25ae" providerId="AD" clId="Web-{1DBB4F16-1CCE-4857-AA6E-634E45949B51}" dt="2022-01-10T12:49:44.001" v="23" actId="14100"/>
          <ac:picMkLst>
            <pc:docMk/>
            <pc:sldMk cId="3758978858" sldId="379"/>
            <ac:picMk id="4" creationId="{645E4C34-8A7C-455C-918F-46EBACD32826}"/>
          </ac:picMkLst>
        </pc:picChg>
        <pc:picChg chg="add mod">
          <ac:chgData name="WONGYONGLIN91" userId="S::wongyonglin91_gmail.com#ext#@risebcg.onmicrosoft.com::b2d94f93-e580-4f0d-9dda-2138509d25ae" providerId="AD" clId="Web-{1DBB4F16-1CCE-4857-AA6E-634E45949B51}" dt="2022-01-10T12:49:59.173" v="26" actId="1076"/>
          <ac:picMkLst>
            <pc:docMk/>
            <pc:sldMk cId="3758978858" sldId="379"/>
            <ac:picMk id="5" creationId="{4C0717A3-F270-40BA-91D9-A08D7039A05B}"/>
          </ac:picMkLst>
        </pc:picChg>
        <pc:picChg chg="add mod">
          <ac:chgData name="WONGYONGLIN91" userId="S::wongyonglin91_gmail.com#ext#@risebcg.onmicrosoft.com::b2d94f93-e580-4f0d-9dda-2138509d25ae" providerId="AD" clId="Web-{1DBB4F16-1CCE-4857-AA6E-634E45949B51}" dt="2022-01-10T12:50:26.267" v="30" actId="1076"/>
          <ac:picMkLst>
            <pc:docMk/>
            <pc:sldMk cId="3758978858" sldId="379"/>
            <ac:picMk id="6" creationId="{18A63D16-B496-4004-AB0A-2AAA668E85F4}"/>
          </ac:picMkLst>
        </pc:picChg>
      </pc:sldChg>
      <pc:sldChg chg="add del">
        <pc:chgData name="WONGYONGLIN91" userId="S::wongyonglin91_gmail.com#ext#@risebcg.onmicrosoft.com::b2d94f93-e580-4f0d-9dda-2138509d25ae" providerId="AD" clId="Web-{1DBB4F16-1CCE-4857-AA6E-634E45949B51}" dt="2022-01-10T12:48:04.014" v="14"/>
        <pc:sldMkLst>
          <pc:docMk/>
          <pc:sldMk cId="1926172623" sldId="380"/>
        </pc:sldMkLst>
      </pc:sldChg>
    </pc:docChg>
  </pc:docChgLst>
  <pc:docChgLst>
    <pc:chgData name="wei yuan" userId="S::pwy_92_hotmail.com#ext#@risebcg.onmicrosoft.com::ca38e7f8-9ace-4d94-b37a-86e65e91f2b0" providerId="AD" clId="Web-{6EAABDA4-EA01-40EA-B2FC-B981EDB1CB4F}"/>
    <pc:docChg chg="addSld modSld">
      <pc:chgData name="wei yuan" userId="S::pwy_92_hotmail.com#ext#@risebcg.onmicrosoft.com::ca38e7f8-9ace-4d94-b37a-86e65e91f2b0" providerId="AD" clId="Web-{6EAABDA4-EA01-40EA-B2FC-B981EDB1CB4F}" dt="2022-01-11T03:06:00.334" v="198"/>
      <pc:docMkLst>
        <pc:docMk/>
      </pc:docMkLst>
      <pc:sldChg chg="addSp modSp">
        <pc:chgData name="wei yuan" userId="S::pwy_92_hotmail.com#ext#@risebcg.onmicrosoft.com::ca38e7f8-9ace-4d94-b37a-86e65e91f2b0" providerId="AD" clId="Web-{6EAABDA4-EA01-40EA-B2FC-B981EDB1CB4F}" dt="2022-01-11T03:02:50.486" v="196" actId="1076"/>
        <pc:sldMkLst>
          <pc:docMk/>
          <pc:sldMk cId="2160415509" sldId="326"/>
        </pc:sldMkLst>
        <pc:picChg chg="mod">
          <ac:chgData name="wei yuan" userId="S::pwy_92_hotmail.com#ext#@risebcg.onmicrosoft.com::ca38e7f8-9ace-4d94-b37a-86e65e91f2b0" providerId="AD" clId="Web-{6EAABDA4-EA01-40EA-B2FC-B981EDB1CB4F}" dt="2022-01-11T03:02:50.486" v="196" actId="1076"/>
          <ac:picMkLst>
            <pc:docMk/>
            <pc:sldMk cId="2160415509" sldId="326"/>
            <ac:picMk id="5" creationId="{3739471E-5215-49A8-8746-A476792E3348}"/>
          </ac:picMkLst>
        </pc:picChg>
        <pc:picChg chg="add mod">
          <ac:chgData name="wei yuan" userId="S::pwy_92_hotmail.com#ext#@risebcg.onmicrosoft.com::ca38e7f8-9ace-4d94-b37a-86e65e91f2b0" providerId="AD" clId="Web-{6EAABDA4-EA01-40EA-B2FC-B981EDB1CB4F}" dt="2022-01-11T03:02:45.329" v="195" actId="1076"/>
          <ac:picMkLst>
            <pc:docMk/>
            <pc:sldMk cId="2160415509" sldId="326"/>
            <ac:picMk id="8" creationId="{BF88B153-D379-4AEB-882A-4640F4183E92}"/>
          </ac:picMkLst>
        </pc:picChg>
      </pc:sldChg>
      <pc:sldChg chg="addSp delSp modSp">
        <pc:chgData name="wei yuan" userId="S::pwy_92_hotmail.com#ext#@risebcg.onmicrosoft.com::ca38e7f8-9ace-4d94-b37a-86e65e91f2b0" providerId="AD" clId="Web-{6EAABDA4-EA01-40EA-B2FC-B981EDB1CB4F}" dt="2022-01-11T02:54:14.441" v="1"/>
        <pc:sldMkLst>
          <pc:docMk/>
          <pc:sldMk cId="744992136" sldId="357"/>
        </pc:sldMkLst>
        <pc:picChg chg="add del mod">
          <ac:chgData name="wei yuan" userId="S::pwy_92_hotmail.com#ext#@risebcg.onmicrosoft.com::ca38e7f8-9ace-4d94-b37a-86e65e91f2b0" providerId="AD" clId="Web-{6EAABDA4-EA01-40EA-B2FC-B981EDB1CB4F}" dt="2022-01-11T02:54:14.441" v="1"/>
          <ac:picMkLst>
            <pc:docMk/>
            <pc:sldMk cId="744992136" sldId="357"/>
            <ac:picMk id="5" creationId="{7A350E79-4E01-43ED-B839-E8643D34875F}"/>
          </ac:picMkLst>
        </pc:picChg>
      </pc:sldChg>
      <pc:sldChg chg="addSp delSp modSp add replId">
        <pc:chgData name="wei yuan" userId="S::pwy_92_hotmail.com#ext#@risebcg.onmicrosoft.com::ca38e7f8-9ace-4d94-b37a-86e65e91f2b0" providerId="AD" clId="Web-{6EAABDA4-EA01-40EA-B2FC-B981EDB1CB4F}" dt="2022-01-11T03:06:00.334" v="198"/>
        <pc:sldMkLst>
          <pc:docMk/>
          <pc:sldMk cId="1042430735" sldId="386"/>
        </pc:sldMkLst>
        <pc:spChg chg="del">
          <ac:chgData name="wei yuan" userId="S::pwy_92_hotmail.com#ext#@risebcg.onmicrosoft.com::ca38e7f8-9ace-4d94-b37a-86e65e91f2b0" providerId="AD" clId="Web-{6EAABDA4-EA01-40EA-B2FC-B981EDB1CB4F}" dt="2022-01-11T02:54:26.317" v="3"/>
          <ac:spMkLst>
            <pc:docMk/>
            <pc:sldMk cId="1042430735" sldId="386"/>
            <ac:spMk id="3" creationId="{3AAD55FA-63B7-4DBA-8DC0-293DEF7C309C}"/>
          </ac:spMkLst>
        </pc:spChg>
        <pc:spChg chg="add mod">
          <ac:chgData name="wei yuan" userId="S::pwy_92_hotmail.com#ext#@risebcg.onmicrosoft.com::ca38e7f8-9ace-4d94-b37a-86e65e91f2b0" providerId="AD" clId="Web-{6EAABDA4-EA01-40EA-B2FC-B981EDB1CB4F}" dt="2022-01-11T02:57:33.368" v="187" actId="20577"/>
          <ac:spMkLst>
            <pc:docMk/>
            <pc:sldMk cId="1042430735" sldId="386"/>
            <ac:spMk id="6" creationId="{1C835B3A-380E-4994-B53F-7959A6AC8E61}"/>
          </ac:spMkLst>
        </pc:spChg>
        <pc:graphicFrameChg chg="add mod modGraphic">
          <ac:chgData name="wei yuan" userId="S::pwy_92_hotmail.com#ext#@risebcg.onmicrosoft.com::ca38e7f8-9ace-4d94-b37a-86e65e91f2b0" providerId="AD" clId="Web-{6EAABDA4-EA01-40EA-B2FC-B981EDB1CB4F}" dt="2022-01-11T03:06:00.334" v="198"/>
          <ac:graphicFrameMkLst>
            <pc:docMk/>
            <pc:sldMk cId="1042430735" sldId="386"/>
            <ac:graphicFrameMk id="8" creationId="{BD3CD10A-81F4-4A69-8AAA-07E4E7005A3F}"/>
          </ac:graphicFrameMkLst>
        </pc:graphicFrameChg>
        <pc:picChg chg="mod">
          <ac:chgData name="wei yuan" userId="S::pwy_92_hotmail.com#ext#@risebcg.onmicrosoft.com::ca38e7f8-9ace-4d94-b37a-86e65e91f2b0" providerId="AD" clId="Web-{6EAABDA4-EA01-40EA-B2FC-B981EDB1CB4F}" dt="2022-01-11T02:55:34.271" v="84" actId="14100"/>
          <ac:picMkLst>
            <pc:docMk/>
            <pc:sldMk cId="1042430735" sldId="386"/>
            <ac:picMk id="4" creationId="{46E58862-E3FD-4841-8757-18ED8AB46909}"/>
          </ac:picMkLst>
        </pc:picChg>
      </pc:sldChg>
    </pc:docChg>
  </pc:docChgLst>
  <pc:docChgLst>
    <pc:chgData name="wei yuan" userId="S::pwy_92_hotmail.com#ext#@risebcg.onmicrosoft.com::ca38e7f8-9ace-4d94-b37a-86e65e91f2b0" providerId="AD" clId="Web-{3DD3E0D8-2C05-47AB-82DF-4BAE0BF55AF8}"/>
    <pc:docChg chg="modSld">
      <pc:chgData name="wei yuan" userId="S::pwy_92_hotmail.com#ext#@risebcg.onmicrosoft.com::ca38e7f8-9ace-4d94-b37a-86e65e91f2b0" providerId="AD" clId="Web-{3DD3E0D8-2C05-47AB-82DF-4BAE0BF55AF8}" dt="2022-01-10T09:04:14.239" v="40" actId="1076"/>
      <pc:docMkLst>
        <pc:docMk/>
      </pc:docMkLst>
      <pc:sldChg chg="modNotes">
        <pc:chgData name="wei yuan" userId="S::pwy_92_hotmail.com#ext#@risebcg.onmicrosoft.com::ca38e7f8-9ace-4d94-b37a-86e65e91f2b0" providerId="AD" clId="Web-{3DD3E0D8-2C05-47AB-82DF-4BAE0BF55AF8}" dt="2022-01-10T08:17:55.083" v="5"/>
        <pc:sldMkLst>
          <pc:docMk/>
          <pc:sldMk cId="2316358039" sldId="325"/>
        </pc:sldMkLst>
      </pc:sldChg>
      <pc:sldChg chg="modNotes">
        <pc:chgData name="wei yuan" userId="S::pwy_92_hotmail.com#ext#@risebcg.onmicrosoft.com::ca38e7f8-9ace-4d94-b37a-86e65e91f2b0" providerId="AD" clId="Web-{3DD3E0D8-2C05-47AB-82DF-4BAE0BF55AF8}" dt="2022-01-10T08:18:26.787" v="17"/>
        <pc:sldMkLst>
          <pc:docMk/>
          <pc:sldMk cId="2160415509" sldId="326"/>
        </pc:sldMkLst>
      </pc:sldChg>
      <pc:sldChg chg="modSp">
        <pc:chgData name="wei yuan" userId="S::pwy_92_hotmail.com#ext#@risebcg.onmicrosoft.com::ca38e7f8-9ace-4d94-b37a-86e65e91f2b0" providerId="AD" clId="Web-{3DD3E0D8-2C05-47AB-82DF-4BAE0BF55AF8}" dt="2022-01-10T09:04:14.239" v="40" actId="1076"/>
        <pc:sldMkLst>
          <pc:docMk/>
          <pc:sldMk cId="165658709" sldId="355"/>
        </pc:sldMkLst>
        <pc:spChg chg="mod">
          <ac:chgData name="wei yuan" userId="S::pwy_92_hotmail.com#ext#@risebcg.onmicrosoft.com::ca38e7f8-9ace-4d94-b37a-86e65e91f2b0" providerId="AD" clId="Web-{3DD3E0D8-2C05-47AB-82DF-4BAE0BF55AF8}" dt="2022-01-10T09:04:12.911" v="39" actId="1076"/>
          <ac:spMkLst>
            <pc:docMk/>
            <pc:sldMk cId="165658709" sldId="355"/>
            <ac:spMk id="25" creationId="{A72C66DB-3DFA-4DD0-BB16-94A4A31F5E94}"/>
          </ac:spMkLst>
        </pc:spChg>
        <pc:picChg chg="mod">
          <ac:chgData name="wei yuan" userId="S::pwy_92_hotmail.com#ext#@risebcg.onmicrosoft.com::ca38e7f8-9ace-4d94-b37a-86e65e91f2b0" providerId="AD" clId="Web-{3DD3E0D8-2C05-47AB-82DF-4BAE0BF55AF8}" dt="2022-01-10T09:04:14.239" v="40" actId="1076"/>
          <ac:picMkLst>
            <pc:docMk/>
            <pc:sldMk cId="165658709" sldId="355"/>
            <ac:picMk id="2" creationId="{BD070F67-C046-4FA4-BC49-57AF06A15A77}"/>
          </ac:picMkLst>
        </pc:picChg>
        <pc:picChg chg="mod">
          <ac:chgData name="wei yuan" userId="S::pwy_92_hotmail.com#ext#@risebcg.onmicrosoft.com::ca38e7f8-9ace-4d94-b37a-86e65e91f2b0" providerId="AD" clId="Web-{3DD3E0D8-2C05-47AB-82DF-4BAE0BF55AF8}" dt="2022-01-10T09:04:10.864" v="38" actId="1076"/>
          <ac:picMkLst>
            <pc:docMk/>
            <pc:sldMk cId="165658709" sldId="355"/>
            <ac:picMk id="15" creationId="{5D59DB1C-172C-47ED-95FD-1E3F001466CE}"/>
          </ac:picMkLst>
        </pc:picChg>
      </pc:sldChg>
      <pc:sldChg chg="modNotes">
        <pc:chgData name="wei yuan" userId="S::pwy_92_hotmail.com#ext#@risebcg.onmicrosoft.com::ca38e7f8-9ace-4d94-b37a-86e65e91f2b0" providerId="AD" clId="Web-{3DD3E0D8-2C05-47AB-82DF-4BAE0BF55AF8}" dt="2022-01-10T08:17:38.223" v="1"/>
        <pc:sldMkLst>
          <pc:docMk/>
          <pc:sldMk cId="1894441827" sldId="358"/>
        </pc:sldMkLst>
      </pc:sldChg>
      <pc:sldChg chg="addSp modSp">
        <pc:chgData name="wei yuan" userId="S::pwy_92_hotmail.com#ext#@risebcg.onmicrosoft.com::ca38e7f8-9ace-4d94-b37a-86e65e91f2b0" providerId="AD" clId="Web-{3DD3E0D8-2C05-47AB-82DF-4BAE0BF55AF8}" dt="2022-01-10T08:43:51.616" v="25" actId="1076"/>
        <pc:sldMkLst>
          <pc:docMk/>
          <pc:sldMk cId="1067422059" sldId="372"/>
        </pc:sldMkLst>
        <pc:spChg chg="add mod">
          <ac:chgData name="wei yuan" userId="S::pwy_92_hotmail.com#ext#@risebcg.onmicrosoft.com::ca38e7f8-9ace-4d94-b37a-86e65e91f2b0" providerId="AD" clId="Web-{3DD3E0D8-2C05-47AB-82DF-4BAE0BF55AF8}" dt="2022-01-10T08:43:51.616" v="24" actId="1076"/>
          <ac:spMkLst>
            <pc:docMk/>
            <pc:sldMk cId="1067422059" sldId="372"/>
            <ac:spMk id="5" creationId="{1F833F2B-3FA0-4C2A-B76F-4329E3133C13}"/>
          </ac:spMkLst>
        </pc:spChg>
        <pc:picChg chg="add mod">
          <ac:chgData name="wei yuan" userId="S::pwy_92_hotmail.com#ext#@risebcg.onmicrosoft.com::ca38e7f8-9ace-4d94-b37a-86e65e91f2b0" providerId="AD" clId="Web-{3DD3E0D8-2C05-47AB-82DF-4BAE0BF55AF8}" dt="2022-01-10T08:43:51.616" v="25" actId="1076"/>
          <ac:picMkLst>
            <pc:docMk/>
            <pc:sldMk cId="1067422059" sldId="372"/>
            <ac:picMk id="7" creationId="{8286D36F-03F0-411F-8CCC-9C83C38408F7}"/>
          </ac:picMkLst>
        </pc:picChg>
      </pc:sldChg>
    </pc:docChg>
  </pc:docChgLst>
  <pc:docChgLst>
    <pc:chgData name="WONGYONGLIN91" userId="S::wongyonglin91_gmail.com#ext#@risebcg.onmicrosoft.com::b2d94f93-e580-4f0d-9dda-2138509d25ae" providerId="AD" clId="Web-{EC2A99E8-D57E-404D-978A-0C90CBE96F0A}"/>
    <pc:docChg chg="addSld delSld modSld">
      <pc:chgData name="WONGYONGLIN91" userId="S::wongyonglin91_gmail.com#ext#@risebcg.onmicrosoft.com::b2d94f93-e580-4f0d-9dda-2138509d25ae" providerId="AD" clId="Web-{EC2A99E8-D57E-404D-978A-0C90CBE96F0A}" dt="2022-01-08T18:36:54.308" v="52" actId="14100"/>
      <pc:docMkLst>
        <pc:docMk/>
      </pc:docMkLst>
      <pc:sldChg chg="del">
        <pc:chgData name="WONGYONGLIN91" userId="S::wongyonglin91_gmail.com#ext#@risebcg.onmicrosoft.com::b2d94f93-e580-4f0d-9dda-2138509d25ae" providerId="AD" clId="Web-{EC2A99E8-D57E-404D-978A-0C90CBE96F0A}" dt="2022-01-08T16:18:53.833" v="1"/>
        <pc:sldMkLst>
          <pc:docMk/>
          <pc:sldMk cId="1227236751" sldId="356"/>
        </pc:sldMkLst>
      </pc:sldChg>
      <pc:sldChg chg="addSp delSp modSp">
        <pc:chgData name="WONGYONGLIN91" userId="S::wongyonglin91_gmail.com#ext#@risebcg.onmicrosoft.com::b2d94f93-e580-4f0d-9dda-2138509d25ae" providerId="AD" clId="Web-{EC2A99E8-D57E-404D-978A-0C90CBE96F0A}" dt="2022-01-08T18:36:54.308" v="52" actId="14100"/>
        <pc:sldMkLst>
          <pc:docMk/>
          <pc:sldMk cId="1894441827" sldId="358"/>
        </pc:sldMkLst>
        <pc:spChg chg="mod">
          <ac:chgData name="WONGYONGLIN91" userId="S::wongyonglin91_gmail.com#ext#@risebcg.onmicrosoft.com::b2d94f93-e580-4f0d-9dda-2138509d25ae" providerId="AD" clId="Web-{EC2A99E8-D57E-404D-978A-0C90CBE96F0A}" dt="2022-01-08T18:31:59.862" v="34" actId="1076"/>
          <ac:spMkLst>
            <pc:docMk/>
            <pc:sldMk cId="1894441827" sldId="358"/>
            <ac:spMk id="10" creationId="{42FB9C20-3D6F-40FF-ABFC-89E5858742B1}"/>
          </ac:spMkLst>
        </pc:spChg>
        <pc:spChg chg="mod">
          <ac:chgData name="WONGYONGLIN91" userId="S::wongyonglin91_gmail.com#ext#@risebcg.onmicrosoft.com::b2d94f93-e580-4f0d-9dda-2138509d25ae" providerId="AD" clId="Web-{EC2A99E8-D57E-404D-978A-0C90CBE96F0A}" dt="2022-01-08T18:24:39.059" v="31" actId="1076"/>
          <ac:spMkLst>
            <pc:docMk/>
            <pc:sldMk cId="1894441827" sldId="358"/>
            <ac:spMk id="12" creationId="{95E46411-4A0C-41AA-9250-790D71323EA7}"/>
          </ac:spMkLst>
        </pc:spChg>
        <pc:spChg chg="mod">
          <ac:chgData name="WONGYONGLIN91" userId="S::wongyonglin91_gmail.com#ext#@risebcg.onmicrosoft.com::b2d94f93-e580-4f0d-9dda-2138509d25ae" providerId="AD" clId="Web-{EC2A99E8-D57E-404D-978A-0C90CBE96F0A}" dt="2022-01-08T18:32:05.659" v="35" actId="1076"/>
          <ac:spMkLst>
            <pc:docMk/>
            <pc:sldMk cId="1894441827" sldId="358"/>
            <ac:spMk id="17" creationId="{815F3179-193A-4F5E-A1A9-12297C608458}"/>
          </ac:spMkLst>
        </pc:spChg>
        <pc:picChg chg="add del mod">
          <ac:chgData name="WONGYONGLIN91" userId="S::wongyonglin91_gmail.com#ext#@risebcg.onmicrosoft.com::b2d94f93-e580-4f0d-9dda-2138509d25ae" providerId="AD" clId="Web-{EC2A99E8-D57E-404D-978A-0C90CBE96F0A}" dt="2022-01-08T18:20:06.770" v="14"/>
          <ac:picMkLst>
            <pc:docMk/>
            <pc:sldMk cId="1894441827" sldId="358"/>
            <ac:picMk id="4" creationId="{0A2CEA9C-3B44-4930-8C81-9261CEA29D54}"/>
          </ac:picMkLst>
        </pc:picChg>
        <pc:picChg chg="add del mod">
          <ac:chgData name="WONGYONGLIN91" userId="S::wongyonglin91_gmail.com#ext#@risebcg.onmicrosoft.com::b2d94f93-e580-4f0d-9dda-2138509d25ae" providerId="AD" clId="Web-{EC2A99E8-D57E-404D-978A-0C90CBE96F0A}" dt="2022-01-08T18:35:48.244" v="45"/>
          <ac:picMkLst>
            <pc:docMk/>
            <pc:sldMk cId="1894441827" sldId="358"/>
            <ac:picMk id="6" creationId="{C94AA325-23D9-4628-A982-751B8727F001}"/>
          </ac:picMkLst>
        </pc:picChg>
        <pc:picChg chg="add del mod">
          <ac:chgData name="WONGYONGLIN91" userId="S::wongyonglin91_gmail.com#ext#@risebcg.onmicrosoft.com::b2d94f93-e580-4f0d-9dda-2138509d25ae" providerId="AD" clId="Web-{EC2A99E8-D57E-404D-978A-0C90CBE96F0A}" dt="2022-01-08T18:35:51.009" v="46"/>
          <ac:picMkLst>
            <pc:docMk/>
            <pc:sldMk cId="1894441827" sldId="358"/>
            <ac:picMk id="7" creationId="{0C442316-BA83-4A6C-8E4B-61FE22300DF2}"/>
          </ac:picMkLst>
        </pc:picChg>
        <pc:picChg chg="del">
          <ac:chgData name="WONGYONGLIN91" userId="S::wongyonglin91_gmail.com#ext#@risebcg.onmicrosoft.com::b2d94f93-e580-4f0d-9dda-2138509d25ae" providerId="AD" clId="Web-{EC2A99E8-D57E-404D-978A-0C90CBE96F0A}" dt="2022-01-08T18:03:31.236" v="13"/>
          <ac:picMkLst>
            <pc:docMk/>
            <pc:sldMk cId="1894441827" sldId="358"/>
            <ac:picMk id="7" creationId="{F2806C6D-F724-4DED-AEF0-61ECCAB05DB6}"/>
          </ac:picMkLst>
        </pc:picChg>
        <pc:picChg chg="del">
          <ac:chgData name="WONGYONGLIN91" userId="S::wongyonglin91_gmail.com#ext#@risebcg.onmicrosoft.com::b2d94f93-e580-4f0d-9dda-2138509d25ae" providerId="AD" clId="Web-{EC2A99E8-D57E-404D-978A-0C90CBE96F0A}" dt="2022-01-08T16:19:07.489" v="3"/>
          <ac:picMkLst>
            <pc:docMk/>
            <pc:sldMk cId="1894441827" sldId="358"/>
            <ac:picMk id="8" creationId="{1C37FA25-553F-4164-8C97-7E76EEDF8003}"/>
          </ac:picMkLst>
        </pc:picChg>
        <pc:picChg chg="add mod">
          <ac:chgData name="WONGYONGLIN91" userId="S::wongyonglin91_gmail.com#ext#@risebcg.onmicrosoft.com::b2d94f93-e580-4f0d-9dda-2138509d25ae" providerId="AD" clId="Web-{EC2A99E8-D57E-404D-978A-0C90CBE96F0A}" dt="2022-01-08T18:33:12.599" v="39" actId="1076"/>
          <ac:picMkLst>
            <pc:docMk/>
            <pc:sldMk cId="1894441827" sldId="358"/>
            <ac:picMk id="8" creationId="{80090A9D-A882-4EB8-927C-696FEDD289AC}"/>
          </ac:picMkLst>
        </pc:picChg>
        <pc:picChg chg="add mod">
          <ac:chgData name="WONGYONGLIN91" userId="S::wongyonglin91_gmail.com#ext#@risebcg.onmicrosoft.com::b2d94f93-e580-4f0d-9dda-2138509d25ae" providerId="AD" clId="Web-{EC2A99E8-D57E-404D-978A-0C90CBE96F0A}" dt="2022-01-08T18:34:40.742" v="44" actId="14100"/>
          <ac:picMkLst>
            <pc:docMk/>
            <pc:sldMk cId="1894441827" sldId="358"/>
            <ac:picMk id="9" creationId="{AE0C5261-EE51-4A4C-8F2E-CF83910177AF}"/>
          </ac:picMkLst>
        </pc:picChg>
        <pc:picChg chg="del">
          <ac:chgData name="WONGYONGLIN91" userId="S::wongyonglin91_gmail.com#ext#@risebcg.onmicrosoft.com::b2d94f93-e580-4f0d-9dda-2138509d25ae" providerId="AD" clId="Web-{EC2A99E8-D57E-404D-978A-0C90CBE96F0A}" dt="2022-01-08T16:20:09.178" v="6"/>
          <ac:picMkLst>
            <pc:docMk/>
            <pc:sldMk cId="1894441827" sldId="358"/>
            <ac:picMk id="11" creationId="{B9CA3DF6-D1DE-4B59-9A07-B34CE4EC9917}"/>
          </ac:picMkLst>
        </pc:picChg>
        <pc:picChg chg="add mod">
          <ac:chgData name="WONGYONGLIN91" userId="S::wongyonglin91_gmail.com#ext#@risebcg.onmicrosoft.com::b2d94f93-e580-4f0d-9dda-2138509d25ae" providerId="AD" clId="Web-{EC2A99E8-D57E-404D-978A-0C90CBE96F0A}" dt="2022-01-08T18:36:15.260" v="49" actId="14100"/>
          <ac:picMkLst>
            <pc:docMk/>
            <pc:sldMk cId="1894441827" sldId="358"/>
            <ac:picMk id="11" creationId="{BCAB455B-1F72-43F9-AE57-6EC5913938BF}"/>
          </ac:picMkLst>
        </pc:picChg>
        <pc:picChg chg="add mod">
          <ac:chgData name="WONGYONGLIN91" userId="S::wongyonglin91_gmail.com#ext#@risebcg.onmicrosoft.com::b2d94f93-e580-4f0d-9dda-2138509d25ae" providerId="AD" clId="Web-{EC2A99E8-D57E-404D-978A-0C90CBE96F0A}" dt="2022-01-08T18:36:54.308" v="52" actId="14100"/>
          <ac:picMkLst>
            <pc:docMk/>
            <pc:sldMk cId="1894441827" sldId="358"/>
            <ac:picMk id="13" creationId="{527B4510-4D9B-455A-B6C2-3238A0275F12}"/>
          </ac:picMkLst>
        </pc:picChg>
        <pc:picChg chg="del">
          <ac:chgData name="WONGYONGLIN91" userId="S::wongyonglin91_gmail.com#ext#@risebcg.onmicrosoft.com::b2d94f93-e580-4f0d-9dda-2138509d25ae" providerId="AD" clId="Web-{EC2A99E8-D57E-404D-978A-0C90CBE96F0A}" dt="2022-01-08T16:19:06.771" v="2"/>
          <ac:picMkLst>
            <pc:docMk/>
            <pc:sldMk cId="1894441827" sldId="358"/>
            <ac:picMk id="13" creationId="{6031EC29-FB42-4498-A4A9-E35C4E061CC4}"/>
          </ac:picMkLst>
        </pc:picChg>
        <pc:cxnChg chg="mod">
          <ac:chgData name="WONGYONGLIN91" userId="S::wongyonglin91_gmail.com#ext#@risebcg.onmicrosoft.com::b2d94f93-e580-4f0d-9dda-2138509d25ae" providerId="AD" clId="Web-{EC2A99E8-D57E-404D-978A-0C90CBE96F0A}" dt="2022-01-08T18:31:37.909" v="33" actId="14100"/>
          <ac:cxnSpMkLst>
            <pc:docMk/>
            <pc:sldMk cId="1894441827" sldId="358"/>
            <ac:cxnSpMk id="5" creationId="{7650244C-E06B-41BA-A77C-2D20639EA927}"/>
          </ac:cxnSpMkLst>
        </pc:cxnChg>
      </pc:sldChg>
      <pc:sldChg chg="add replId">
        <pc:chgData name="WONGYONGLIN91" userId="S::wongyonglin91_gmail.com#ext#@risebcg.onmicrosoft.com::b2d94f93-e580-4f0d-9dda-2138509d25ae" providerId="AD" clId="Web-{EC2A99E8-D57E-404D-978A-0C90CBE96F0A}" dt="2022-01-08T16:17:37.284" v="0"/>
        <pc:sldMkLst>
          <pc:docMk/>
          <pc:sldMk cId="373009354" sldId="359"/>
        </pc:sldMkLst>
      </pc:sldChg>
    </pc:docChg>
  </pc:docChgLst>
  <pc:docChgLst>
    <pc:chgData name="COSMOSFREN" userId="S::cosmosfren_yahoo.com#ext#@risebcg.onmicrosoft.com::5462f5f4-f618-47aa-abd8-fd504e002570" providerId="AD" clId="Web-{A04A7C58-4B19-43AE-8D7D-EDF22096B44C}"/>
    <pc:docChg chg="addSld delSld modSld sldOrd">
      <pc:chgData name="COSMOSFREN" userId="S::cosmosfren_yahoo.com#ext#@risebcg.onmicrosoft.com::5462f5f4-f618-47aa-abd8-fd504e002570" providerId="AD" clId="Web-{A04A7C58-4B19-43AE-8D7D-EDF22096B44C}" dt="2022-01-12T01:09:46.013" v="839" actId="1076"/>
      <pc:docMkLst>
        <pc:docMk/>
      </pc:docMkLst>
      <pc:sldChg chg="modSp">
        <pc:chgData name="COSMOSFREN" userId="S::cosmosfren_yahoo.com#ext#@risebcg.onmicrosoft.com::5462f5f4-f618-47aa-abd8-fd504e002570" providerId="AD" clId="Web-{A04A7C58-4B19-43AE-8D7D-EDF22096B44C}" dt="2022-01-12T00:40:18.234" v="241" actId="20577"/>
        <pc:sldMkLst>
          <pc:docMk/>
          <pc:sldMk cId="2023673819" sldId="276"/>
        </pc:sldMkLst>
        <pc:spChg chg="mod">
          <ac:chgData name="COSMOSFREN" userId="S::cosmosfren_yahoo.com#ext#@risebcg.onmicrosoft.com::5462f5f4-f618-47aa-abd8-fd504e002570" providerId="AD" clId="Web-{A04A7C58-4B19-43AE-8D7D-EDF22096B44C}" dt="2022-01-12T00:40:18.234" v="241" actId="20577"/>
          <ac:spMkLst>
            <pc:docMk/>
            <pc:sldMk cId="2023673819" sldId="276"/>
            <ac:spMk id="4" creationId="{00000000-0000-0000-0000-000000000000}"/>
          </ac:spMkLst>
        </pc:spChg>
      </pc:sldChg>
      <pc:sldChg chg="modSp add del">
        <pc:chgData name="COSMOSFREN" userId="S::cosmosfren_yahoo.com#ext#@risebcg.onmicrosoft.com::5462f5f4-f618-47aa-abd8-fd504e002570" providerId="AD" clId="Web-{A04A7C58-4B19-43AE-8D7D-EDF22096B44C}" dt="2022-01-12T00:44:33.675" v="294" actId="20577"/>
        <pc:sldMkLst>
          <pc:docMk/>
          <pc:sldMk cId="1771006094" sldId="285"/>
        </pc:sldMkLst>
        <pc:spChg chg="mod">
          <ac:chgData name="COSMOSFREN" userId="S::cosmosfren_yahoo.com#ext#@risebcg.onmicrosoft.com::5462f5f4-f618-47aa-abd8-fd504e002570" providerId="AD" clId="Web-{A04A7C58-4B19-43AE-8D7D-EDF22096B44C}" dt="2022-01-12T00:44:33.675" v="294" actId="20577"/>
          <ac:spMkLst>
            <pc:docMk/>
            <pc:sldMk cId="1771006094" sldId="285"/>
            <ac:spMk id="4" creationId="{00000000-0000-0000-0000-000000000000}"/>
          </ac:spMkLst>
        </pc:spChg>
      </pc:sldChg>
      <pc:sldChg chg="modSp">
        <pc:chgData name="COSMOSFREN" userId="S::cosmosfren_yahoo.com#ext#@risebcg.onmicrosoft.com::5462f5f4-f618-47aa-abd8-fd504e002570" providerId="AD" clId="Web-{A04A7C58-4B19-43AE-8D7D-EDF22096B44C}" dt="2022-01-12T00:55:53.203" v="564" actId="14100"/>
        <pc:sldMkLst>
          <pc:docMk/>
          <pc:sldMk cId="2256265757" sldId="315"/>
        </pc:sldMkLst>
        <pc:graphicFrameChg chg="mod modGraphic">
          <ac:chgData name="COSMOSFREN" userId="S::cosmosfren_yahoo.com#ext#@risebcg.onmicrosoft.com::5462f5f4-f618-47aa-abd8-fd504e002570" providerId="AD" clId="Web-{A04A7C58-4B19-43AE-8D7D-EDF22096B44C}" dt="2022-01-12T00:55:53.203" v="564" actId="14100"/>
          <ac:graphicFrameMkLst>
            <pc:docMk/>
            <pc:sldMk cId="2256265757" sldId="315"/>
            <ac:graphicFrameMk id="5" creationId="{7108A9FD-B557-4083-86FF-9C8FBDE66455}"/>
          </ac:graphicFrameMkLst>
        </pc:graphicFrameChg>
      </pc:sldChg>
      <pc:sldChg chg="modSp modNotes">
        <pc:chgData name="COSMOSFREN" userId="S::cosmosfren_yahoo.com#ext#@risebcg.onmicrosoft.com::5462f5f4-f618-47aa-abd8-fd504e002570" providerId="AD" clId="Web-{A04A7C58-4B19-43AE-8D7D-EDF22096B44C}" dt="2022-01-12T01:08:09.621" v="773" actId="20577"/>
        <pc:sldMkLst>
          <pc:docMk/>
          <pc:sldMk cId="3666302761" sldId="324"/>
        </pc:sldMkLst>
        <pc:spChg chg="mod">
          <ac:chgData name="COSMOSFREN" userId="S::cosmosfren_yahoo.com#ext#@risebcg.onmicrosoft.com::5462f5f4-f618-47aa-abd8-fd504e002570" providerId="AD" clId="Web-{A04A7C58-4B19-43AE-8D7D-EDF22096B44C}" dt="2022-01-12T01:08:09.621" v="773" actId="20577"/>
          <ac:spMkLst>
            <pc:docMk/>
            <pc:sldMk cId="3666302761" sldId="324"/>
            <ac:spMk id="7" creationId="{5040411B-0A54-429E-94AB-0F4DA7C1917E}"/>
          </ac:spMkLst>
        </pc:spChg>
        <pc:picChg chg="mod">
          <ac:chgData name="COSMOSFREN" userId="S::cosmosfren_yahoo.com#ext#@risebcg.onmicrosoft.com::5462f5f4-f618-47aa-abd8-fd504e002570" providerId="AD" clId="Web-{A04A7C58-4B19-43AE-8D7D-EDF22096B44C}" dt="2022-01-12T01:07:58.402" v="766" actId="14100"/>
          <ac:picMkLst>
            <pc:docMk/>
            <pc:sldMk cId="3666302761" sldId="324"/>
            <ac:picMk id="15" creationId="{5D59DB1C-172C-47ED-95FD-1E3F001466CE}"/>
          </ac:picMkLst>
        </pc:picChg>
      </pc:sldChg>
      <pc:sldChg chg="modSp">
        <pc:chgData name="COSMOSFREN" userId="S::cosmosfren_yahoo.com#ext#@risebcg.onmicrosoft.com::5462f5f4-f618-47aa-abd8-fd504e002570" providerId="AD" clId="Web-{A04A7C58-4B19-43AE-8D7D-EDF22096B44C}" dt="2022-01-12T01:09:46.013" v="839" actId="1076"/>
        <pc:sldMkLst>
          <pc:docMk/>
          <pc:sldMk cId="2316358039" sldId="325"/>
        </pc:sldMkLst>
        <pc:spChg chg="mod">
          <ac:chgData name="COSMOSFREN" userId="S::cosmosfren_yahoo.com#ext#@risebcg.onmicrosoft.com::5462f5f4-f618-47aa-abd8-fd504e002570" providerId="AD" clId="Web-{A04A7C58-4B19-43AE-8D7D-EDF22096B44C}" dt="2022-01-12T01:09:31.466" v="837" actId="14100"/>
          <ac:spMkLst>
            <pc:docMk/>
            <pc:sldMk cId="2316358039" sldId="325"/>
            <ac:spMk id="5" creationId="{66362E8C-07A8-4B97-87C8-091A9FDB599A}"/>
          </ac:spMkLst>
        </pc:spChg>
        <pc:spChg chg="mod">
          <ac:chgData name="COSMOSFREN" userId="S::cosmosfren_yahoo.com#ext#@risebcg.onmicrosoft.com::5462f5f4-f618-47aa-abd8-fd504e002570" providerId="AD" clId="Web-{A04A7C58-4B19-43AE-8D7D-EDF22096B44C}" dt="2022-01-12T01:09:46.013" v="839" actId="1076"/>
          <ac:spMkLst>
            <pc:docMk/>
            <pc:sldMk cId="2316358039" sldId="325"/>
            <ac:spMk id="7" creationId="{94FE5CC3-34DB-4563-9D82-37FBEA4166BF}"/>
          </ac:spMkLst>
        </pc:spChg>
        <pc:spChg chg="mod">
          <ac:chgData name="COSMOSFREN" userId="S::cosmosfren_yahoo.com#ext#@risebcg.onmicrosoft.com::5462f5f4-f618-47aa-abd8-fd504e002570" providerId="AD" clId="Web-{A04A7C58-4B19-43AE-8D7D-EDF22096B44C}" dt="2022-01-12T01:09:42.154" v="838" actId="1076"/>
          <ac:spMkLst>
            <pc:docMk/>
            <pc:sldMk cId="2316358039" sldId="325"/>
            <ac:spMk id="8" creationId="{AFEC3007-62B5-48C0-BCC6-E98808527E58}"/>
          </ac:spMkLst>
        </pc:spChg>
      </pc:sldChg>
      <pc:sldChg chg="modSp modNotes">
        <pc:chgData name="COSMOSFREN" userId="S::cosmosfren_yahoo.com#ext#@risebcg.onmicrosoft.com::5462f5f4-f618-47aa-abd8-fd504e002570" providerId="AD" clId="Web-{A04A7C58-4B19-43AE-8D7D-EDF22096B44C}" dt="2022-01-12T01:09:11.638" v="823" actId="20577"/>
        <pc:sldMkLst>
          <pc:docMk/>
          <pc:sldMk cId="2160415509" sldId="326"/>
        </pc:sldMkLst>
        <pc:spChg chg="mod">
          <ac:chgData name="COSMOSFREN" userId="S::cosmosfren_yahoo.com#ext#@risebcg.onmicrosoft.com::5462f5f4-f618-47aa-abd8-fd504e002570" providerId="AD" clId="Web-{A04A7C58-4B19-43AE-8D7D-EDF22096B44C}" dt="2022-01-12T01:09:11.638" v="823" actId="20577"/>
          <ac:spMkLst>
            <pc:docMk/>
            <pc:sldMk cId="2160415509" sldId="326"/>
            <ac:spMk id="2" creationId="{ED14AA63-35D8-4136-8B2F-DE1837A583A2}"/>
          </ac:spMkLst>
        </pc:spChg>
      </pc:sldChg>
      <pc:sldChg chg="delSp">
        <pc:chgData name="COSMOSFREN" userId="S::cosmosfren_yahoo.com#ext#@risebcg.onmicrosoft.com::5462f5f4-f618-47aa-abd8-fd504e002570" providerId="AD" clId="Web-{A04A7C58-4B19-43AE-8D7D-EDF22096B44C}" dt="2022-01-12T00:58:47.096" v="599"/>
        <pc:sldMkLst>
          <pc:docMk/>
          <pc:sldMk cId="3391215681" sldId="339"/>
        </pc:sldMkLst>
        <pc:spChg chg="del">
          <ac:chgData name="COSMOSFREN" userId="S::cosmosfren_yahoo.com#ext#@risebcg.onmicrosoft.com::5462f5f4-f618-47aa-abd8-fd504e002570" providerId="AD" clId="Web-{A04A7C58-4B19-43AE-8D7D-EDF22096B44C}" dt="2022-01-12T00:58:47.096" v="599"/>
          <ac:spMkLst>
            <pc:docMk/>
            <pc:sldMk cId="3391215681" sldId="339"/>
            <ac:spMk id="124" creationId="{C91A31F3-23FB-421F-8BC0-FD3F5F868D91}"/>
          </ac:spMkLst>
        </pc:spChg>
      </pc:sldChg>
      <pc:sldChg chg="modSp">
        <pc:chgData name="COSMOSFREN" userId="S::cosmosfren_yahoo.com#ext#@risebcg.onmicrosoft.com::5462f5f4-f618-47aa-abd8-fd504e002570" providerId="AD" clId="Web-{A04A7C58-4B19-43AE-8D7D-EDF22096B44C}" dt="2022-01-12T01:01:07.223" v="626" actId="20577"/>
        <pc:sldMkLst>
          <pc:docMk/>
          <pc:sldMk cId="3531645893" sldId="360"/>
        </pc:sldMkLst>
        <pc:spChg chg="mod">
          <ac:chgData name="COSMOSFREN" userId="S::cosmosfren_yahoo.com#ext#@risebcg.onmicrosoft.com::5462f5f4-f618-47aa-abd8-fd504e002570" providerId="AD" clId="Web-{A04A7C58-4B19-43AE-8D7D-EDF22096B44C}" dt="2022-01-12T01:01:07.223" v="626" actId="20577"/>
          <ac:spMkLst>
            <pc:docMk/>
            <pc:sldMk cId="3531645893" sldId="360"/>
            <ac:spMk id="15" creationId="{EA512C5C-B61E-4EDE-A2CD-308BFA2920DA}"/>
          </ac:spMkLst>
        </pc:spChg>
        <pc:spChg chg="mod">
          <ac:chgData name="COSMOSFREN" userId="S::cosmosfren_yahoo.com#ext#@risebcg.onmicrosoft.com::5462f5f4-f618-47aa-abd8-fd504e002570" providerId="AD" clId="Web-{A04A7C58-4B19-43AE-8D7D-EDF22096B44C}" dt="2022-01-12T00:59:44.425" v="603" actId="20577"/>
          <ac:spMkLst>
            <pc:docMk/>
            <pc:sldMk cId="3531645893" sldId="360"/>
            <ac:spMk id="21" creationId="{3B725847-CDC2-41AB-A059-69A3E5F93F82}"/>
          </ac:spMkLst>
        </pc:spChg>
      </pc:sldChg>
      <pc:sldChg chg="modSp modNotes">
        <pc:chgData name="COSMOSFREN" userId="S::cosmosfren_yahoo.com#ext#@risebcg.onmicrosoft.com::5462f5f4-f618-47aa-abd8-fd504e002570" providerId="AD" clId="Web-{A04A7C58-4B19-43AE-8D7D-EDF22096B44C}" dt="2022-01-12T00:51:50.542" v="493" actId="20577"/>
        <pc:sldMkLst>
          <pc:docMk/>
          <pc:sldMk cId="531825606" sldId="383"/>
        </pc:sldMkLst>
        <pc:spChg chg="mod">
          <ac:chgData name="COSMOSFREN" userId="S::cosmosfren_yahoo.com#ext#@risebcg.onmicrosoft.com::5462f5f4-f618-47aa-abd8-fd504e002570" providerId="AD" clId="Web-{A04A7C58-4B19-43AE-8D7D-EDF22096B44C}" dt="2022-01-12T00:51:50.542" v="493" actId="20577"/>
          <ac:spMkLst>
            <pc:docMk/>
            <pc:sldMk cId="531825606" sldId="383"/>
            <ac:spMk id="3" creationId="{9771EDC6-5C2F-4F03-A28A-6F11306CF575}"/>
          </ac:spMkLst>
        </pc:spChg>
        <pc:spChg chg="mod">
          <ac:chgData name="COSMOSFREN" userId="S::cosmosfren_yahoo.com#ext#@risebcg.onmicrosoft.com::5462f5f4-f618-47aa-abd8-fd504e002570" providerId="AD" clId="Web-{A04A7C58-4B19-43AE-8D7D-EDF22096B44C}" dt="2022-01-12T00:33:01.679" v="6" actId="20577"/>
          <ac:spMkLst>
            <pc:docMk/>
            <pc:sldMk cId="531825606" sldId="383"/>
            <ac:spMk id="5" creationId="{91143AFA-D739-4BBB-A32B-96E9A56D82A0}"/>
          </ac:spMkLst>
        </pc:spChg>
        <pc:spChg chg="mod">
          <ac:chgData name="COSMOSFREN" userId="S::cosmosfren_yahoo.com#ext#@risebcg.onmicrosoft.com::5462f5f4-f618-47aa-abd8-fd504e002570" providerId="AD" clId="Web-{A04A7C58-4B19-43AE-8D7D-EDF22096B44C}" dt="2022-01-12T00:51:24.104" v="492" actId="20577"/>
          <ac:spMkLst>
            <pc:docMk/>
            <pc:sldMk cId="531825606" sldId="383"/>
            <ac:spMk id="6" creationId="{761B91DD-2C3B-47A2-8990-376057A7535F}"/>
          </ac:spMkLst>
        </pc:spChg>
      </pc:sldChg>
      <pc:sldChg chg="del">
        <pc:chgData name="COSMOSFREN" userId="S::cosmosfren_yahoo.com#ext#@risebcg.onmicrosoft.com::5462f5f4-f618-47aa-abd8-fd504e002570" providerId="AD" clId="Web-{A04A7C58-4B19-43AE-8D7D-EDF22096B44C}" dt="2022-01-12T00:41:10.750" v="247"/>
        <pc:sldMkLst>
          <pc:docMk/>
          <pc:sldMk cId="3911111002" sldId="389"/>
        </pc:sldMkLst>
      </pc:sldChg>
      <pc:sldChg chg="addSp modSp ord">
        <pc:chgData name="COSMOSFREN" userId="S::cosmosfren_yahoo.com#ext#@risebcg.onmicrosoft.com::5462f5f4-f618-47aa-abd8-fd504e002570" providerId="AD" clId="Web-{A04A7C58-4B19-43AE-8D7D-EDF22096B44C}" dt="2022-01-12T01:02:35.694" v="627" actId="1076"/>
        <pc:sldMkLst>
          <pc:docMk/>
          <pc:sldMk cId="59737257" sldId="391"/>
        </pc:sldMkLst>
        <pc:spChg chg="add mod">
          <ac:chgData name="COSMOSFREN" userId="S::cosmosfren_yahoo.com#ext#@risebcg.onmicrosoft.com::5462f5f4-f618-47aa-abd8-fd504e002570" providerId="AD" clId="Web-{A04A7C58-4B19-43AE-8D7D-EDF22096B44C}" dt="2022-01-12T01:02:35.694" v="627" actId="1076"/>
          <ac:spMkLst>
            <pc:docMk/>
            <pc:sldMk cId="59737257" sldId="391"/>
            <ac:spMk id="2" creationId="{5D0182D1-30C4-437B-85CD-3079C8C4FB8A}"/>
          </ac:spMkLst>
        </pc:spChg>
      </pc:sldChg>
      <pc:sldChg chg="addSp delSp modSp add del replId">
        <pc:chgData name="COSMOSFREN" userId="S::cosmosfren_yahoo.com#ext#@risebcg.onmicrosoft.com::5462f5f4-f618-47aa-abd8-fd504e002570" providerId="AD" clId="Web-{A04A7C58-4B19-43AE-8D7D-EDF22096B44C}" dt="2022-01-12T00:42:11.329" v="268"/>
        <pc:sldMkLst>
          <pc:docMk/>
          <pc:sldMk cId="1037971239" sldId="392"/>
        </pc:sldMkLst>
        <pc:spChg chg="add mod">
          <ac:chgData name="COSMOSFREN" userId="S::cosmosfren_yahoo.com#ext#@risebcg.onmicrosoft.com::5462f5f4-f618-47aa-abd8-fd504e002570" providerId="AD" clId="Web-{A04A7C58-4B19-43AE-8D7D-EDF22096B44C}" dt="2022-01-12T00:41:18.985" v="249"/>
          <ac:spMkLst>
            <pc:docMk/>
            <pc:sldMk cId="1037971239" sldId="392"/>
            <ac:spMk id="2" creationId="{40D6FFB2-E600-46DE-BD96-361F4DEC9C2A}"/>
          </ac:spMkLst>
        </pc:spChg>
        <pc:spChg chg="add">
          <ac:chgData name="COSMOSFREN" userId="S::cosmosfren_yahoo.com#ext#@risebcg.onmicrosoft.com::5462f5f4-f618-47aa-abd8-fd504e002570" providerId="AD" clId="Web-{A04A7C58-4B19-43AE-8D7D-EDF22096B44C}" dt="2022-01-12T00:41:15.157" v="248"/>
          <ac:spMkLst>
            <pc:docMk/>
            <pc:sldMk cId="1037971239" sldId="392"/>
            <ac:spMk id="3" creationId="{DC731A72-43D4-4443-8901-3F9EAD779CC4}"/>
          </ac:spMkLst>
        </pc:spChg>
        <pc:spChg chg="del">
          <ac:chgData name="COSMOSFREN" userId="S::cosmosfren_yahoo.com#ext#@risebcg.onmicrosoft.com::5462f5f4-f618-47aa-abd8-fd504e002570" providerId="AD" clId="Web-{A04A7C58-4B19-43AE-8D7D-EDF22096B44C}" dt="2022-01-12T00:40:59.250" v="245"/>
          <ac:spMkLst>
            <pc:docMk/>
            <pc:sldMk cId="1037971239" sldId="392"/>
            <ac:spMk id="4" creationId="{00000000-0000-0000-0000-000000000000}"/>
          </ac:spMkLst>
        </pc:spChg>
      </pc:sldChg>
      <pc:sldChg chg="addSp delSp modSp add replId">
        <pc:chgData name="COSMOSFREN" userId="S::cosmosfren_yahoo.com#ext#@risebcg.onmicrosoft.com::5462f5f4-f618-47aa-abd8-fd504e002570" providerId="AD" clId="Web-{A04A7C58-4B19-43AE-8D7D-EDF22096B44C}" dt="2022-01-12T00:44:28.175" v="293" actId="20577"/>
        <pc:sldMkLst>
          <pc:docMk/>
          <pc:sldMk cId="1898696112" sldId="393"/>
        </pc:sldMkLst>
        <pc:spChg chg="del mod">
          <ac:chgData name="COSMOSFREN" userId="S::cosmosfren_yahoo.com#ext#@risebcg.onmicrosoft.com::5462f5f4-f618-47aa-abd8-fd504e002570" providerId="AD" clId="Web-{A04A7C58-4B19-43AE-8D7D-EDF22096B44C}" dt="2022-01-12T00:41:46.095" v="252"/>
          <ac:spMkLst>
            <pc:docMk/>
            <pc:sldMk cId="1898696112" sldId="393"/>
            <ac:spMk id="4" creationId="{00000000-0000-0000-0000-000000000000}"/>
          </ac:spMkLst>
        </pc:spChg>
        <pc:spChg chg="add mod">
          <ac:chgData name="COSMOSFREN" userId="S::cosmosfren_yahoo.com#ext#@risebcg.onmicrosoft.com::5462f5f4-f618-47aa-abd8-fd504e002570" providerId="AD" clId="Web-{A04A7C58-4B19-43AE-8D7D-EDF22096B44C}" dt="2022-01-12T00:44:28.175" v="293" actId="20577"/>
          <ac:spMkLst>
            <pc:docMk/>
            <pc:sldMk cId="1898696112" sldId="393"/>
            <ac:spMk id="8" creationId="{C10ABD20-C2BA-45B3-83F6-BF443039A7A7}"/>
          </ac:spMkLst>
        </pc:spChg>
        <pc:spChg chg="del">
          <ac:chgData name="COSMOSFREN" userId="S::cosmosfren_yahoo.com#ext#@risebcg.onmicrosoft.com::5462f5f4-f618-47aa-abd8-fd504e002570" providerId="AD" clId="Web-{A04A7C58-4B19-43AE-8D7D-EDF22096B44C}" dt="2022-01-12T00:41:51.907" v="259"/>
          <ac:spMkLst>
            <pc:docMk/>
            <pc:sldMk cId="1898696112" sldId="393"/>
            <ac:spMk id="12" creationId="{37DA543D-B133-4F70-B151-E0C93A1C5ADF}"/>
          </ac:spMkLst>
        </pc:spChg>
        <pc:spChg chg="del">
          <ac:chgData name="COSMOSFREN" userId="S::cosmosfren_yahoo.com#ext#@risebcg.onmicrosoft.com::5462f5f4-f618-47aa-abd8-fd504e002570" providerId="AD" clId="Web-{A04A7C58-4B19-43AE-8D7D-EDF22096B44C}" dt="2022-01-12T00:41:52.642" v="260"/>
          <ac:spMkLst>
            <pc:docMk/>
            <pc:sldMk cId="1898696112" sldId="393"/>
            <ac:spMk id="13" creationId="{52252D29-3884-4754-9392-2D155BE052CD}"/>
          </ac:spMkLst>
        </pc:spChg>
        <pc:spChg chg="del">
          <ac:chgData name="COSMOSFREN" userId="S::cosmosfren_yahoo.com#ext#@risebcg.onmicrosoft.com::5462f5f4-f618-47aa-abd8-fd504e002570" providerId="AD" clId="Web-{A04A7C58-4B19-43AE-8D7D-EDF22096B44C}" dt="2022-01-12T00:41:57.251" v="264"/>
          <ac:spMkLst>
            <pc:docMk/>
            <pc:sldMk cId="1898696112" sldId="393"/>
            <ac:spMk id="14" creationId="{9BEFA604-250B-4E75-9CF4-E7E7980BEFD3}"/>
          </ac:spMkLst>
        </pc:spChg>
        <pc:spChg chg="del mod">
          <ac:chgData name="COSMOSFREN" userId="S::cosmosfren_yahoo.com#ext#@risebcg.onmicrosoft.com::5462f5f4-f618-47aa-abd8-fd504e002570" providerId="AD" clId="Web-{A04A7C58-4B19-43AE-8D7D-EDF22096B44C}" dt="2022-01-12T00:41:55.876" v="262"/>
          <ac:spMkLst>
            <pc:docMk/>
            <pc:sldMk cId="1898696112" sldId="393"/>
            <ac:spMk id="15" creationId="{67F13DD4-6F7F-44DD-A68B-3743A70775AB}"/>
          </ac:spMkLst>
        </pc:spChg>
        <pc:spChg chg="del">
          <ac:chgData name="COSMOSFREN" userId="S::cosmosfren_yahoo.com#ext#@risebcg.onmicrosoft.com::5462f5f4-f618-47aa-abd8-fd504e002570" providerId="AD" clId="Web-{A04A7C58-4B19-43AE-8D7D-EDF22096B44C}" dt="2022-01-12T00:41:56.423" v="263"/>
          <ac:spMkLst>
            <pc:docMk/>
            <pc:sldMk cId="1898696112" sldId="393"/>
            <ac:spMk id="16" creationId="{841ADB1C-AB88-4B94-91BE-A97DA5598591}"/>
          </ac:spMkLst>
        </pc:spChg>
        <pc:spChg chg="del">
          <ac:chgData name="COSMOSFREN" userId="S::cosmosfren_yahoo.com#ext#@risebcg.onmicrosoft.com::5462f5f4-f618-47aa-abd8-fd504e002570" providerId="AD" clId="Web-{A04A7C58-4B19-43AE-8D7D-EDF22096B44C}" dt="2022-01-12T00:41:57.938" v="265"/>
          <ac:spMkLst>
            <pc:docMk/>
            <pc:sldMk cId="1898696112" sldId="393"/>
            <ac:spMk id="17" creationId="{17B6372D-A32F-41D9-821E-C756C31DE30B}"/>
          </ac:spMkLst>
        </pc:spChg>
        <pc:picChg chg="del">
          <ac:chgData name="COSMOSFREN" userId="S::cosmosfren_yahoo.com#ext#@risebcg.onmicrosoft.com::5462f5f4-f618-47aa-abd8-fd504e002570" providerId="AD" clId="Web-{A04A7C58-4B19-43AE-8D7D-EDF22096B44C}" dt="2022-01-12T00:41:50.220" v="258"/>
          <ac:picMkLst>
            <pc:docMk/>
            <pc:sldMk cId="1898696112" sldId="393"/>
            <ac:picMk id="2" creationId="{D8796368-9D34-4AC4-8189-AB55CD9C2B0E}"/>
          </ac:picMkLst>
        </pc:picChg>
        <pc:picChg chg="del">
          <ac:chgData name="COSMOSFREN" userId="S::cosmosfren_yahoo.com#ext#@risebcg.onmicrosoft.com::5462f5f4-f618-47aa-abd8-fd504e002570" providerId="AD" clId="Web-{A04A7C58-4B19-43AE-8D7D-EDF22096B44C}" dt="2022-01-12T00:41:49.079" v="256"/>
          <ac:picMkLst>
            <pc:docMk/>
            <pc:sldMk cId="1898696112" sldId="393"/>
            <ac:picMk id="3" creationId="{804F2B0B-ED4F-467E-9926-F4EC1DD49056}"/>
          </ac:picMkLst>
        </pc:picChg>
        <pc:picChg chg="del">
          <ac:chgData name="COSMOSFREN" userId="S::cosmosfren_yahoo.com#ext#@risebcg.onmicrosoft.com::5462f5f4-f618-47aa-abd8-fd504e002570" providerId="AD" clId="Web-{A04A7C58-4B19-43AE-8D7D-EDF22096B44C}" dt="2022-01-12T00:41:48.298" v="255"/>
          <ac:picMkLst>
            <pc:docMk/>
            <pc:sldMk cId="1898696112" sldId="393"/>
            <ac:picMk id="5" creationId="{4BAFD948-10DC-4430-A8AC-8AE437412611}"/>
          </ac:picMkLst>
        </pc:picChg>
        <pc:picChg chg="del">
          <ac:chgData name="COSMOSFREN" userId="S::cosmosfren_yahoo.com#ext#@risebcg.onmicrosoft.com::5462f5f4-f618-47aa-abd8-fd504e002570" providerId="AD" clId="Web-{A04A7C58-4B19-43AE-8D7D-EDF22096B44C}" dt="2022-01-12T00:41:47.641" v="254"/>
          <ac:picMkLst>
            <pc:docMk/>
            <pc:sldMk cId="1898696112" sldId="393"/>
            <ac:picMk id="6" creationId="{EE43B572-DDFD-4C4B-AB03-5EE52E5EB7FB}"/>
          </ac:picMkLst>
        </pc:picChg>
        <pc:picChg chg="del">
          <ac:chgData name="COSMOSFREN" userId="S::cosmosfren_yahoo.com#ext#@risebcg.onmicrosoft.com::5462f5f4-f618-47aa-abd8-fd504e002570" providerId="AD" clId="Web-{A04A7C58-4B19-43AE-8D7D-EDF22096B44C}" dt="2022-01-12T00:42:06.142" v="266"/>
          <ac:picMkLst>
            <pc:docMk/>
            <pc:sldMk cId="1898696112" sldId="393"/>
            <ac:picMk id="7" creationId="{9CE2C089-17DF-4333-8536-34FFD388E0EB}"/>
          </ac:picMkLst>
        </pc:picChg>
        <pc:picChg chg="del">
          <ac:chgData name="COSMOSFREN" userId="S::cosmosfren_yahoo.com#ext#@risebcg.onmicrosoft.com::5462f5f4-f618-47aa-abd8-fd504e002570" providerId="AD" clId="Web-{A04A7C58-4B19-43AE-8D7D-EDF22096B44C}" dt="2022-01-12T00:41:46.907" v="253"/>
          <ac:picMkLst>
            <pc:docMk/>
            <pc:sldMk cId="1898696112" sldId="393"/>
            <ac:picMk id="10" creationId="{053AF5C6-7FC0-46E6-B5BA-F0683AF77DCB}"/>
          </ac:picMkLst>
        </pc:picChg>
        <pc:picChg chg="del">
          <ac:chgData name="COSMOSFREN" userId="S::cosmosfren_yahoo.com#ext#@risebcg.onmicrosoft.com::5462f5f4-f618-47aa-abd8-fd504e002570" providerId="AD" clId="Web-{A04A7C58-4B19-43AE-8D7D-EDF22096B44C}" dt="2022-01-12T00:41:49.766" v="257"/>
          <ac:picMkLst>
            <pc:docMk/>
            <pc:sldMk cId="1898696112" sldId="393"/>
            <ac:picMk id="11" creationId="{ECC8B3C5-5AC5-4541-B6FA-4BAA9C482CFB}"/>
          </ac:picMkLst>
        </pc:picChg>
      </pc:sldChg>
      <pc:sldChg chg="add del replId">
        <pc:chgData name="COSMOSFREN" userId="S::cosmosfren_yahoo.com#ext#@risebcg.onmicrosoft.com::5462f5f4-f618-47aa-abd8-fd504e002570" providerId="AD" clId="Web-{A04A7C58-4B19-43AE-8D7D-EDF22096B44C}" dt="2022-01-12T00:41:07.094" v="246"/>
        <pc:sldMkLst>
          <pc:docMk/>
          <pc:sldMk cId="1946630564" sldId="393"/>
        </pc:sldMkLst>
      </pc:sldChg>
      <pc:sldChg chg="modSp add del replId">
        <pc:chgData name="COSMOSFREN" userId="S::cosmosfren_yahoo.com#ext#@risebcg.onmicrosoft.com::5462f5f4-f618-47aa-abd8-fd504e002570" providerId="AD" clId="Web-{A04A7C58-4B19-43AE-8D7D-EDF22096B44C}" dt="2022-01-12T00:42:40.814" v="284"/>
        <pc:sldMkLst>
          <pc:docMk/>
          <pc:sldMk cId="545406237" sldId="394"/>
        </pc:sldMkLst>
        <pc:spChg chg="mod">
          <ac:chgData name="COSMOSFREN" userId="S::cosmosfren_yahoo.com#ext#@risebcg.onmicrosoft.com::5462f5f4-f618-47aa-abd8-fd504e002570" providerId="AD" clId="Web-{A04A7C58-4B19-43AE-8D7D-EDF22096B44C}" dt="2022-01-12T00:42:39.408" v="282" actId="20577"/>
          <ac:spMkLst>
            <pc:docMk/>
            <pc:sldMk cId="545406237" sldId="394"/>
            <ac:spMk id="8" creationId="{C10ABD20-C2BA-45B3-83F6-BF443039A7A7}"/>
          </ac:spMkLst>
        </pc:spChg>
      </pc:sldChg>
      <pc:sldChg chg="add replId">
        <pc:chgData name="COSMOSFREN" userId="S::cosmosfren_yahoo.com#ext#@risebcg.onmicrosoft.com::5462f5f4-f618-47aa-abd8-fd504e002570" providerId="AD" clId="Web-{A04A7C58-4B19-43AE-8D7D-EDF22096B44C}" dt="2022-01-12T00:56:24.281" v="565"/>
        <pc:sldMkLst>
          <pc:docMk/>
          <pc:sldMk cId="3911172933" sldId="394"/>
        </pc:sldMkLst>
      </pc:sldChg>
    </pc:docChg>
  </pc:docChgLst>
  <pc:docChgLst>
    <pc:chgData name="EVELYNSM.YONG" userId="S::evelynsm.yong_gmail.com#ext#@risebcg.onmicrosoft.com::67a27a72-2420-4d38-b745-316a53f4b99a" providerId="AD" clId="Web-{91EB464E-4ECA-49C3-9DCA-B9E5F12F2DBC}"/>
    <pc:docChg chg="modSld">
      <pc:chgData name="EVELYNSM.YONG" userId="S::evelynsm.yong_gmail.com#ext#@risebcg.onmicrosoft.com::67a27a72-2420-4d38-b745-316a53f4b99a" providerId="AD" clId="Web-{91EB464E-4ECA-49C3-9DCA-B9E5F12F2DBC}" dt="2022-01-12T06:32:49.402" v="6" actId="14100"/>
      <pc:docMkLst>
        <pc:docMk/>
      </pc:docMkLst>
      <pc:sldChg chg="modSp">
        <pc:chgData name="EVELYNSM.YONG" userId="S::evelynsm.yong_gmail.com#ext#@risebcg.onmicrosoft.com::67a27a72-2420-4d38-b745-316a53f4b99a" providerId="AD" clId="Web-{91EB464E-4ECA-49C3-9DCA-B9E5F12F2DBC}" dt="2022-01-12T06:32:49.402" v="6" actId="14100"/>
        <pc:sldMkLst>
          <pc:docMk/>
          <pc:sldMk cId="2256265757" sldId="315"/>
        </pc:sldMkLst>
        <pc:graphicFrameChg chg="mod">
          <ac:chgData name="EVELYNSM.YONG" userId="S::evelynsm.yong_gmail.com#ext#@risebcg.onmicrosoft.com::67a27a72-2420-4d38-b745-316a53f4b99a" providerId="AD" clId="Web-{91EB464E-4ECA-49C3-9DCA-B9E5F12F2DBC}" dt="2022-01-12T06:32:49.402" v="6" actId="14100"/>
          <ac:graphicFrameMkLst>
            <pc:docMk/>
            <pc:sldMk cId="2256265757" sldId="315"/>
            <ac:graphicFrameMk id="5" creationId="{7108A9FD-B557-4083-86FF-9C8FBDE66455}"/>
          </ac:graphicFrameMkLst>
        </pc:graphicFrameChg>
      </pc:sldChg>
    </pc:docChg>
  </pc:docChgLst>
  <pc:docChgLst>
    <pc:chgData name="EVELYNSM.YONG" userId="S::evelynsm.yong_gmail.com#ext#@risebcg.onmicrosoft.com::67a27a72-2420-4d38-b745-316a53f4b99a" providerId="AD" clId="Web-{8A555A89-C890-403D-A2C8-1DB1F47A6165}"/>
    <pc:docChg chg="modSld">
      <pc:chgData name="EVELYNSM.YONG" userId="S::evelynsm.yong_gmail.com#ext#@risebcg.onmicrosoft.com::67a27a72-2420-4d38-b745-316a53f4b99a" providerId="AD" clId="Web-{8A555A89-C890-403D-A2C8-1DB1F47A6165}" dt="2022-01-12T07:40:31.482" v="132"/>
      <pc:docMkLst>
        <pc:docMk/>
      </pc:docMkLst>
      <pc:sldChg chg="delSp">
        <pc:chgData name="EVELYNSM.YONG" userId="S::evelynsm.yong_gmail.com#ext#@risebcg.onmicrosoft.com::67a27a72-2420-4d38-b745-316a53f4b99a" providerId="AD" clId="Web-{8A555A89-C890-403D-A2C8-1DB1F47A6165}" dt="2022-01-12T07:40:31.482" v="132"/>
        <pc:sldMkLst>
          <pc:docMk/>
          <pc:sldMk cId="2256265757" sldId="315"/>
        </pc:sldMkLst>
        <pc:graphicFrameChg chg="del">
          <ac:chgData name="EVELYNSM.YONG" userId="S::evelynsm.yong_gmail.com#ext#@risebcg.onmicrosoft.com::67a27a72-2420-4d38-b745-316a53f4b99a" providerId="AD" clId="Web-{8A555A89-C890-403D-A2C8-1DB1F47A6165}" dt="2022-01-12T07:40:31.482" v="132"/>
          <ac:graphicFrameMkLst>
            <pc:docMk/>
            <pc:sldMk cId="2256265757" sldId="315"/>
            <ac:graphicFrameMk id="5" creationId="{7108A9FD-B557-4083-86FF-9C8FBDE66455}"/>
          </ac:graphicFrameMkLst>
        </pc:graphicFrameChg>
      </pc:sldChg>
      <pc:sldChg chg="modSp">
        <pc:chgData name="EVELYNSM.YONG" userId="S::evelynsm.yong_gmail.com#ext#@risebcg.onmicrosoft.com::67a27a72-2420-4d38-b745-316a53f4b99a" providerId="AD" clId="Web-{8A555A89-C890-403D-A2C8-1DB1F47A6165}" dt="2022-01-12T07:40:23.060" v="131" actId="1076"/>
        <pc:sldMkLst>
          <pc:docMk/>
          <pc:sldMk cId="416007632" sldId="327"/>
        </pc:sldMkLst>
        <pc:spChg chg="mod">
          <ac:chgData name="EVELYNSM.YONG" userId="S::evelynsm.yong_gmail.com#ext#@risebcg.onmicrosoft.com::67a27a72-2420-4d38-b745-316a53f4b99a" providerId="AD" clId="Web-{8A555A89-C890-403D-A2C8-1DB1F47A6165}" dt="2022-01-12T07:40:16.248" v="119" actId="1076"/>
          <ac:spMkLst>
            <pc:docMk/>
            <pc:sldMk cId="416007632" sldId="327"/>
            <ac:spMk id="2" creationId="{ED14AA63-35D8-4136-8B2F-DE1837A583A2}"/>
          </ac:spMkLst>
        </pc:spChg>
        <pc:spChg chg="mod">
          <ac:chgData name="EVELYNSM.YONG" userId="S::evelynsm.yong_gmail.com#ext#@risebcg.onmicrosoft.com::67a27a72-2420-4d38-b745-316a53f4b99a" providerId="AD" clId="Web-{8A555A89-C890-403D-A2C8-1DB1F47A6165}" dt="2022-01-12T07:40:23.014" v="128" actId="1076"/>
          <ac:spMkLst>
            <pc:docMk/>
            <pc:sldMk cId="416007632" sldId="327"/>
            <ac:spMk id="8" creationId="{E577B412-68A3-4185-A772-40E2096ADDCA}"/>
          </ac:spMkLst>
        </pc:spChg>
        <pc:spChg chg="mod">
          <ac:chgData name="EVELYNSM.YONG" userId="S::evelynsm.yong_gmail.com#ext#@risebcg.onmicrosoft.com::67a27a72-2420-4d38-b745-316a53f4b99a" providerId="AD" clId="Web-{8A555A89-C890-403D-A2C8-1DB1F47A6165}" dt="2022-01-12T07:40:23.060" v="131" actId="1076"/>
          <ac:spMkLst>
            <pc:docMk/>
            <pc:sldMk cId="416007632" sldId="327"/>
            <ac:spMk id="20" creationId="{1085C789-C333-47C0-9A39-FFAFB278B841}"/>
          </ac:spMkLst>
        </pc:spChg>
        <pc:spChg chg="mod">
          <ac:chgData name="EVELYNSM.YONG" userId="S::evelynsm.yong_gmail.com#ext#@risebcg.onmicrosoft.com::67a27a72-2420-4d38-b745-316a53f4b99a" providerId="AD" clId="Web-{8A555A89-C890-403D-A2C8-1DB1F47A6165}" dt="2022-01-12T07:40:23.045" v="130" actId="1076"/>
          <ac:spMkLst>
            <pc:docMk/>
            <pc:sldMk cId="416007632" sldId="327"/>
            <ac:spMk id="22" creationId="{E617BC09-C752-43E7-ACBA-77B43873D3F7}"/>
          </ac:spMkLst>
        </pc:spChg>
        <pc:spChg chg="mod">
          <ac:chgData name="EVELYNSM.YONG" userId="S::evelynsm.yong_gmail.com#ext#@risebcg.onmicrosoft.com::67a27a72-2420-4d38-b745-316a53f4b99a" providerId="AD" clId="Web-{8A555A89-C890-403D-A2C8-1DB1F47A6165}" dt="2022-01-12T07:40:23.029" v="129" actId="1076"/>
          <ac:spMkLst>
            <pc:docMk/>
            <pc:sldMk cId="416007632" sldId="327"/>
            <ac:spMk id="25" creationId="{F9FE7D81-29DC-498D-91D4-543B8A261CE1}"/>
          </ac:spMkLst>
        </pc:spChg>
        <pc:spChg chg="mod">
          <ac:chgData name="EVELYNSM.YONG" userId="S::evelynsm.yong_gmail.com#ext#@risebcg.onmicrosoft.com::67a27a72-2420-4d38-b745-316a53f4b99a" providerId="AD" clId="Web-{8A555A89-C890-403D-A2C8-1DB1F47A6165}" dt="2022-01-12T07:40:22.982" v="125" actId="1076"/>
          <ac:spMkLst>
            <pc:docMk/>
            <pc:sldMk cId="416007632" sldId="327"/>
            <ac:spMk id="32" creationId="{19924F50-9976-41A7-88C1-641F1509CEE0}"/>
          </ac:spMkLst>
        </pc:spChg>
        <pc:spChg chg="mod">
          <ac:chgData name="EVELYNSM.YONG" userId="S::evelynsm.yong_gmail.com#ext#@risebcg.onmicrosoft.com::67a27a72-2420-4d38-b745-316a53f4b99a" providerId="AD" clId="Web-{8A555A89-C890-403D-A2C8-1DB1F47A6165}" dt="2022-01-12T07:40:22.935" v="122" actId="1076"/>
          <ac:spMkLst>
            <pc:docMk/>
            <pc:sldMk cId="416007632" sldId="327"/>
            <ac:spMk id="33" creationId="{C9B7F08E-D629-47BA-B28C-40CF22219379}"/>
          </ac:spMkLst>
        </pc:spChg>
        <pc:spChg chg="mod">
          <ac:chgData name="EVELYNSM.YONG" userId="S::evelynsm.yong_gmail.com#ext#@risebcg.onmicrosoft.com::67a27a72-2420-4d38-b745-316a53f4b99a" providerId="AD" clId="Web-{8A555A89-C890-403D-A2C8-1DB1F47A6165}" dt="2022-01-12T07:40:22.951" v="123" actId="1076"/>
          <ac:spMkLst>
            <pc:docMk/>
            <pc:sldMk cId="416007632" sldId="327"/>
            <ac:spMk id="34" creationId="{06D19D76-F677-4AAA-AA6A-7CA4B9DAF436}"/>
          </ac:spMkLst>
        </pc:spChg>
        <pc:spChg chg="mod">
          <ac:chgData name="EVELYNSM.YONG" userId="S::evelynsm.yong_gmail.com#ext#@risebcg.onmicrosoft.com::67a27a72-2420-4d38-b745-316a53f4b99a" providerId="AD" clId="Web-{8A555A89-C890-403D-A2C8-1DB1F47A6165}" dt="2022-01-12T07:40:22.967" v="124" actId="1076"/>
          <ac:spMkLst>
            <pc:docMk/>
            <pc:sldMk cId="416007632" sldId="327"/>
            <ac:spMk id="37" creationId="{1AA86EF9-D1F2-488E-902B-9C25FAEFDD52}"/>
          </ac:spMkLst>
        </pc:spChg>
        <pc:grpChg chg="mod">
          <ac:chgData name="EVELYNSM.YONG" userId="S::evelynsm.yong_gmail.com#ext#@risebcg.onmicrosoft.com::67a27a72-2420-4d38-b745-316a53f4b99a" providerId="AD" clId="Web-{8A555A89-C890-403D-A2C8-1DB1F47A6165}" dt="2022-01-12T07:40:22.920" v="121" actId="1076"/>
          <ac:grpSpMkLst>
            <pc:docMk/>
            <pc:sldMk cId="416007632" sldId="327"/>
            <ac:grpSpMk id="3" creationId="{D8298F4A-5213-4A7E-8DC6-09D01E722D62}"/>
          </ac:grpSpMkLst>
        </pc:grpChg>
        <pc:picChg chg="mod">
          <ac:chgData name="EVELYNSM.YONG" userId="S::evelynsm.yong_gmail.com#ext#@risebcg.onmicrosoft.com::67a27a72-2420-4d38-b745-316a53f4b99a" providerId="AD" clId="Web-{8A555A89-C890-403D-A2C8-1DB1F47A6165}" dt="2022-01-12T07:40:22.998" v="127" actId="1076"/>
          <ac:picMkLst>
            <pc:docMk/>
            <pc:sldMk cId="416007632" sldId="327"/>
            <ac:picMk id="7" creationId="{52098F02-F658-4E94-9501-A14F3E2D33CE}"/>
          </ac:picMkLst>
        </pc:picChg>
        <pc:picChg chg="mod">
          <ac:chgData name="EVELYNSM.YONG" userId="S::evelynsm.yong_gmail.com#ext#@risebcg.onmicrosoft.com::67a27a72-2420-4d38-b745-316a53f4b99a" providerId="AD" clId="Web-{8A555A89-C890-403D-A2C8-1DB1F47A6165}" dt="2022-01-12T07:40:22.998" v="126" actId="1076"/>
          <ac:picMkLst>
            <pc:docMk/>
            <pc:sldMk cId="416007632" sldId="327"/>
            <ac:picMk id="9" creationId="{A7D42D63-B632-4192-9AF9-4120DFBDAFF3}"/>
          </ac:picMkLst>
        </pc:picChg>
        <pc:picChg chg="mod">
          <ac:chgData name="EVELYNSM.YONG" userId="S::evelynsm.yong_gmail.com#ext#@risebcg.onmicrosoft.com::67a27a72-2420-4d38-b745-316a53f4b99a" providerId="AD" clId="Web-{8A555A89-C890-403D-A2C8-1DB1F47A6165}" dt="2022-01-12T07:40:22.904" v="120"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8A555A89-C890-403D-A2C8-1DB1F47A6165}" dt="2022-01-12T07:39:20.356" v="88" actId="1076"/>
          <ac:picMkLst>
            <pc:docMk/>
            <pc:sldMk cId="416007632" sldId="327"/>
            <ac:picMk id="29" creationId="{4F6899D5-3109-4938-82DA-041DEA46D7EF}"/>
          </ac:picMkLst>
        </pc:picChg>
      </pc:sldChg>
      <pc:sldChg chg="modNotes">
        <pc:chgData name="EVELYNSM.YONG" userId="S::evelynsm.yong_gmail.com#ext#@risebcg.onmicrosoft.com::67a27a72-2420-4d38-b745-316a53f4b99a" providerId="AD" clId="Web-{8A555A89-C890-403D-A2C8-1DB1F47A6165}" dt="2022-01-12T07:07:05.424" v="1"/>
        <pc:sldMkLst>
          <pc:docMk/>
          <pc:sldMk cId="3391215681" sldId="339"/>
        </pc:sldMkLst>
      </pc:sldChg>
      <pc:sldChg chg="modSp">
        <pc:chgData name="EVELYNSM.YONG" userId="S::evelynsm.yong_gmail.com#ext#@risebcg.onmicrosoft.com::67a27a72-2420-4d38-b745-316a53f4b99a" providerId="AD" clId="Web-{8A555A89-C890-403D-A2C8-1DB1F47A6165}" dt="2022-01-12T07:36:46.540" v="31" actId="14100"/>
        <pc:sldMkLst>
          <pc:docMk/>
          <pc:sldMk cId="59737257" sldId="391"/>
        </pc:sldMkLst>
        <pc:spChg chg="mod">
          <ac:chgData name="EVELYNSM.YONG" userId="S::evelynsm.yong_gmail.com#ext#@risebcg.onmicrosoft.com::67a27a72-2420-4d38-b745-316a53f4b99a" providerId="AD" clId="Web-{8A555A89-C890-403D-A2C8-1DB1F47A6165}" dt="2022-01-12T07:36:46.540" v="31" actId="14100"/>
          <ac:spMkLst>
            <pc:docMk/>
            <pc:sldMk cId="59737257" sldId="391"/>
            <ac:spMk id="160" creationId="{129EBF9C-3DCE-40EC-8CFB-1CB201B252BE}"/>
          </ac:spMkLst>
        </pc:spChg>
      </pc:sldChg>
    </pc:docChg>
  </pc:docChgLst>
  <pc:docChgLst>
    <pc:chgData name="wei yuan" userId="S::pwy_92_hotmail.com#ext#@risebcg.onmicrosoft.com::ca38e7f8-9ace-4d94-b37a-86e65e91f2b0" providerId="AD" clId="Web-{9D3249DC-2FF3-4A4F-BA09-258EFA95E181}"/>
    <pc:docChg chg="modSld">
      <pc:chgData name="wei yuan" userId="S::pwy_92_hotmail.com#ext#@risebcg.onmicrosoft.com::ca38e7f8-9ace-4d94-b37a-86e65e91f2b0" providerId="AD" clId="Web-{9D3249DC-2FF3-4A4F-BA09-258EFA95E181}" dt="2022-01-10T09:58:09.444" v="22" actId="1076"/>
      <pc:docMkLst>
        <pc:docMk/>
      </pc:docMkLst>
      <pc:sldChg chg="addSp modSp">
        <pc:chgData name="wei yuan" userId="S::pwy_92_hotmail.com#ext#@risebcg.onmicrosoft.com::ca38e7f8-9ace-4d94-b37a-86e65e91f2b0" providerId="AD" clId="Web-{9D3249DC-2FF3-4A4F-BA09-258EFA95E181}" dt="2022-01-10T09:58:09.444" v="22" actId="1076"/>
        <pc:sldMkLst>
          <pc:docMk/>
          <pc:sldMk cId="2160415509" sldId="326"/>
        </pc:sldMkLst>
        <pc:spChg chg="mod">
          <ac:chgData name="wei yuan" userId="S::pwy_92_hotmail.com#ext#@risebcg.onmicrosoft.com::ca38e7f8-9ace-4d94-b37a-86e65e91f2b0" providerId="AD" clId="Web-{9D3249DC-2FF3-4A4F-BA09-258EFA95E181}" dt="2022-01-10T09:56:27.911" v="16" actId="14100"/>
          <ac:spMkLst>
            <pc:docMk/>
            <pc:sldMk cId="2160415509" sldId="326"/>
            <ac:spMk id="3" creationId="{A06E2C6C-AA2D-4DBA-B448-457815C4CAD3}"/>
          </ac:spMkLst>
        </pc:spChg>
        <pc:spChg chg="mod">
          <ac:chgData name="wei yuan" userId="S::pwy_92_hotmail.com#ext#@risebcg.onmicrosoft.com::ca38e7f8-9ace-4d94-b37a-86e65e91f2b0" providerId="AD" clId="Web-{9D3249DC-2FF3-4A4F-BA09-258EFA95E181}" dt="2022-01-10T09:56:27.911" v="18" actId="14100"/>
          <ac:spMkLst>
            <pc:docMk/>
            <pc:sldMk cId="2160415509" sldId="326"/>
            <ac:spMk id="7" creationId="{EE72E06D-8EAE-4242-B1FE-DB5A60BCC68C}"/>
          </ac:spMkLst>
        </pc:spChg>
        <pc:spChg chg="mod">
          <ac:chgData name="wei yuan" userId="S::pwy_92_hotmail.com#ext#@risebcg.onmicrosoft.com::ca38e7f8-9ace-4d94-b37a-86e65e91f2b0" providerId="AD" clId="Web-{9D3249DC-2FF3-4A4F-BA09-258EFA95E181}" dt="2022-01-10T09:56:27.911" v="15" actId="14100"/>
          <ac:spMkLst>
            <pc:docMk/>
            <pc:sldMk cId="2160415509" sldId="326"/>
            <ac:spMk id="10" creationId="{F403E5AA-CAF9-429E-AF8A-D6CAE94AE104}"/>
          </ac:spMkLst>
        </pc:spChg>
        <pc:spChg chg="mod">
          <ac:chgData name="wei yuan" userId="S::pwy_92_hotmail.com#ext#@risebcg.onmicrosoft.com::ca38e7f8-9ace-4d94-b37a-86e65e91f2b0" providerId="AD" clId="Web-{9D3249DC-2FF3-4A4F-BA09-258EFA95E181}" dt="2022-01-10T09:56:27.911" v="17" actId="14100"/>
          <ac:spMkLst>
            <pc:docMk/>
            <pc:sldMk cId="2160415509" sldId="326"/>
            <ac:spMk id="11" creationId="{7A860165-0B15-49E4-A7ED-826D9540D919}"/>
          </ac:spMkLst>
        </pc:spChg>
        <pc:spChg chg="mod">
          <ac:chgData name="wei yuan" userId="S::pwy_92_hotmail.com#ext#@risebcg.onmicrosoft.com::ca38e7f8-9ace-4d94-b37a-86e65e91f2b0" providerId="AD" clId="Web-{9D3249DC-2FF3-4A4F-BA09-258EFA95E181}" dt="2022-01-10T09:56:27.911" v="14" actId="14100"/>
          <ac:spMkLst>
            <pc:docMk/>
            <pc:sldMk cId="2160415509" sldId="326"/>
            <ac:spMk id="12" creationId="{E8C9A459-A11F-4DB3-BC61-E14A0DC903CB}"/>
          </ac:spMkLst>
        </pc:spChg>
        <pc:picChg chg="add mod">
          <ac:chgData name="wei yuan" userId="S::pwy_92_hotmail.com#ext#@risebcg.onmicrosoft.com::ca38e7f8-9ace-4d94-b37a-86e65e91f2b0" providerId="AD" clId="Web-{9D3249DC-2FF3-4A4F-BA09-258EFA95E181}" dt="2022-01-10T09:58:09.444" v="22" actId="1076"/>
          <ac:picMkLst>
            <pc:docMk/>
            <pc:sldMk cId="2160415509" sldId="326"/>
            <ac:picMk id="5" creationId="{BA926763-DA3C-411B-BEF9-DCF545D5494A}"/>
          </ac:picMkLst>
        </pc:picChg>
        <pc:picChg chg="mod">
          <ac:chgData name="wei yuan" userId="S::pwy_92_hotmail.com#ext#@risebcg.onmicrosoft.com::ca38e7f8-9ace-4d94-b37a-86e65e91f2b0" providerId="AD" clId="Web-{9D3249DC-2FF3-4A4F-BA09-258EFA95E181}" dt="2022-01-10T09:56:27.911" v="19" actId="14100"/>
          <ac:picMkLst>
            <pc:docMk/>
            <pc:sldMk cId="2160415509" sldId="326"/>
            <ac:picMk id="6" creationId="{BFC712DB-8FC7-4ACB-AF6D-D3D38470A4A2}"/>
          </ac:picMkLst>
        </pc:picChg>
      </pc:sldChg>
    </pc:docChg>
  </pc:docChgLst>
  <pc:docChgLst>
    <pc:chgData name="WONGYONGLIN91" userId="S::wongyonglin91_gmail.com#ext#@risebcg.onmicrosoft.com::b2d94f93-e580-4f0d-9dda-2138509d25ae" providerId="AD" clId="Web-{0C79BA91-1E94-4A31-96DF-93ED1DF4A512}"/>
    <pc:docChg chg="modSld">
      <pc:chgData name="WONGYONGLIN91" userId="S::wongyonglin91_gmail.com#ext#@risebcg.onmicrosoft.com::b2d94f93-e580-4f0d-9dda-2138509d25ae" providerId="AD" clId="Web-{0C79BA91-1E94-4A31-96DF-93ED1DF4A512}" dt="2022-01-08T13:13:28.156" v="27" actId="1076"/>
      <pc:docMkLst>
        <pc:docMk/>
      </pc:docMkLst>
      <pc:sldChg chg="addSp delSp modSp">
        <pc:chgData name="WONGYONGLIN91" userId="S::wongyonglin91_gmail.com#ext#@risebcg.onmicrosoft.com::b2d94f93-e580-4f0d-9dda-2138509d25ae" providerId="AD" clId="Web-{0C79BA91-1E94-4A31-96DF-93ED1DF4A512}" dt="2022-01-08T13:13:28.156" v="27" actId="1076"/>
        <pc:sldMkLst>
          <pc:docMk/>
          <pc:sldMk cId="3971465157" sldId="345"/>
        </pc:sldMkLst>
        <pc:spChg chg="mod">
          <ac:chgData name="WONGYONGLIN91" userId="S::wongyonglin91_gmail.com#ext#@risebcg.onmicrosoft.com::b2d94f93-e580-4f0d-9dda-2138509d25ae" providerId="AD" clId="Web-{0C79BA91-1E94-4A31-96DF-93ED1DF4A512}" dt="2022-01-08T13:09:39.025" v="1" actId="20577"/>
          <ac:spMkLst>
            <pc:docMk/>
            <pc:sldMk cId="3971465157" sldId="345"/>
            <ac:spMk id="2" creationId="{ED14AA63-35D8-4136-8B2F-DE1837A583A2}"/>
          </ac:spMkLst>
        </pc:spChg>
        <pc:picChg chg="mod">
          <ac:chgData name="WONGYONGLIN91" userId="S::wongyonglin91_gmail.com#ext#@risebcg.onmicrosoft.com::b2d94f93-e580-4f0d-9dda-2138509d25ae" providerId="AD" clId="Web-{0C79BA91-1E94-4A31-96DF-93ED1DF4A512}" dt="2022-01-08T13:13:16.046" v="23" actId="1076"/>
          <ac:picMkLst>
            <pc:docMk/>
            <pc:sldMk cId="3971465157" sldId="345"/>
            <ac:picMk id="6" creationId="{0543AB5E-0C46-4F5B-92B9-8460B4265166}"/>
          </ac:picMkLst>
        </pc:picChg>
        <pc:picChg chg="mod">
          <ac:chgData name="WONGYONGLIN91" userId="S::wongyonglin91_gmail.com#ext#@risebcg.onmicrosoft.com::b2d94f93-e580-4f0d-9dda-2138509d25ae" providerId="AD" clId="Web-{0C79BA91-1E94-4A31-96DF-93ED1DF4A512}" dt="2022-01-08T13:13:25.046" v="26" actId="14100"/>
          <ac:picMkLst>
            <pc:docMk/>
            <pc:sldMk cId="3971465157" sldId="345"/>
            <ac:picMk id="7" creationId="{F2806C6D-F724-4DED-AEF0-61ECCAB05DB6}"/>
          </ac:picMkLst>
        </pc:picChg>
        <pc:picChg chg="add mod">
          <ac:chgData name="WONGYONGLIN91" userId="S::wongyonglin91_gmail.com#ext#@risebcg.onmicrosoft.com::b2d94f93-e580-4f0d-9dda-2138509d25ae" providerId="AD" clId="Web-{0C79BA91-1E94-4A31-96DF-93ED1DF4A512}" dt="2022-01-08T13:13:28.156" v="27" actId="1076"/>
          <ac:picMkLst>
            <pc:docMk/>
            <pc:sldMk cId="3971465157" sldId="345"/>
            <ac:picMk id="8" creationId="{1C37FA25-553F-4164-8C97-7E76EEDF8003}"/>
          </ac:picMkLst>
        </pc:picChg>
        <pc:picChg chg="add mod">
          <ac:chgData name="WONGYONGLIN91" userId="S::wongyonglin91_gmail.com#ext#@risebcg.onmicrosoft.com::b2d94f93-e580-4f0d-9dda-2138509d25ae" providerId="AD" clId="Web-{0C79BA91-1E94-4A31-96DF-93ED1DF4A512}" dt="2022-01-08T13:13:19.156" v="24" actId="1076"/>
          <ac:picMkLst>
            <pc:docMk/>
            <pc:sldMk cId="3971465157" sldId="345"/>
            <ac:picMk id="9" creationId="{97A95AB9-26F3-4FFA-B40B-A3BFD1A87A7B}"/>
          </ac:picMkLst>
        </pc:picChg>
        <pc:picChg chg="del">
          <ac:chgData name="WONGYONGLIN91" userId="S::wongyonglin91_gmail.com#ext#@risebcg.onmicrosoft.com::b2d94f93-e580-4f0d-9dda-2138509d25ae" providerId="AD" clId="Web-{0C79BA91-1E94-4A31-96DF-93ED1DF4A512}" dt="2022-01-08T13:12:14.873" v="14"/>
          <ac:picMkLst>
            <pc:docMk/>
            <pc:sldMk cId="3971465157" sldId="345"/>
            <ac:picMk id="14" creationId="{6C32E5A9-2DAB-4399-BC5F-DFEF3CE42056}"/>
          </ac:picMkLst>
        </pc:picChg>
        <pc:picChg chg="del">
          <ac:chgData name="WONGYONGLIN91" userId="S::wongyonglin91_gmail.com#ext#@risebcg.onmicrosoft.com::b2d94f93-e580-4f0d-9dda-2138509d25ae" providerId="AD" clId="Web-{0C79BA91-1E94-4A31-96DF-93ED1DF4A512}" dt="2022-01-08T13:11:40.809" v="10"/>
          <ac:picMkLst>
            <pc:docMk/>
            <pc:sldMk cId="3971465157" sldId="345"/>
            <ac:picMk id="15" creationId="{D29E5551-D1FB-4B15-B981-AF5FE6C4338B}"/>
          </ac:picMkLst>
        </pc:picChg>
      </pc:sldChg>
      <pc:sldChg chg="addSp delSp modSp">
        <pc:chgData name="WONGYONGLIN91" userId="S::wongyonglin91_gmail.com#ext#@risebcg.onmicrosoft.com::b2d94f93-e580-4f0d-9dda-2138509d25ae" providerId="AD" clId="Web-{0C79BA91-1E94-4A31-96DF-93ED1DF4A512}" dt="2022-01-08T13:11:07.809" v="9" actId="14100"/>
        <pc:sldMkLst>
          <pc:docMk/>
          <pc:sldMk cId="2149037765" sldId="346"/>
        </pc:sldMkLst>
        <pc:picChg chg="del">
          <ac:chgData name="WONGYONGLIN91" userId="S::wongyonglin91_gmail.com#ext#@risebcg.onmicrosoft.com::b2d94f93-e580-4f0d-9dda-2138509d25ae" providerId="AD" clId="Web-{0C79BA91-1E94-4A31-96DF-93ED1DF4A512}" dt="2022-01-08T13:09:45.916" v="2"/>
          <ac:picMkLst>
            <pc:docMk/>
            <pc:sldMk cId="2149037765" sldId="346"/>
            <ac:picMk id="6" creationId="{8B12E724-F7D6-46BF-AE6E-486289EC7CC6}"/>
          </ac:picMkLst>
        </pc:picChg>
        <pc:picChg chg="del">
          <ac:chgData name="WONGYONGLIN91" userId="S::wongyonglin91_gmail.com#ext#@risebcg.onmicrosoft.com::b2d94f93-e580-4f0d-9dda-2138509d25ae" providerId="AD" clId="Web-{0C79BA91-1E94-4A31-96DF-93ED1DF4A512}" dt="2022-01-08T13:09:46.354" v="3"/>
          <ac:picMkLst>
            <pc:docMk/>
            <pc:sldMk cId="2149037765" sldId="346"/>
            <ac:picMk id="7" creationId="{9A3D2A3F-16A2-4B00-AD57-DD79E305B4AB}"/>
          </ac:picMkLst>
        </pc:picChg>
        <pc:picChg chg="add mod">
          <ac:chgData name="WONGYONGLIN91" userId="S::wongyonglin91_gmail.com#ext#@risebcg.onmicrosoft.com::b2d94f93-e580-4f0d-9dda-2138509d25ae" providerId="AD" clId="Web-{0C79BA91-1E94-4A31-96DF-93ED1DF4A512}" dt="2022-01-08T13:10:20.511" v="6" actId="14100"/>
          <ac:picMkLst>
            <pc:docMk/>
            <pc:sldMk cId="2149037765" sldId="346"/>
            <ac:picMk id="10" creationId="{391F6A77-68C5-4C52-ABF8-CA8D80177516}"/>
          </ac:picMkLst>
        </pc:picChg>
        <pc:picChg chg="add mod">
          <ac:chgData name="WONGYONGLIN91" userId="S::wongyonglin91_gmail.com#ext#@risebcg.onmicrosoft.com::b2d94f93-e580-4f0d-9dda-2138509d25ae" providerId="AD" clId="Web-{0C79BA91-1E94-4A31-96DF-93ED1DF4A512}" dt="2022-01-08T13:11:07.809" v="9" actId="14100"/>
          <ac:picMkLst>
            <pc:docMk/>
            <pc:sldMk cId="2149037765" sldId="346"/>
            <ac:picMk id="11" creationId="{D3B0CDFF-5E2B-4904-8700-08E7D750F067}"/>
          </ac:picMkLst>
        </pc:picChg>
      </pc:sldChg>
    </pc:docChg>
  </pc:docChgLst>
  <pc:docChgLst>
    <pc:chgData name="EVELYNSM.YONG" userId="S::evelynsm.yong_gmail.com#ext#@risebcg.onmicrosoft.com::67a27a72-2420-4d38-b745-316a53f4b99a" providerId="AD" clId="Web-{1C868A80-F4F0-4CEC-A1DD-DCD9806FF52B}"/>
    <pc:docChg chg="modSld">
      <pc:chgData name="EVELYNSM.YONG" userId="S::evelynsm.yong_gmail.com#ext#@risebcg.onmicrosoft.com::67a27a72-2420-4d38-b745-316a53f4b99a" providerId="AD" clId="Web-{1C868A80-F4F0-4CEC-A1DD-DCD9806FF52B}" dt="2022-01-08T01:47:13.057" v="23" actId="14100"/>
      <pc:docMkLst>
        <pc:docMk/>
      </pc:docMkLst>
      <pc:sldChg chg="modSp">
        <pc:chgData name="EVELYNSM.YONG" userId="S::evelynsm.yong_gmail.com#ext#@risebcg.onmicrosoft.com::67a27a72-2420-4d38-b745-316a53f4b99a" providerId="AD" clId="Web-{1C868A80-F4F0-4CEC-A1DD-DCD9806FF52B}" dt="2022-01-08T01:47:01.057" v="22" actId="20577"/>
        <pc:sldMkLst>
          <pc:docMk/>
          <pc:sldMk cId="2652119032" sldId="335"/>
        </pc:sldMkLst>
        <pc:spChg chg="mod">
          <ac:chgData name="EVELYNSM.YONG" userId="S::evelynsm.yong_gmail.com#ext#@risebcg.onmicrosoft.com::67a27a72-2420-4d38-b745-316a53f4b99a" providerId="AD" clId="Web-{1C868A80-F4F0-4CEC-A1DD-DCD9806FF52B}" dt="2022-01-08T01:47:01.057" v="22" actId="20577"/>
          <ac:spMkLst>
            <pc:docMk/>
            <pc:sldMk cId="2652119032" sldId="335"/>
            <ac:spMk id="9" creationId="{7E2F8E19-F56B-4CB8-9CA2-A1277727EBFD}"/>
          </ac:spMkLst>
        </pc:spChg>
      </pc:sldChg>
      <pc:sldChg chg="modSp">
        <pc:chgData name="EVELYNSM.YONG" userId="S::evelynsm.yong_gmail.com#ext#@risebcg.onmicrosoft.com::67a27a72-2420-4d38-b745-316a53f4b99a" providerId="AD" clId="Web-{1C868A80-F4F0-4CEC-A1DD-DCD9806FF52B}" dt="2022-01-08T01:47:13.057" v="23" actId="14100"/>
        <pc:sldMkLst>
          <pc:docMk/>
          <pc:sldMk cId="3391215681" sldId="339"/>
        </pc:sldMkLst>
        <pc:spChg chg="mod">
          <ac:chgData name="EVELYNSM.YONG" userId="S::evelynsm.yong_gmail.com#ext#@risebcg.onmicrosoft.com::67a27a72-2420-4d38-b745-316a53f4b99a" providerId="AD" clId="Web-{1C868A80-F4F0-4CEC-A1DD-DCD9806FF52B}" dt="2022-01-08T01:47:13.057" v="23" actId="14100"/>
          <ac:spMkLst>
            <pc:docMk/>
            <pc:sldMk cId="3391215681" sldId="339"/>
            <ac:spMk id="47" creationId="{B72F6C48-B470-4163-9AC9-2982A10656DA}"/>
          </ac:spMkLst>
        </pc:spChg>
      </pc:sldChg>
    </pc:docChg>
  </pc:docChgLst>
  <pc:docChgLst>
    <pc:chgData name="COSMOSFREN" userId="S::cosmosfren_yahoo.com#ext#@risebcg.onmicrosoft.com::5462f5f4-f618-47aa-abd8-fd504e002570" providerId="AD" clId="Web-{07A0A937-BE9A-49D3-9DEB-911A28C55214}"/>
    <pc:docChg chg="delSld modSld">
      <pc:chgData name="COSMOSFREN" userId="S::cosmosfren_yahoo.com#ext#@risebcg.onmicrosoft.com::5462f5f4-f618-47aa-abd8-fd504e002570" providerId="AD" clId="Web-{07A0A937-BE9A-49D3-9DEB-911A28C55214}" dt="2022-01-13T04:20:13.625" v="69"/>
      <pc:docMkLst>
        <pc:docMk/>
      </pc:docMkLst>
      <pc:sldChg chg="modNotes">
        <pc:chgData name="COSMOSFREN" userId="S::cosmosfren_yahoo.com#ext#@risebcg.onmicrosoft.com::5462f5f4-f618-47aa-abd8-fd504e002570" providerId="AD" clId="Web-{07A0A937-BE9A-49D3-9DEB-911A28C55214}" dt="2022-01-13T04:07:18.455" v="1"/>
        <pc:sldMkLst>
          <pc:docMk/>
          <pc:sldMk cId="416007632" sldId="327"/>
        </pc:sldMkLst>
      </pc:sldChg>
      <pc:sldChg chg="del">
        <pc:chgData name="COSMOSFREN" userId="S::cosmosfren_yahoo.com#ext#@risebcg.onmicrosoft.com::5462f5f4-f618-47aa-abd8-fd504e002570" providerId="AD" clId="Web-{07A0A937-BE9A-49D3-9DEB-911A28C55214}" dt="2022-01-13T04:20:13.625" v="69"/>
        <pc:sldMkLst>
          <pc:docMk/>
          <pc:sldMk cId="531825606" sldId="383"/>
        </pc:sldMkLst>
      </pc:sldChg>
      <pc:sldChg chg="modSp modNotes">
        <pc:chgData name="COSMOSFREN" userId="S::cosmosfren_yahoo.com#ext#@risebcg.onmicrosoft.com::5462f5f4-f618-47aa-abd8-fd504e002570" providerId="AD" clId="Web-{07A0A937-BE9A-49D3-9DEB-911A28C55214}" dt="2022-01-13T04:20:07.281" v="68"/>
        <pc:sldMkLst>
          <pc:docMk/>
          <pc:sldMk cId="3581566203" sldId="396"/>
        </pc:sldMkLst>
        <pc:spChg chg="mod">
          <ac:chgData name="COSMOSFREN" userId="S::cosmosfren_yahoo.com#ext#@risebcg.onmicrosoft.com::5462f5f4-f618-47aa-abd8-fd504e002570" providerId="AD" clId="Web-{07A0A937-BE9A-49D3-9DEB-911A28C55214}" dt="2022-01-13T04:13:12.821" v="35" actId="20577"/>
          <ac:spMkLst>
            <pc:docMk/>
            <pc:sldMk cId="3581566203" sldId="396"/>
            <ac:spMk id="11" creationId="{48FA4A77-CB38-4FAD-81FC-6F8B79C30622}"/>
          </ac:spMkLst>
        </pc:spChg>
      </pc:sldChg>
    </pc:docChg>
  </pc:docChgLst>
  <pc:docChgLst>
    <pc:chgData name="WONGYONGLIN91" userId="S::wongyonglin91_gmail.com#ext#@risebcg.onmicrosoft.com::b2d94f93-e580-4f0d-9dda-2138509d25ae" providerId="AD" clId="Web-{F0A9F897-F63F-4ABF-9284-5B2E5231BFDE}"/>
    <pc:docChg chg="delSld modSld">
      <pc:chgData name="WONGYONGLIN91" userId="S::wongyonglin91_gmail.com#ext#@risebcg.onmicrosoft.com::b2d94f93-e580-4f0d-9dda-2138509d25ae" providerId="AD" clId="Web-{F0A9F897-F63F-4ABF-9284-5B2E5231BFDE}" dt="2022-01-09T05:48:54.330" v="19" actId="20577"/>
      <pc:docMkLst>
        <pc:docMk/>
      </pc:docMkLst>
      <pc:sldChg chg="addSp delSp modSp">
        <pc:chgData name="WONGYONGLIN91" userId="S::wongyonglin91_gmail.com#ext#@risebcg.onmicrosoft.com::b2d94f93-e580-4f0d-9dda-2138509d25ae" providerId="AD" clId="Web-{F0A9F897-F63F-4ABF-9284-5B2E5231BFDE}" dt="2022-01-09T05:48:54.330" v="19" actId="20577"/>
        <pc:sldMkLst>
          <pc:docMk/>
          <pc:sldMk cId="1894441827" sldId="358"/>
        </pc:sldMkLst>
        <pc:spChg chg="mod">
          <ac:chgData name="WONGYONGLIN91" userId="S::wongyonglin91_gmail.com#ext#@risebcg.onmicrosoft.com::b2d94f93-e580-4f0d-9dda-2138509d25ae" providerId="AD" clId="Web-{F0A9F897-F63F-4ABF-9284-5B2E5231BFDE}" dt="2022-01-09T05:48:54.330" v="19" actId="20577"/>
          <ac:spMkLst>
            <pc:docMk/>
            <pc:sldMk cId="1894441827" sldId="358"/>
            <ac:spMk id="17" creationId="{815F3179-193A-4F5E-A1A9-12297C608458}"/>
          </ac:spMkLst>
        </pc:spChg>
        <pc:picChg chg="add mod">
          <ac:chgData name="WONGYONGLIN91" userId="S::wongyonglin91_gmail.com#ext#@risebcg.onmicrosoft.com::b2d94f93-e580-4f0d-9dda-2138509d25ae" providerId="AD" clId="Web-{F0A9F897-F63F-4ABF-9284-5B2E5231BFDE}" dt="2022-01-09T05:46:48.968" v="9" actId="14100"/>
          <ac:picMkLst>
            <pc:docMk/>
            <pc:sldMk cId="1894441827" sldId="358"/>
            <ac:picMk id="4" creationId="{BA22EAA2-4B47-4688-9DD6-1B3E79191AAF}"/>
          </ac:picMkLst>
        </pc:picChg>
        <pc:picChg chg="add mod">
          <ac:chgData name="WONGYONGLIN91" userId="S::wongyonglin91_gmail.com#ext#@risebcg.onmicrosoft.com::b2d94f93-e580-4f0d-9dda-2138509d25ae" providerId="AD" clId="Web-{F0A9F897-F63F-4ABF-9284-5B2E5231BFDE}" dt="2022-01-09T05:47:51.907" v="13" actId="14100"/>
          <ac:picMkLst>
            <pc:docMk/>
            <pc:sldMk cId="1894441827" sldId="358"/>
            <ac:picMk id="6" creationId="{5F5024CD-EB7B-49D0-9E4B-B6BFDC4F5683}"/>
          </ac:picMkLst>
        </pc:picChg>
        <pc:picChg chg="del">
          <ac:chgData name="WONGYONGLIN91" userId="S::wongyonglin91_gmail.com#ext#@risebcg.onmicrosoft.com::b2d94f93-e580-4f0d-9dda-2138509d25ae" providerId="AD" clId="Web-{F0A9F897-F63F-4ABF-9284-5B2E5231BFDE}" dt="2022-01-09T05:46:53.906" v="10"/>
          <ac:picMkLst>
            <pc:docMk/>
            <pc:sldMk cId="1894441827" sldId="358"/>
            <ac:picMk id="9" creationId="{AE0C5261-EE51-4A4C-8F2E-CF83910177AF}"/>
          </ac:picMkLst>
        </pc:picChg>
        <pc:picChg chg="del">
          <ac:chgData name="WONGYONGLIN91" userId="S::wongyonglin91_gmail.com#ext#@risebcg.onmicrosoft.com::b2d94f93-e580-4f0d-9dda-2138509d25ae" providerId="AD" clId="Web-{F0A9F897-F63F-4ABF-9284-5B2E5231BFDE}" dt="2022-01-09T05:46:24.327" v="2"/>
          <ac:picMkLst>
            <pc:docMk/>
            <pc:sldMk cId="1894441827" sldId="358"/>
            <ac:picMk id="13" creationId="{527B4510-4D9B-455A-B6C2-3238A0275F12}"/>
          </ac:picMkLst>
        </pc:picChg>
      </pc:sldChg>
      <pc:sldChg chg="del">
        <pc:chgData name="WONGYONGLIN91" userId="S::wongyonglin91_gmail.com#ext#@risebcg.onmicrosoft.com::b2d94f93-e580-4f0d-9dda-2138509d25ae" providerId="AD" clId="Web-{F0A9F897-F63F-4ABF-9284-5B2E5231BFDE}" dt="2022-01-09T05:20:57.244" v="0"/>
        <pc:sldMkLst>
          <pc:docMk/>
          <pc:sldMk cId="373009354" sldId="360"/>
        </pc:sldMkLst>
      </pc:sldChg>
    </pc:docChg>
  </pc:docChgLst>
  <pc:docChgLst>
    <pc:chgData name="WESLEY.TBW" userId="S::wesley.tbw_gmail.com#ext#@risebcg.onmicrosoft.com::1034df62-ee6d-4b2f-8a56-03c4406a0a8a" providerId="AD" clId="Web-{F4D536A2-EFCC-4670-8C8C-E863D221E9CA}"/>
    <pc:docChg chg="modSld">
      <pc:chgData name="WESLEY.TBW" userId="S::wesley.tbw_gmail.com#ext#@risebcg.onmicrosoft.com::1034df62-ee6d-4b2f-8a56-03c4406a0a8a" providerId="AD" clId="Web-{F4D536A2-EFCC-4670-8C8C-E863D221E9CA}" dt="2022-01-09T03:38:54.926" v="1144"/>
      <pc:docMkLst>
        <pc:docMk/>
      </pc:docMkLst>
      <pc:sldChg chg="modNotes">
        <pc:chgData name="WESLEY.TBW" userId="S::wesley.tbw_gmail.com#ext#@risebcg.onmicrosoft.com::1034df62-ee6d-4b2f-8a56-03c4406a0a8a" providerId="AD" clId="Web-{F4D536A2-EFCC-4670-8C8C-E863D221E9CA}" dt="2022-01-09T03:38:54.926" v="1144"/>
        <pc:sldMkLst>
          <pc:docMk/>
          <pc:sldMk cId="4084366951" sldId="318"/>
        </pc:sldMkLst>
      </pc:sldChg>
      <pc:sldChg chg="modNotes">
        <pc:chgData name="WESLEY.TBW" userId="S::wesley.tbw_gmail.com#ext#@risebcg.onmicrosoft.com::1034df62-ee6d-4b2f-8a56-03c4406a0a8a" providerId="AD" clId="Web-{F4D536A2-EFCC-4670-8C8C-E863D221E9CA}" dt="2022-01-09T03:31:35.120" v="965"/>
        <pc:sldMkLst>
          <pc:docMk/>
          <pc:sldMk cId="1249418479" sldId="334"/>
        </pc:sldMkLst>
      </pc:sldChg>
      <pc:sldChg chg="addSp modSp">
        <pc:chgData name="WESLEY.TBW" userId="S::wesley.tbw_gmail.com#ext#@risebcg.onmicrosoft.com::1034df62-ee6d-4b2f-8a56-03c4406a0a8a" providerId="AD" clId="Web-{F4D536A2-EFCC-4670-8C8C-E863D221E9CA}" dt="2022-01-09T03:30:46.932" v="927" actId="20577"/>
        <pc:sldMkLst>
          <pc:docMk/>
          <pc:sldMk cId="4159389698" sldId="342"/>
        </pc:sldMkLst>
        <pc:spChg chg="add mod">
          <ac:chgData name="WESLEY.TBW" userId="S::wesley.tbw_gmail.com#ext#@risebcg.onmicrosoft.com::1034df62-ee6d-4b2f-8a56-03c4406a0a8a" providerId="AD" clId="Web-{F4D536A2-EFCC-4670-8C8C-E863D221E9CA}" dt="2022-01-09T03:30:46.932" v="927" actId="20577"/>
          <ac:spMkLst>
            <pc:docMk/>
            <pc:sldMk cId="4159389698" sldId="342"/>
            <ac:spMk id="3" creationId="{B28C9884-8065-4F65-A34B-525EA6731753}"/>
          </ac:spMkLst>
        </pc:spChg>
      </pc:sldChg>
    </pc:docChg>
  </pc:docChgLst>
  <pc:docChgLst>
    <pc:chgData name="Kin Nam Lee" userId="S::kinnam0123_gmail.com#ext#@risebcg.onmicrosoft.com::d0b82110-aff5-4a68-b92e-ffa659453e49" providerId="AD" clId="Web-{75A97B9E-77E4-426A-B7F0-B00B889C97DC}"/>
    <pc:docChg chg="addSld delSld modSld sldOrd">
      <pc:chgData name="Kin Nam Lee" userId="S::kinnam0123_gmail.com#ext#@risebcg.onmicrosoft.com::d0b82110-aff5-4a68-b92e-ffa659453e49" providerId="AD" clId="Web-{75A97B9E-77E4-426A-B7F0-B00B889C97DC}" dt="2022-01-09T09:49:42.068" v="509" actId="1076"/>
      <pc:docMkLst>
        <pc:docMk/>
      </pc:docMkLst>
      <pc:sldChg chg="addSp delSp modSp new ord">
        <pc:chgData name="Kin Nam Lee" userId="S::kinnam0123_gmail.com#ext#@risebcg.onmicrosoft.com::d0b82110-aff5-4a68-b92e-ffa659453e49" providerId="AD" clId="Web-{75A97B9E-77E4-426A-B7F0-B00B889C97DC}" dt="2022-01-09T09:34:06.403" v="120" actId="14100"/>
        <pc:sldMkLst>
          <pc:docMk/>
          <pc:sldMk cId="1240857227" sldId="361"/>
        </pc:sldMkLst>
        <pc:spChg chg="mod">
          <ac:chgData name="Kin Nam Lee" userId="S::kinnam0123_gmail.com#ext#@risebcg.onmicrosoft.com::d0b82110-aff5-4a68-b92e-ffa659453e49" providerId="AD" clId="Web-{75A97B9E-77E4-426A-B7F0-B00B889C97DC}" dt="2022-01-09T09:29:25.022" v="19" actId="20577"/>
          <ac:spMkLst>
            <pc:docMk/>
            <pc:sldMk cId="1240857227" sldId="361"/>
            <ac:spMk id="2" creationId="{12D3493F-F903-4297-A83F-FCC5CC0BF756}"/>
          </ac:spMkLst>
        </pc:spChg>
        <pc:spChg chg="del">
          <ac:chgData name="Kin Nam Lee" userId="S::kinnam0123_gmail.com#ext#@risebcg.onmicrosoft.com::d0b82110-aff5-4a68-b92e-ffa659453e49" providerId="AD" clId="Web-{75A97B9E-77E4-426A-B7F0-B00B889C97DC}" dt="2022-01-09T09:29:29.460" v="20"/>
          <ac:spMkLst>
            <pc:docMk/>
            <pc:sldMk cId="1240857227" sldId="361"/>
            <ac:spMk id="3" creationId="{39629CE8-0050-4183-9A08-FE4622FDF302}"/>
          </ac:spMkLst>
        </pc:spChg>
        <pc:spChg chg="add mod">
          <ac:chgData name="Kin Nam Lee" userId="S::kinnam0123_gmail.com#ext#@risebcg.onmicrosoft.com::d0b82110-aff5-4a68-b92e-ffa659453e49" providerId="AD" clId="Web-{75A97B9E-77E4-426A-B7F0-B00B889C97DC}" dt="2022-01-09T09:31:12.868" v="46" actId="1076"/>
          <ac:spMkLst>
            <pc:docMk/>
            <pc:sldMk cId="1240857227" sldId="361"/>
            <ac:spMk id="5" creationId="{09C603B1-83E3-40C7-AD23-240A45A6713E}"/>
          </ac:spMkLst>
        </pc:spChg>
        <pc:spChg chg="add mod">
          <ac:chgData name="Kin Nam Lee" userId="S::kinnam0123_gmail.com#ext#@risebcg.onmicrosoft.com::d0b82110-aff5-4a68-b92e-ffa659453e49" providerId="AD" clId="Web-{75A97B9E-77E4-426A-B7F0-B00B889C97DC}" dt="2022-01-09T09:33:57.277" v="118" actId="1076"/>
          <ac:spMkLst>
            <pc:docMk/>
            <pc:sldMk cId="1240857227" sldId="361"/>
            <ac:spMk id="9" creationId="{3179ADB1-85CE-4DE6-A4AE-524B8EB2D41D}"/>
          </ac:spMkLst>
        </pc:spChg>
        <pc:picChg chg="add mod">
          <ac:chgData name="Kin Nam Lee" userId="S::kinnam0123_gmail.com#ext#@risebcg.onmicrosoft.com::d0b82110-aff5-4a68-b92e-ffa659453e49" providerId="AD" clId="Web-{75A97B9E-77E4-426A-B7F0-B00B889C97DC}" dt="2022-01-09T09:34:06.403" v="120" actId="14100"/>
          <ac:picMkLst>
            <pc:docMk/>
            <pc:sldMk cId="1240857227" sldId="361"/>
            <ac:picMk id="4" creationId="{A0243221-DFB5-465E-ADC6-F46920AB8BAD}"/>
          </ac:picMkLst>
        </pc:picChg>
        <pc:picChg chg="add mod">
          <ac:chgData name="Kin Nam Lee" userId="S::kinnam0123_gmail.com#ext#@risebcg.onmicrosoft.com::d0b82110-aff5-4a68-b92e-ffa659453e49" providerId="AD" clId="Web-{75A97B9E-77E4-426A-B7F0-B00B889C97DC}" dt="2022-01-09T09:32:34.323" v="58" actId="1076"/>
          <ac:picMkLst>
            <pc:docMk/>
            <pc:sldMk cId="1240857227" sldId="361"/>
            <ac:picMk id="6" creationId="{0A4441F9-3BF1-4F69-A316-B658D09F3EE0}"/>
          </ac:picMkLst>
        </pc:picChg>
        <pc:picChg chg="add mod">
          <ac:chgData name="Kin Nam Lee" userId="S::kinnam0123_gmail.com#ext#@risebcg.onmicrosoft.com::d0b82110-aff5-4a68-b92e-ffa659453e49" providerId="AD" clId="Web-{75A97B9E-77E4-426A-B7F0-B00B889C97DC}" dt="2022-01-09T09:33:02.354" v="64" actId="1076"/>
          <ac:picMkLst>
            <pc:docMk/>
            <pc:sldMk cId="1240857227" sldId="361"/>
            <ac:picMk id="7" creationId="{BAACB8E4-69DD-479F-80D3-67E0293AB487}"/>
          </ac:picMkLst>
        </pc:picChg>
        <pc:picChg chg="add mod">
          <ac:chgData name="Kin Nam Lee" userId="S::kinnam0123_gmail.com#ext#@risebcg.onmicrosoft.com::d0b82110-aff5-4a68-b92e-ffa659453e49" providerId="AD" clId="Web-{75A97B9E-77E4-426A-B7F0-B00B889C97DC}" dt="2022-01-09T09:32:29.104" v="57" actId="1076"/>
          <ac:picMkLst>
            <pc:docMk/>
            <pc:sldMk cId="1240857227" sldId="361"/>
            <ac:picMk id="8" creationId="{2D9F6303-CB72-4F30-934B-2477D027F983}"/>
          </ac:picMkLst>
        </pc:picChg>
      </pc:sldChg>
      <pc:sldChg chg="new del">
        <pc:chgData name="Kin Nam Lee" userId="S::kinnam0123_gmail.com#ext#@risebcg.onmicrosoft.com::d0b82110-aff5-4a68-b92e-ffa659453e49" providerId="AD" clId="Web-{75A97B9E-77E4-426A-B7F0-B00B889C97DC}" dt="2022-01-09T09:28:49.568" v="1"/>
        <pc:sldMkLst>
          <pc:docMk/>
          <pc:sldMk cId="1304755235" sldId="361"/>
        </pc:sldMkLst>
      </pc:sldChg>
      <pc:sldChg chg="addSp delSp modSp add replId">
        <pc:chgData name="Kin Nam Lee" userId="S::kinnam0123_gmail.com#ext#@risebcg.onmicrosoft.com::d0b82110-aff5-4a68-b92e-ffa659453e49" providerId="AD" clId="Web-{75A97B9E-77E4-426A-B7F0-B00B889C97DC}" dt="2022-01-09T09:36:46.687" v="157" actId="1076"/>
        <pc:sldMkLst>
          <pc:docMk/>
          <pc:sldMk cId="1435943691" sldId="362"/>
        </pc:sldMkLst>
        <pc:spChg chg="mod">
          <ac:chgData name="Kin Nam Lee" userId="S::kinnam0123_gmail.com#ext#@risebcg.onmicrosoft.com::d0b82110-aff5-4a68-b92e-ffa659453e49" providerId="AD" clId="Web-{75A97B9E-77E4-426A-B7F0-B00B889C97DC}" dt="2022-01-09T09:35:51.311" v="144" actId="20577"/>
          <ac:spMkLst>
            <pc:docMk/>
            <pc:sldMk cId="1435943691" sldId="362"/>
            <ac:spMk id="5" creationId="{09C603B1-83E3-40C7-AD23-240A45A6713E}"/>
          </ac:spMkLst>
        </pc:spChg>
        <pc:spChg chg="mod">
          <ac:chgData name="Kin Nam Lee" userId="S::kinnam0123_gmail.com#ext#@risebcg.onmicrosoft.com::d0b82110-aff5-4a68-b92e-ffa659453e49" providerId="AD" clId="Web-{75A97B9E-77E4-426A-B7F0-B00B889C97DC}" dt="2022-01-09T09:35:37.014" v="137" actId="20577"/>
          <ac:spMkLst>
            <pc:docMk/>
            <pc:sldMk cId="1435943691" sldId="362"/>
            <ac:spMk id="9" creationId="{3179ADB1-85CE-4DE6-A4AE-524B8EB2D41D}"/>
          </ac:spMkLst>
        </pc:spChg>
        <pc:picChg chg="add mod">
          <ac:chgData name="Kin Nam Lee" userId="S::kinnam0123_gmail.com#ext#@risebcg.onmicrosoft.com::d0b82110-aff5-4a68-b92e-ffa659453e49" providerId="AD" clId="Web-{75A97B9E-77E4-426A-B7F0-B00B889C97DC}" dt="2022-01-09T09:35:55.405" v="145" actId="14100"/>
          <ac:picMkLst>
            <pc:docMk/>
            <pc:sldMk cId="1435943691" sldId="362"/>
            <ac:picMk id="3" creationId="{F490B9E4-E4C6-44FE-92D7-DFF88C9C04E8}"/>
          </ac:picMkLst>
        </pc:picChg>
        <pc:picChg chg="del">
          <ac:chgData name="Kin Nam Lee" userId="S::kinnam0123_gmail.com#ext#@risebcg.onmicrosoft.com::d0b82110-aff5-4a68-b92e-ffa659453e49" providerId="AD" clId="Web-{75A97B9E-77E4-426A-B7F0-B00B889C97DC}" dt="2022-01-09T09:34:42.388" v="122"/>
          <ac:picMkLst>
            <pc:docMk/>
            <pc:sldMk cId="1435943691" sldId="362"/>
            <ac:picMk id="4" creationId="{A0243221-DFB5-465E-ADC6-F46920AB8BAD}"/>
          </ac:picMkLst>
        </pc:picChg>
        <pc:picChg chg="del">
          <ac:chgData name="Kin Nam Lee" userId="S::kinnam0123_gmail.com#ext#@risebcg.onmicrosoft.com::d0b82110-aff5-4a68-b92e-ffa659453e49" providerId="AD" clId="Web-{75A97B9E-77E4-426A-B7F0-B00B889C97DC}" dt="2022-01-09T09:34:49.794" v="125"/>
          <ac:picMkLst>
            <pc:docMk/>
            <pc:sldMk cId="1435943691" sldId="362"/>
            <ac:picMk id="6" creationId="{0A4441F9-3BF1-4F69-A316-B658D09F3EE0}"/>
          </ac:picMkLst>
        </pc:picChg>
        <pc:picChg chg="del">
          <ac:chgData name="Kin Nam Lee" userId="S::kinnam0123_gmail.com#ext#@risebcg.onmicrosoft.com::d0b82110-aff5-4a68-b92e-ffa659453e49" providerId="AD" clId="Web-{75A97B9E-77E4-426A-B7F0-B00B889C97DC}" dt="2022-01-09T09:34:49.794" v="124"/>
          <ac:picMkLst>
            <pc:docMk/>
            <pc:sldMk cId="1435943691" sldId="362"/>
            <ac:picMk id="7" creationId="{BAACB8E4-69DD-479F-80D3-67E0293AB487}"/>
          </ac:picMkLst>
        </pc:picChg>
        <pc:picChg chg="del">
          <ac:chgData name="Kin Nam Lee" userId="S::kinnam0123_gmail.com#ext#@risebcg.onmicrosoft.com::d0b82110-aff5-4a68-b92e-ffa659453e49" providerId="AD" clId="Web-{75A97B9E-77E4-426A-B7F0-B00B889C97DC}" dt="2022-01-09T09:34:49.794" v="123"/>
          <ac:picMkLst>
            <pc:docMk/>
            <pc:sldMk cId="1435943691" sldId="362"/>
            <ac:picMk id="8" creationId="{2D9F6303-CB72-4F30-934B-2477D027F983}"/>
          </ac:picMkLst>
        </pc:picChg>
        <pc:picChg chg="add mod">
          <ac:chgData name="Kin Nam Lee" userId="S::kinnam0123_gmail.com#ext#@risebcg.onmicrosoft.com::d0b82110-aff5-4a68-b92e-ffa659453e49" providerId="AD" clId="Web-{75A97B9E-77E4-426A-B7F0-B00B889C97DC}" dt="2022-01-09T09:36:37.437" v="153" actId="1076"/>
          <ac:picMkLst>
            <pc:docMk/>
            <pc:sldMk cId="1435943691" sldId="362"/>
            <ac:picMk id="10" creationId="{A4589F60-54A0-4840-83C8-3CA2E9115C9D}"/>
          </ac:picMkLst>
        </pc:picChg>
        <pc:picChg chg="add mod">
          <ac:chgData name="Kin Nam Lee" userId="S::kinnam0123_gmail.com#ext#@risebcg.onmicrosoft.com::d0b82110-aff5-4a68-b92e-ffa659453e49" providerId="AD" clId="Web-{75A97B9E-77E4-426A-B7F0-B00B889C97DC}" dt="2022-01-09T09:36:46.687" v="157" actId="1076"/>
          <ac:picMkLst>
            <pc:docMk/>
            <pc:sldMk cId="1435943691" sldId="362"/>
            <ac:picMk id="11" creationId="{CF98E824-4F82-4929-9719-C647B13D1C49}"/>
          </ac:picMkLst>
        </pc:picChg>
        <pc:picChg chg="add mod">
          <ac:chgData name="Kin Nam Lee" userId="S::kinnam0123_gmail.com#ext#@risebcg.onmicrosoft.com::d0b82110-aff5-4a68-b92e-ffa659453e49" providerId="AD" clId="Web-{75A97B9E-77E4-426A-B7F0-B00B889C97DC}" dt="2022-01-09T09:36:38.093" v="154" actId="1076"/>
          <ac:picMkLst>
            <pc:docMk/>
            <pc:sldMk cId="1435943691" sldId="362"/>
            <ac:picMk id="12" creationId="{D9BB96CA-1C75-4A6B-89BF-583AD774395E}"/>
          </ac:picMkLst>
        </pc:picChg>
      </pc:sldChg>
      <pc:sldChg chg="addSp delSp modSp add replId">
        <pc:chgData name="Kin Nam Lee" userId="S::kinnam0123_gmail.com#ext#@risebcg.onmicrosoft.com::d0b82110-aff5-4a68-b92e-ffa659453e49" providerId="AD" clId="Web-{75A97B9E-77E4-426A-B7F0-B00B889C97DC}" dt="2022-01-09T09:40:08.040" v="252" actId="1076"/>
        <pc:sldMkLst>
          <pc:docMk/>
          <pc:sldMk cId="3116244911" sldId="363"/>
        </pc:sldMkLst>
        <pc:spChg chg="mod">
          <ac:chgData name="Kin Nam Lee" userId="S::kinnam0123_gmail.com#ext#@risebcg.onmicrosoft.com::d0b82110-aff5-4a68-b92e-ffa659453e49" providerId="AD" clId="Web-{75A97B9E-77E4-426A-B7F0-B00B889C97DC}" dt="2022-01-09T09:38:01.720" v="168" actId="20577"/>
          <ac:spMkLst>
            <pc:docMk/>
            <pc:sldMk cId="3116244911" sldId="363"/>
            <ac:spMk id="5" creationId="{09C603B1-83E3-40C7-AD23-240A45A6713E}"/>
          </ac:spMkLst>
        </pc:spChg>
        <pc:spChg chg="mod">
          <ac:chgData name="Kin Nam Lee" userId="S::kinnam0123_gmail.com#ext#@risebcg.onmicrosoft.com::d0b82110-aff5-4a68-b92e-ffa659453e49" providerId="AD" clId="Web-{75A97B9E-77E4-426A-B7F0-B00B889C97DC}" dt="2022-01-09T09:40:08.040" v="252" actId="1076"/>
          <ac:spMkLst>
            <pc:docMk/>
            <pc:sldMk cId="3116244911" sldId="363"/>
            <ac:spMk id="9" creationId="{3179ADB1-85CE-4DE6-A4AE-524B8EB2D41D}"/>
          </ac:spMkLst>
        </pc:spChg>
        <pc:picChg chg="del">
          <ac:chgData name="Kin Nam Lee" userId="S::kinnam0123_gmail.com#ext#@risebcg.onmicrosoft.com::d0b82110-aff5-4a68-b92e-ffa659453e49" providerId="AD" clId="Web-{75A97B9E-77E4-426A-B7F0-B00B889C97DC}" dt="2022-01-09T09:36:58.359" v="159"/>
          <ac:picMkLst>
            <pc:docMk/>
            <pc:sldMk cId="3116244911" sldId="363"/>
            <ac:picMk id="3" creationId="{F490B9E4-E4C6-44FE-92D7-DFF88C9C04E8}"/>
          </ac:picMkLst>
        </pc:picChg>
        <pc:picChg chg="add mod">
          <ac:chgData name="Kin Nam Lee" userId="S::kinnam0123_gmail.com#ext#@risebcg.onmicrosoft.com::d0b82110-aff5-4a68-b92e-ffa659453e49" providerId="AD" clId="Web-{75A97B9E-77E4-426A-B7F0-B00B889C97DC}" dt="2022-01-09T09:38:36.502" v="198" actId="1076"/>
          <ac:picMkLst>
            <pc:docMk/>
            <pc:sldMk cId="3116244911" sldId="363"/>
            <ac:picMk id="4" creationId="{71974ED0-949D-4F9C-98BF-F953E32EC188}"/>
          </ac:picMkLst>
        </pc:picChg>
        <pc:picChg chg="add mod">
          <ac:chgData name="Kin Nam Lee" userId="S::kinnam0123_gmail.com#ext#@risebcg.onmicrosoft.com::d0b82110-aff5-4a68-b92e-ffa659453e49" providerId="AD" clId="Web-{75A97B9E-77E4-426A-B7F0-B00B889C97DC}" dt="2022-01-09T09:38:09.345" v="170" actId="1076"/>
          <ac:picMkLst>
            <pc:docMk/>
            <pc:sldMk cId="3116244911" sldId="363"/>
            <ac:picMk id="6" creationId="{E3ADEC42-E3A8-473D-AE75-070A05E47158}"/>
          </ac:picMkLst>
        </pc:picChg>
        <pc:picChg chg="del">
          <ac:chgData name="Kin Nam Lee" userId="S::kinnam0123_gmail.com#ext#@risebcg.onmicrosoft.com::d0b82110-aff5-4a68-b92e-ffa659453e49" providerId="AD" clId="Web-{75A97B9E-77E4-426A-B7F0-B00B889C97DC}" dt="2022-01-09T09:36:59.281" v="160"/>
          <ac:picMkLst>
            <pc:docMk/>
            <pc:sldMk cId="3116244911" sldId="363"/>
            <ac:picMk id="10" creationId="{A4589F60-54A0-4840-83C8-3CA2E9115C9D}"/>
          </ac:picMkLst>
        </pc:picChg>
        <pc:picChg chg="del">
          <ac:chgData name="Kin Nam Lee" userId="S::kinnam0123_gmail.com#ext#@risebcg.onmicrosoft.com::d0b82110-aff5-4a68-b92e-ffa659453e49" providerId="AD" clId="Web-{75A97B9E-77E4-426A-B7F0-B00B889C97DC}" dt="2022-01-09T09:37:03.703" v="162"/>
          <ac:picMkLst>
            <pc:docMk/>
            <pc:sldMk cId="3116244911" sldId="363"/>
            <ac:picMk id="11" creationId="{CF98E824-4F82-4929-9719-C647B13D1C49}"/>
          </ac:picMkLst>
        </pc:picChg>
        <pc:picChg chg="del">
          <ac:chgData name="Kin Nam Lee" userId="S::kinnam0123_gmail.com#ext#@risebcg.onmicrosoft.com::d0b82110-aff5-4a68-b92e-ffa659453e49" providerId="AD" clId="Web-{75A97B9E-77E4-426A-B7F0-B00B889C97DC}" dt="2022-01-09T09:37:00.328" v="161"/>
          <ac:picMkLst>
            <pc:docMk/>
            <pc:sldMk cId="3116244911" sldId="363"/>
            <ac:picMk id="12" creationId="{D9BB96CA-1C75-4A6B-89BF-583AD774395E}"/>
          </ac:picMkLst>
        </pc:picChg>
      </pc:sldChg>
      <pc:sldChg chg="addSp delSp modSp add replId">
        <pc:chgData name="Kin Nam Lee" userId="S::kinnam0123_gmail.com#ext#@risebcg.onmicrosoft.com::d0b82110-aff5-4a68-b92e-ffa659453e49" providerId="AD" clId="Web-{75A97B9E-77E4-426A-B7F0-B00B889C97DC}" dt="2022-01-09T09:42:04.433" v="290" actId="1076"/>
        <pc:sldMkLst>
          <pc:docMk/>
          <pc:sldMk cId="3544593396" sldId="364"/>
        </pc:sldMkLst>
        <pc:spChg chg="mod">
          <ac:chgData name="Kin Nam Lee" userId="S::kinnam0123_gmail.com#ext#@risebcg.onmicrosoft.com::d0b82110-aff5-4a68-b92e-ffa659453e49" providerId="AD" clId="Web-{75A97B9E-77E4-426A-B7F0-B00B889C97DC}" dt="2022-01-09T09:40:23.259" v="266" actId="20577"/>
          <ac:spMkLst>
            <pc:docMk/>
            <pc:sldMk cId="3544593396" sldId="364"/>
            <ac:spMk id="5" creationId="{09C603B1-83E3-40C7-AD23-240A45A6713E}"/>
          </ac:spMkLst>
        </pc:spChg>
        <pc:spChg chg="mod">
          <ac:chgData name="Kin Nam Lee" userId="S::kinnam0123_gmail.com#ext#@risebcg.onmicrosoft.com::d0b82110-aff5-4a68-b92e-ffa659453e49" providerId="AD" clId="Web-{75A97B9E-77E4-426A-B7F0-B00B889C97DC}" dt="2022-01-09T09:41:48.776" v="287" actId="20577"/>
          <ac:spMkLst>
            <pc:docMk/>
            <pc:sldMk cId="3544593396" sldId="364"/>
            <ac:spMk id="9" creationId="{3179ADB1-85CE-4DE6-A4AE-524B8EB2D41D}"/>
          </ac:spMkLst>
        </pc:spChg>
        <pc:picChg chg="add mod">
          <ac:chgData name="Kin Nam Lee" userId="S::kinnam0123_gmail.com#ext#@risebcg.onmicrosoft.com::d0b82110-aff5-4a68-b92e-ffa659453e49" providerId="AD" clId="Web-{75A97B9E-77E4-426A-B7F0-B00B889C97DC}" dt="2022-01-09T09:42:04.433" v="290" actId="1076"/>
          <ac:picMkLst>
            <pc:docMk/>
            <pc:sldMk cId="3544593396" sldId="364"/>
            <ac:picMk id="3" creationId="{92F2F078-2A64-4F81-AAB6-04F45D935590}"/>
          </ac:picMkLst>
        </pc:picChg>
        <pc:picChg chg="del">
          <ac:chgData name="Kin Nam Lee" userId="S::kinnam0123_gmail.com#ext#@risebcg.onmicrosoft.com::d0b82110-aff5-4a68-b92e-ffa659453e49" providerId="AD" clId="Web-{75A97B9E-77E4-426A-B7F0-B00B889C97DC}" dt="2022-01-09T09:38:49.955" v="201"/>
          <ac:picMkLst>
            <pc:docMk/>
            <pc:sldMk cId="3544593396" sldId="364"/>
            <ac:picMk id="4" creationId="{71974ED0-949D-4F9C-98BF-F953E32EC188}"/>
          </ac:picMkLst>
        </pc:picChg>
        <pc:picChg chg="del">
          <ac:chgData name="Kin Nam Lee" userId="S::kinnam0123_gmail.com#ext#@risebcg.onmicrosoft.com::d0b82110-aff5-4a68-b92e-ffa659453e49" providerId="AD" clId="Web-{75A97B9E-77E4-426A-B7F0-B00B889C97DC}" dt="2022-01-09T09:38:48.549" v="200"/>
          <ac:picMkLst>
            <pc:docMk/>
            <pc:sldMk cId="3544593396" sldId="364"/>
            <ac:picMk id="6" creationId="{E3ADEC42-E3A8-473D-AE75-070A05E47158}"/>
          </ac:picMkLst>
        </pc:picChg>
        <pc:picChg chg="add mod">
          <ac:chgData name="Kin Nam Lee" userId="S::kinnam0123_gmail.com#ext#@risebcg.onmicrosoft.com::d0b82110-aff5-4a68-b92e-ffa659453e49" providerId="AD" clId="Web-{75A97B9E-77E4-426A-B7F0-B00B889C97DC}" dt="2022-01-09T09:41:31.088" v="275" actId="14100"/>
          <ac:picMkLst>
            <pc:docMk/>
            <pc:sldMk cId="3544593396" sldId="364"/>
            <ac:picMk id="7" creationId="{32A083E4-1136-43B2-AA61-204C83559131}"/>
          </ac:picMkLst>
        </pc:picChg>
        <pc:picChg chg="add del mod">
          <ac:chgData name="Kin Nam Lee" userId="S::kinnam0123_gmail.com#ext#@risebcg.onmicrosoft.com::d0b82110-aff5-4a68-b92e-ffa659453e49" providerId="AD" clId="Web-{75A97B9E-77E4-426A-B7F0-B00B889C97DC}" dt="2022-01-09T09:41:51.386" v="288"/>
          <ac:picMkLst>
            <pc:docMk/>
            <pc:sldMk cId="3544593396" sldId="364"/>
            <ac:picMk id="8" creationId="{AC03C6AA-6961-4022-A80B-9246FE646644}"/>
          </ac:picMkLst>
        </pc:picChg>
      </pc:sldChg>
      <pc:sldChg chg="addSp delSp modSp add replId">
        <pc:chgData name="Kin Nam Lee" userId="S::kinnam0123_gmail.com#ext#@risebcg.onmicrosoft.com::d0b82110-aff5-4a68-b92e-ffa659453e49" providerId="AD" clId="Web-{75A97B9E-77E4-426A-B7F0-B00B889C97DC}" dt="2022-01-09T09:44:00.826" v="351" actId="14100"/>
        <pc:sldMkLst>
          <pc:docMk/>
          <pc:sldMk cId="1368706879" sldId="365"/>
        </pc:sldMkLst>
        <pc:spChg chg="mod">
          <ac:chgData name="Kin Nam Lee" userId="S::kinnam0123_gmail.com#ext#@risebcg.onmicrosoft.com::d0b82110-aff5-4a68-b92e-ffa659453e49" providerId="AD" clId="Web-{75A97B9E-77E4-426A-B7F0-B00B889C97DC}" dt="2022-01-09T09:44:00.826" v="351" actId="14100"/>
          <ac:spMkLst>
            <pc:docMk/>
            <pc:sldMk cId="1368706879" sldId="365"/>
            <ac:spMk id="5" creationId="{09C603B1-83E3-40C7-AD23-240A45A6713E}"/>
          </ac:spMkLst>
        </pc:spChg>
        <pc:spChg chg="mod">
          <ac:chgData name="Kin Nam Lee" userId="S::kinnam0123_gmail.com#ext#@risebcg.onmicrosoft.com::d0b82110-aff5-4a68-b92e-ffa659453e49" providerId="AD" clId="Web-{75A97B9E-77E4-426A-B7F0-B00B889C97DC}" dt="2022-01-09T09:43:50.919" v="350" actId="1076"/>
          <ac:spMkLst>
            <pc:docMk/>
            <pc:sldMk cId="1368706879" sldId="365"/>
            <ac:spMk id="9" creationId="{3179ADB1-85CE-4DE6-A4AE-524B8EB2D41D}"/>
          </ac:spMkLst>
        </pc:spChg>
        <pc:picChg chg="del">
          <ac:chgData name="Kin Nam Lee" userId="S::kinnam0123_gmail.com#ext#@risebcg.onmicrosoft.com::d0b82110-aff5-4a68-b92e-ffa659453e49" providerId="AD" clId="Web-{75A97B9E-77E4-426A-B7F0-B00B889C97DC}" dt="2022-01-09T09:42:15.558" v="292"/>
          <ac:picMkLst>
            <pc:docMk/>
            <pc:sldMk cId="1368706879" sldId="365"/>
            <ac:picMk id="3" creationId="{92F2F078-2A64-4F81-AAB6-04F45D935590}"/>
          </ac:picMkLst>
        </pc:picChg>
        <pc:picChg chg="add mod">
          <ac:chgData name="Kin Nam Lee" userId="S::kinnam0123_gmail.com#ext#@risebcg.onmicrosoft.com::d0b82110-aff5-4a68-b92e-ffa659453e49" providerId="AD" clId="Web-{75A97B9E-77E4-426A-B7F0-B00B889C97DC}" dt="2022-01-09T09:42:50.902" v="298" actId="14100"/>
          <ac:picMkLst>
            <pc:docMk/>
            <pc:sldMk cId="1368706879" sldId="365"/>
            <ac:picMk id="4" creationId="{566D1659-13FF-47F8-88C8-68034A0DB9EE}"/>
          </ac:picMkLst>
        </pc:picChg>
        <pc:picChg chg="add mod">
          <ac:chgData name="Kin Nam Lee" userId="S::kinnam0123_gmail.com#ext#@risebcg.onmicrosoft.com::d0b82110-aff5-4a68-b92e-ffa659453e49" providerId="AD" clId="Web-{75A97B9E-77E4-426A-B7F0-B00B889C97DC}" dt="2022-01-09T09:42:57.074" v="300" actId="14100"/>
          <ac:picMkLst>
            <pc:docMk/>
            <pc:sldMk cId="1368706879" sldId="365"/>
            <ac:picMk id="6" creationId="{9A02E292-73CE-41B4-88EF-76B9EA903288}"/>
          </ac:picMkLst>
        </pc:picChg>
        <pc:picChg chg="del">
          <ac:chgData name="Kin Nam Lee" userId="S::kinnam0123_gmail.com#ext#@risebcg.onmicrosoft.com::d0b82110-aff5-4a68-b92e-ffa659453e49" providerId="AD" clId="Web-{75A97B9E-77E4-426A-B7F0-B00B889C97DC}" dt="2022-01-09T09:42:16.636" v="293"/>
          <ac:picMkLst>
            <pc:docMk/>
            <pc:sldMk cId="1368706879" sldId="365"/>
            <ac:picMk id="7" creationId="{32A083E4-1136-43B2-AA61-204C83559131}"/>
          </ac:picMkLst>
        </pc:picChg>
      </pc:sldChg>
      <pc:sldChg chg="addSp delSp modSp add replId">
        <pc:chgData name="Kin Nam Lee" userId="S::kinnam0123_gmail.com#ext#@risebcg.onmicrosoft.com::d0b82110-aff5-4a68-b92e-ffa659453e49" providerId="AD" clId="Web-{75A97B9E-77E4-426A-B7F0-B00B889C97DC}" dt="2022-01-09T09:45:36.907" v="400" actId="1076"/>
        <pc:sldMkLst>
          <pc:docMk/>
          <pc:sldMk cId="3891548654" sldId="366"/>
        </pc:sldMkLst>
        <pc:spChg chg="mod">
          <ac:chgData name="Kin Nam Lee" userId="S::kinnam0123_gmail.com#ext#@risebcg.onmicrosoft.com::d0b82110-aff5-4a68-b92e-ffa659453e49" providerId="AD" clId="Web-{75A97B9E-77E4-426A-B7F0-B00B889C97DC}" dt="2022-01-09T09:45:24.032" v="377" actId="20577"/>
          <ac:spMkLst>
            <pc:docMk/>
            <pc:sldMk cId="3891548654" sldId="366"/>
            <ac:spMk id="5" creationId="{09C603B1-83E3-40C7-AD23-240A45A6713E}"/>
          </ac:spMkLst>
        </pc:spChg>
        <pc:spChg chg="mod">
          <ac:chgData name="Kin Nam Lee" userId="S::kinnam0123_gmail.com#ext#@risebcg.onmicrosoft.com::d0b82110-aff5-4a68-b92e-ffa659453e49" providerId="AD" clId="Web-{75A97B9E-77E4-426A-B7F0-B00B889C97DC}" dt="2022-01-09T09:45:29.829" v="399" actId="20577"/>
          <ac:spMkLst>
            <pc:docMk/>
            <pc:sldMk cId="3891548654" sldId="366"/>
            <ac:spMk id="9" creationId="{3179ADB1-85CE-4DE6-A4AE-524B8EB2D41D}"/>
          </ac:spMkLst>
        </pc:spChg>
        <pc:picChg chg="add mod">
          <ac:chgData name="Kin Nam Lee" userId="S::kinnam0123_gmail.com#ext#@risebcg.onmicrosoft.com::d0b82110-aff5-4a68-b92e-ffa659453e49" providerId="AD" clId="Web-{75A97B9E-77E4-426A-B7F0-B00B889C97DC}" dt="2022-01-09T09:45:06.860" v="363" actId="1076"/>
          <ac:picMkLst>
            <pc:docMk/>
            <pc:sldMk cId="3891548654" sldId="366"/>
            <ac:picMk id="3" creationId="{3A9AAE25-4049-446E-8E70-55A209C4D22D}"/>
          </ac:picMkLst>
        </pc:picChg>
        <pc:picChg chg="del">
          <ac:chgData name="Kin Nam Lee" userId="S::kinnam0123_gmail.com#ext#@risebcg.onmicrosoft.com::d0b82110-aff5-4a68-b92e-ffa659453e49" providerId="AD" clId="Web-{75A97B9E-77E4-426A-B7F0-B00B889C97DC}" dt="2022-01-09T09:44:17.250" v="353"/>
          <ac:picMkLst>
            <pc:docMk/>
            <pc:sldMk cId="3891548654" sldId="366"/>
            <ac:picMk id="4" creationId="{566D1659-13FF-47F8-88C8-68034A0DB9EE}"/>
          </ac:picMkLst>
        </pc:picChg>
        <pc:picChg chg="del">
          <ac:chgData name="Kin Nam Lee" userId="S::kinnam0123_gmail.com#ext#@risebcg.onmicrosoft.com::d0b82110-aff5-4a68-b92e-ffa659453e49" providerId="AD" clId="Web-{75A97B9E-77E4-426A-B7F0-B00B889C97DC}" dt="2022-01-09T09:44:19.343" v="354"/>
          <ac:picMkLst>
            <pc:docMk/>
            <pc:sldMk cId="3891548654" sldId="366"/>
            <ac:picMk id="6" creationId="{9A02E292-73CE-41B4-88EF-76B9EA903288}"/>
          </ac:picMkLst>
        </pc:picChg>
        <pc:picChg chg="add mod">
          <ac:chgData name="Kin Nam Lee" userId="S::kinnam0123_gmail.com#ext#@risebcg.onmicrosoft.com::d0b82110-aff5-4a68-b92e-ffa659453e49" providerId="AD" clId="Web-{75A97B9E-77E4-426A-B7F0-B00B889C97DC}" dt="2022-01-09T09:45:36.907" v="400" actId="1076"/>
          <ac:picMkLst>
            <pc:docMk/>
            <pc:sldMk cId="3891548654" sldId="366"/>
            <ac:picMk id="7" creationId="{501F7DE2-8991-44A1-9009-B56CC32D49AD}"/>
          </ac:picMkLst>
        </pc:picChg>
      </pc:sldChg>
      <pc:sldChg chg="addSp delSp modSp add replId">
        <pc:chgData name="Kin Nam Lee" userId="S::kinnam0123_gmail.com#ext#@risebcg.onmicrosoft.com::d0b82110-aff5-4a68-b92e-ffa659453e49" providerId="AD" clId="Web-{75A97B9E-77E4-426A-B7F0-B00B889C97DC}" dt="2022-01-09T09:48:25.598" v="494" actId="20577"/>
        <pc:sldMkLst>
          <pc:docMk/>
          <pc:sldMk cId="495325899" sldId="367"/>
        </pc:sldMkLst>
        <pc:spChg chg="mod">
          <ac:chgData name="Kin Nam Lee" userId="S::kinnam0123_gmail.com#ext#@risebcg.onmicrosoft.com::d0b82110-aff5-4a68-b92e-ffa659453e49" providerId="AD" clId="Web-{75A97B9E-77E4-426A-B7F0-B00B889C97DC}" dt="2022-01-09T09:48:25.598" v="494" actId="20577"/>
          <ac:spMkLst>
            <pc:docMk/>
            <pc:sldMk cId="495325899" sldId="367"/>
            <ac:spMk id="5" creationId="{09C603B1-83E3-40C7-AD23-240A45A6713E}"/>
          </ac:spMkLst>
        </pc:spChg>
        <pc:spChg chg="mod">
          <ac:chgData name="Kin Nam Lee" userId="S::kinnam0123_gmail.com#ext#@risebcg.onmicrosoft.com::d0b82110-aff5-4a68-b92e-ffa659453e49" providerId="AD" clId="Web-{75A97B9E-77E4-426A-B7F0-B00B889C97DC}" dt="2022-01-09T09:48:20.176" v="488" actId="20577"/>
          <ac:spMkLst>
            <pc:docMk/>
            <pc:sldMk cId="495325899" sldId="367"/>
            <ac:spMk id="9" creationId="{3179ADB1-85CE-4DE6-A4AE-524B8EB2D41D}"/>
          </ac:spMkLst>
        </pc:spChg>
        <pc:picChg chg="del">
          <ac:chgData name="Kin Nam Lee" userId="S::kinnam0123_gmail.com#ext#@risebcg.onmicrosoft.com::d0b82110-aff5-4a68-b92e-ffa659453e49" providerId="AD" clId="Web-{75A97B9E-77E4-426A-B7F0-B00B889C97DC}" dt="2022-01-09T09:45:48.126" v="402"/>
          <ac:picMkLst>
            <pc:docMk/>
            <pc:sldMk cId="495325899" sldId="367"/>
            <ac:picMk id="3" creationId="{3A9AAE25-4049-446E-8E70-55A209C4D22D}"/>
          </ac:picMkLst>
        </pc:picChg>
        <pc:picChg chg="add mod">
          <ac:chgData name="Kin Nam Lee" userId="S::kinnam0123_gmail.com#ext#@risebcg.onmicrosoft.com::d0b82110-aff5-4a68-b92e-ffa659453e49" providerId="AD" clId="Web-{75A97B9E-77E4-426A-B7F0-B00B889C97DC}" dt="2022-01-09T09:47:24.034" v="475" actId="1076"/>
          <ac:picMkLst>
            <pc:docMk/>
            <pc:sldMk cId="495325899" sldId="367"/>
            <ac:picMk id="4" creationId="{79B30297-A01B-430C-8EB8-745A3D069B7F}"/>
          </ac:picMkLst>
        </pc:picChg>
        <pc:picChg chg="add mod">
          <ac:chgData name="Kin Nam Lee" userId="S::kinnam0123_gmail.com#ext#@risebcg.onmicrosoft.com::d0b82110-aff5-4a68-b92e-ffa659453e49" providerId="AD" clId="Web-{75A97B9E-77E4-426A-B7F0-B00B889C97DC}" dt="2022-01-09T09:47:28.753" v="477" actId="1076"/>
          <ac:picMkLst>
            <pc:docMk/>
            <pc:sldMk cId="495325899" sldId="367"/>
            <ac:picMk id="6" creationId="{4A08CA56-0F2C-4842-8FB2-31B02C4CC1C2}"/>
          </ac:picMkLst>
        </pc:picChg>
        <pc:picChg chg="del">
          <ac:chgData name="Kin Nam Lee" userId="S::kinnam0123_gmail.com#ext#@risebcg.onmicrosoft.com::d0b82110-aff5-4a68-b92e-ffa659453e49" providerId="AD" clId="Web-{75A97B9E-77E4-426A-B7F0-B00B889C97DC}" dt="2022-01-09T09:45:50.220" v="403"/>
          <ac:picMkLst>
            <pc:docMk/>
            <pc:sldMk cId="495325899" sldId="367"/>
            <ac:picMk id="7" creationId="{501F7DE2-8991-44A1-9009-B56CC32D49AD}"/>
          </ac:picMkLst>
        </pc:picChg>
        <pc:picChg chg="add mod">
          <ac:chgData name="Kin Nam Lee" userId="S::kinnam0123_gmail.com#ext#@risebcg.onmicrosoft.com::d0b82110-aff5-4a68-b92e-ffa659453e49" providerId="AD" clId="Web-{75A97B9E-77E4-426A-B7F0-B00B889C97DC}" dt="2022-01-09T09:48:10.067" v="481" actId="1076"/>
          <ac:picMkLst>
            <pc:docMk/>
            <pc:sldMk cId="495325899" sldId="367"/>
            <ac:picMk id="8" creationId="{6CC0388A-2FEB-46B2-970B-B498ED898DF7}"/>
          </ac:picMkLst>
        </pc:picChg>
      </pc:sldChg>
      <pc:sldChg chg="addSp delSp modSp add replId">
        <pc:chgData name="Kin Nam Lee" userId="S::kinnam0123_gmail.com#ext#@risebcg.onmicrosoft.com::d0b82110-aff5-4a68-b92e-ffa659453e49" providerId="AD" clId="Web-{75A97B9E-77E4-426A-B7F0-B00B889C97DC}" dt="2022-01-09T09:49:42.068" v="509" actId="1076"/>
        <pc:sldMkLst>
          <pc:docMk/>
          <pc:sldMk cId="371058751" sldId="368"/>
        </pc:sldMkLst>
        <pc:spChg chg="del mod">
          <ac:chgData name="Kin Nam Lee" userId="S::kinnam0123_gmail.com#ext#@risebcg.onmicrosoft.com::d0b82110-aff5-4a68-b92e-ffa659453e49" providerId="AD" clId="Web-{75A97B9E-77E4-426A-B7F0-B00B889C97DC}" dt="2022-01-09T09:49:14.287" v="503"/>
          <ac:spMkLst>
            <pc:docMk/>
            <pc:sldMk cId="371058751" sldId="368"/>
            <ac:spMk id="5" creationId="{09C603B1-83E3-40C7-AD23-240A45A6713E}"/>
          </ac:spMkLst>
        </pc:spChg>
        <pc:spChg chg="mod">
          <ac:chgData name="Kin Nam Lee" userId="S::kinnam0123_gmail.com#ext#@risebcg.onmicrosoft.com::d0b82110-aff5-4a68-b92e-ffa659453e49" providerId="AD" clId="Web-{75A97B9E-77E4-426A-B7F0-B00B889C97DC}" dt="2022-01-09T09:49:28.052" v="508" actId="1076"/>
          <ac:spMkLst>
            <pc:docMk/>
            <pc:sldMk cId="371058751" sldId="368"/>
            <ac:spMk id="9" creationId="{3179ADB1-85CE-4DE6-A4AE-524B8EB2D41D}"/>
          </ac:spMkLst>
        </pc:spChg>
        <pc:picChg chg="add mod">
          <ac:chgData name="Kin Nam Lee" userId="S::kinnam0123_gmail.com#ext#@risebcg.onmicrosoft.com::d0b82110-aff5-4a68-b92e-ffa659453e49" providerId="AD" clId="Web-{75A97B9E-77E4-426A-B7F0-B00B889C97DC}" dt="2022-01-09T09:49:42.068" v="509" actId="1076"/>
          <ac:picMkLst>
            <pc:docMk/>
            <pc:sldMk cId="371058751" sldId="368"/>
            <ac:picMk id="3" creationId="{3E9A0F2D-BAD5-4289-9F34-C4D0E3B67FD8}"/>
          </ac:picMkLst>
        </pc:picChg>
        <pc:picChg chg="del">
          <ac:chgData name="Kin Nam Lee" userId="S::kinnam0123_gmail.com#ext#@risebcg.onmicrosoft.com::d0b82110-aff5-4a68-b92e-ffa659453e49" providerId="AD" clId="Web-{75A97B9E-77E4-426A-B7F0-B00B889C97DC}" dt="2022-01-09T09:48:37.005" v="497"/>
          <ac:picMkLst>
            <pc:docMk/>
            <pc:sldMk cId="371058751" sldId="368"/>
            <ac:picMk id="4" creationId="{79B30297-A01B-430C-8EB8-745A3D069B7F}"/>
          </ac:picMkLst>
        </pc:picChg>
        <pc:picChg chg="del">
          <ac:chgData name="Kin Nam Lee" userId="S::kinnam0123_gmail.com#ext#@risebcg.onmicrosoft.com::d0b82110-aff5-4a68-b92e-ffa659453e49" providerId="AD" clId="Web-{75A97B9E-77E4-426A-B7F0-B00B889C97DC}" dt="2022-01-09T09:48:35.833" v="496"/>
          <ac:picMkLst>
            <pc:docMk/>
            <pc:sldMk cId="371058751" sldId="368"/>
            <ac:picMk id="6" creationId="{4A08CA56-0F2C-4842-8FB2-31B02C4CC1C2}"/>
          </ac:picMkLst>
        </pc:picChg>
        <pc:picChg chg="del">
          <ac:chgData name="Kin Nam Lee" userId="S::kinnam0123_gmail.com#ext#@risebcg.onmicrosoft.com::d0b82110-aff5-4a68-b92e-ffa659453e49" providerId="AD" clId="Web-{75A97B9E-77E4-426A-B7F0-B00B889C97DC}" dt="2022-01-09T09:48:37.864" v="498"/>
          <ac:picMkLst>
            <pc:docMk/>
            <pc:sldMk cId="371058751" sldId="368"/>
            <ac:picMk id="8" creationId="{6CC0388A-2FEB-46B2-970B-B498ED898DF7}"/>
          </ac:picMkLst>
        </pc:picChg>
      </pc:sldChg>
      <pc:sldChg chg="new del">
        <pc:chgData name="Kin Nam Lee" userId="S::kinnam0123_gmail.com#ext#@risebcg.onmicrosoft.com::d0b82110-aff5-4a68-b92e-ffa659453e49" providerId="AD" clId="Web-{75A97B9E-77E4-426A-B7F0-B00B889C97DC}" dt="2022-01-09T09:45:56.830" v="405"/>
        <pc:sldMkLst>
          <pc:docMk/>
          <pc:sldMk cId="2437280143" sldId="368"/>
        </pc:sldMkLst>
      </pc:sldChg>
    </pc:docChg>
  </pc:docChgLst>
  <pc:docChgLst>
    <pc:chgData name="WONGYONGLIN91" userId="S::wongyonglin91_gmail.com#ext#@risebcg.onmicrosoft.com::b2d94f93-e580-4f0d-9dda-2138509d25ae" providerId="AD" clId="Web-{F6E9D699-77B0-4065-86A7-8BD3B22EE356}"/>
    <pc:docChg chg="addSld modSld">
      <pc:chgData name="WONGYONGLIN91" userId="S::wongyonglin91_gmail.com#ext#@risebcg.onmicrosoft.com::b2d94f93-e580-4f0d-9dda-2138509d25ae" providerId="AD" clId="Web-{F6E9D699-77B0-4065-86A7-8BD3B22EE356}" dt="2022-01-08T15:00:33.726" v="92"/>
      <pc:docMkLst>
        <pc:docMk/>
      </pc:docMkLst>
      <pc:sldChg chg="delSp modSp add replId">
        <pc:chgData name="WONGYONGLIN91" userId="S::wongyonglin91_gmail.com#ext#@risebcg.onmicrosoft.com::b2d94f93-e580-4f0d-9dda-2138509d25ae" providerId="AD" clId="Web-{F6E9D699-77B0-4065-86A7-8BD3B22EE356}" dt="2022-01-08T15:00:33.726" v="92"/>
        <pc:sldMkLst>
          <pc:docMk/>
          <pc:sldMk cId="1227236751" sldId="356"/>
        </pc:sldMkLst>
        <pc:spChg chg="mod">
          <ac:chgData name="WONGYONGLIN91" userId="S::wongyonglin91_gmail.com#ext#@risebcg.onmicrosoft.com::b2d94f93-e580-4f0d-9dda-2138509d25ae" providerId="AD" clId="Web-{F6E9D699-77B0-4065-86A7-8BD3B22EE356}" dt="2022-01-08T14:59:05.599" v="41" actId="20577"/>
          <ac:spMkLst>
            <pc:docMk/>
            <pc:sldMk cId="1227236751" sldId="356"/>
            <ac:spMk id="2" creationId="{ED14AA63-35D8-4136-8B2F-DE1837A583A2}"/>
          </ac:spMkLst>
        </pc:spChg>
        <pc:spChg chg="mod">
          <ac:chgData name="WONGYONGLIN91" userId="S::wongyonglin91_gmail.com#ext#@risebcg.onmicrosoft.com::b2d94f93-e580-4f0d-9dda-2138509d25ae" providerId="AD" clId="Web-{F6E9D699-77B0-4065-86A7-8BD3B22EE356}" dt="2022-01-08T14:59:20.380" v="58" actId="20577"/>
          <ac:spMkLst>
            <pc:docMk/>
            <pc:sldMk cId="1227236751" sldId="356"/>
            <ac:spMk id="3" creationId="{2321500F-B116-49E9-B713-1C89E59A92D6}"/>
          </ac:spMkLst>
        </pc:spChg>
        <pc:spChg chg="mod">
          <ac:chgData name="WONGYONGLIN91" userId="S::wongyonglin91_gmail.com#ext#@risebcg.onmicrosoft.com::b2d94f93-e580-4f0d-9dda-2138509d25ae" providerId="AD" clId="Web-{F6E9D699-77B0-4065-86A7-8BD3B22EE356}" dt="2022-01-08T15:00:16.631" v="90" actId="14100"/>
          <ac:spMkLst>
            <pc:docMk/>
            <pc:sldMk cId="1227236751" sldId="356"/>
            <ac:spMk id="12" creationId="{95E46411-4A0C-41AA-9250-790D71323EA7}"/>
          </ac:spMkLst>
        </pc:spChg>
        <pc:picChg chg="del">
          <ac:chgData name="WONGYONGLIN91" userId="S::wongyonglin91_gmail.com#ext#@risebcg.onmicrosoft.com::b2d94f93-e580-4f0d-9dda-2138509d25ae" providerId="AD" clId="Web-{F6E9D699-77B0-4065-86A7-8BD3B22EE356}" dt="2022-01-08T15:00:27.569" v="91"/>
          <ac:picMkLst>
            <pc:docMk/>
            <pc:sldMk cId="1227236751" sldId="356"/>
            <ac:picMk id="6" creationId="{0543AB5E-0C46-4F5B-92B9-8460B4265166}"/>
          </ac:picMkLst>
        </pc:picChg>
        <pc:picChg chg="del">
          <ac:chgData name="WONGYONGLIN91" userId="S::wongyonglin91_gmail.com#ext#@risebcg.onmicrosoft.com::b2d94f93-e580-4f0d-9dda-2138509d25ae" providerId="AD" clId="Web-{F6E9D699-77B0-4065-86A7-8BD3B22EE356}" dt="2022-01-08T15:00:33.726" v="92"/>
          <ac:picMkLst>
            <pc:docMk/>
            <pc:sldMk cId="1227236751" sldId="356"/>
            <ac:picMk id="9" creationId="{97A95AB9-26F3-4FFA-B40B-A3BFD1A87A7B}"/>
          </ac:picMkLst>
        </pc:picChg>
      </pc:sldChg>
    </pc:docChg>
  </pc:docChgLst>
  <pc:docChgLst>
    <pc:chgData name="EVELYNSM.YONG" userId="S::evelynsm.yong_gmail.com#ext#@risebcg.onmicrosoft.com::67a27a72-2420-4d38-b745-316a53f4b99a" providerId="AD" clId="Web-{3D885E36-C1E7-44CA-99C4-528A46E5717D}"/>
    <pc:docChg chg="modSld">
      <pc:chgData name="EVELYNSM.YONG" userId="S::evelynsm.yong_gmail.com#ext#@risebcg.onmicrosoft.com::67a27a72-2420-4d38-b745-316a53f4b99a" providerId="AD" clId="Web-{3D885E36-C1E7-44CA-99C4-528A46E5717D}" dt="2022-01-13T05:58:19.701" v="3"/>
      <pc:docMkLst>
        <pc:docMk/>
      </pc:docMkLst>
      <pc:sldChg chg="modNotes">
        <pc:chgData name="EVELYNSM.YONG" userId="S::evelynsm.yong_gmail.com#ext#@risebcg.onmicrosoft.com::67a27a72-2420-4d38-b745-316a53f4b99a" providerId="AD" clId="Web-{3D885E36-C1E7-44CA-99C4-528A46E5717D}" dt="2022-01-13T05:58:19.701" v="3"/>
        <pc:sldMkLst>
          <pc:docMk/>
          <pc:sldMk cId="3391215681" sldId="339"/>
        </pc:sldMkLst>
      </pc:sldChg>
    </pc:docChg>
  </pc:docChgLst>
  <pc:docChgLst>
    <pc:chgData name="WONGYONGLIN91" userId="S::wongyonglin91_gmail.com#ext#@risebcg.onmicrosoft.com::b2d94f93-e580-4f0d-9dda-2138509d25ae" providerId="AD" clId="Web-{423F9FC5-765D-4FFD-8BEA-D8990B909969}"/>
    <pc:docChg chg="modSld">
      <pc:chgData name="WONGYONGLIN91" userId="S::wongyonglin91_gmail.com#ext#@risebcg.onmicrosoft.com::b2d94f93-e580-4f0d-9dda-2138509d25ae" providerId="AD" clId="Web-{423F9FC5-765D-4FFD-8BEA-D8990B909969}" dt="2022-01-11T15:21:36.856" v="52"/>
      <pc:docMkLst>
        <pc:docMk/>
      </pc:docMkLst>
      <pc:sldChg chg="delSp">
        <pc:chgData name="WONGYONGLIN91" userId="S::wongyonglin91_gmail.com#ext#@risebcg.onmicrosoft.com::b2d94f93-e580-4f0d-9dda-2138509d25ae" providerId="AD" clId="Web-{423F9FC5-765D-4FFD-8BEA-D8990B909969}" dt="2022-01-11T15:21:33.840" v="51"/>
        <pc:sldMkLst>
          <pc:docMk/>
          <pc:sldMk cId="4084366951" sldId="318"/>
        </pc:sldMkLst>
        <pc:grpChg chg="del">
          <ac:chgData name="WONGYONGLIN91" userId="S::wongyonglin91_gmail.com#ext#@risebcg.onmicrosoft.com::b2d94f93-e580-4f0d-9dda-2138509d25ae" providerId="AD" clId="Web-{423F9FC5-765D-4FFD-8BEA-D8990B909969}" dt="2022-01-11T15:21:33.840" v="51"/>
          <ac:grpSpMkLst>
            <pc:docMk/>
            <pc:sldMk cId="4084366951" sldId="318"/>
            <ac:grpSpMk id="15" creationId="{55FFC18C-8093-41B4-9A1B-E8868316B7F3}"/>
          </ac:grpSpMkLst>
        </pc:grpChg>
      </pc:sldChg>
      <pc:sldChg chg="modSp">
        <pc:chgData name="WONGYONGLIN91" userId="S::wongyonglin91_gmail.com#ext#@risebcg.onmicrosoft.com::b2d94f93-e580-4f0d-9dda-2138509d25ae" providerId="AD" clId="Web-{423F9FC5-765D-4FFD-8BEA-D8990B909969}" dt="2022-01-11T14:51:04.605" v="50" actId="1076"/>
        <pc:sldMkLst>
          <pc:docMk/>
          <pc:sldMk cId="416007632" sldId="327"/>
        </pc:sldMkLst>
        <pc:spChg chg="mod">
          <ac:chgData name="WONGYONGLIN91" userId="S::wongyonglin91_gmail.com#ext#@risebcg.onmicrosoft.com::b2d94f93-e580-4f0d-9dda-2138509d25ae" providerId="AD" clId="Web-{423F9FC5-765D-4FFD-8BEA-D8990B909969}" dt="2022-01-11T14:28:49.008" v="37" actId="1076"/>
          <ac:spMkLst>
            <pc:docMk/>
            <pc:sldMk cId="416007632" sldId="327"/>
            <ac:spMk id="5" creationId="{AA1B9715-B961-42AF-90C9-79A87F13D1B8}"/>
          </ac:spMkLst>
        </pc:spChg>
        <pc:spChg chg="mod">
          <ac:chgData name="WONGYONGLIN91" userId="S::wongyonglin91_gmail.com#ext#@risebcg.onmicrosoft.com::b2d94f93-e580-4f0d-9dda-2138509d25ae" providerId="AD" clId="Web-{423F9FC5-765D-4FFD-8BEA-D8990B909969}" dt="2022-01-11T14:51:00.730" v="48" actId="14100"/>
          <ac:spMkLst>
            <pc:docMk/>
            <pc:sldMk cId="416007632" sldId="327"/>
            <ac:spMk id="8" creationId="{E577B412-68A3-4185-A772-40E2096ADDCA}"/>
          </ac:spMkLst>
        </pc:spChg>
        <pc:spChg chg="mod">
          <ac:chgData name="WONGYONGLIN91" userId="S::wongyonglin91_gmail.com#ext#@risebcg.onmicrosoft.com::b2d94f93-e580-4f0d-9dda-2138509d25ae" providerId="AD" clId="Web-{423F9FC5-765D-4FFD-8BEA-D8990B909969}" dt="2022-01-11T14:51:04.605" v="50" actId="1076"/>
          <ac:spMkLst>
            <pc:docMk/>
            <pc:sldMk cId="416007632" sldId="327"/>
            <ac:spMk id="20" creationId="{1085C789-C333-47C0-9A39-FFAFB278B841}"/>
          </ac:spMkLst>
        </pc:spChg>
        <pc:spChg chg="mod">
          <ac:chgData name="WONGYONGLIN91" userId="S::wongyonglin91_gmail.com#ext#@risebcg.onmicrosoft.com::b2d94f93-e580-4f0d-9dda-2138509d25ae" providerId="AD" clId="Web-{423F9FC5-765D-4FFD-8BEA-D8990B909969}" dt="2022-01-11T14:44:32.470" v="44" actId="1076"/>
          <ac:spMkLst>
            <pc:docMk/>
            <pc:sldMk cId="416007632" sldId="327"/>
            <ac:spMk id="24" creationId="{FCD07FE6-FEC4-42CE-B115-94F5F23C6A71}"/>
          </ac:spMkLst>
        </pc:spChg>
        <pc:spChg chg="mod">
          <ac:chgData name="WONGYONGLIN91" userId="S::wongyonglin91_gmail.com#ext#@risebcg.onmicrosoft.com::b2d94f93-e580-4f0d-9dda-2138509d25ae" providerId="AD" clId="Web-{423F9FC5-765D-4FFD-8BEA-D8990B909969}" dt="2022-01-11T14:41:35.325" v="42" actId="1076"/>
          <ac:spMkLst>
            <pc:docMk/>
            <pc:sldMk cId="416007632" sldId="327"/>
            <ac:spMk id="25" creationId="{F9FE7D81-29DC-498D-91D4-543B8A261CE1}"/>
          </ac:spMkLst>
        </pc:spChg>
        <pc:spChg chg="mod">
          <ac:chgData name="WONGYONGLIN91" userId="S::wongyonglin91_gmail.com#ext#@risebcg.onmicrosoft.com::b2d94f93-e580-4f0d-9dda-2138509d25ae" providerId="AD" clId="Web-{423F9FC5-765D-4FFD-8BEA-D8990B909969}" dt="2022-01-11T14:51:00.730" v="49" actId="14100"/>
          <ac:spMkLst>
            <pc:docMk/>
            <pc:sldMk cId="416007632" sldId="327"/>
            <ac:spMk id="32" creationId="{19924F50-9976-41A7-88C1-641F1509CEE0}"/>
          </ac:spMkLst>
        </pc:spChg>
        <pc:spChg chg="mod">
          <ac:chgData name="WONGYONGLIN91" userId="S::wongyonglin91_gmail.com#ext#@risebcg.onmicrosoft.com::b2d94f93-e580-4f0d-9dda-2138509d25ae" providerId="AD" clId="Web-{423F9FC5-765D-4FFD-8BEA-D8990B909969}" dt="2022-01-11T14:41:38.825" v="43" actId="1076"/>
          <ac:spMkLst>
            <pc:docMk/>
            <pc:sldMk cId="416007632" sldId="327"/>
            <ac:spMk id="33" creationId="{C9B7F08E-D629-47BA-B28C-40CF22219379}"/>
          </ac:spMkLst>
        </pc:spChg>
        <pc:spChg chg="mod">
          <ac:chgData name="WONGYONGLIN91" userId="S::wongyonglin91_gmail.com#ext#@risebcg.onmicrosoft.com::b2d94f93-e580-4f0d-9dda-2138509d25ae" providerId="AD" clId="Web-{423F9FC5-765D-4FFD-8BEA-D8990B909969}" dt="2022-01-11T14:20:39.527" v="36" actId="14100"/>
          <ac:spMkLst>
            <pc:docMk/>
            <pc:sldMk cId="416007632" sldId="327"/>
            <ac:spMk id="34" creationId="{06D19D76-F677-4AAA-AA6A-7CA4B9DAF436}"/>
          </ac:spMkLst>
        </pc:spChg>
        <pc:spChg chg="mod">
          <ac:chgData name="WONGYONGLIN91" userId="S::wongyonglin91_gmail.com#ext#@risebcg.onmicrosoft.com::b2d94f93-e580-4f0d-9dda-2138509d25ae" providerId="AD" clId="Web-{423F9FC5-765D-4FFD-8BEA-D8990B909969}" dt="2022-01-11T14:16:29.317" v="35" actId="20577"/>
          <ac:spMkLst>
            <pc:docMk/>
            <pc:sldMk cId="416007632" sldId="327"/>
            <ac:spMk id="35" creationId="{E20AAA99-395B-4009-AF86-AC6B211B7758}"/>
          </ac:spMkLst>
        </pc:spChg>
        <pc:spChg chg="mod">
          <ac:chgData name="WONGYONGLIN91" userId="S::wongyonglin91_gmail.com#ext#@risebcg.onmicrosoft.com::b2d94f93-e580-4f0d-9dda-2138509d25ae" providerId="AD" clId="Web-{423F9FC5-765D-4FFD-8BEA-D8990B909969}" dt="2022-01-11T14:16:00.030" v="34" actId="20577"/>
          <ac:spMkLst>
            <pc:docMk/>
            <pc:sldMk cId="416007632" sldId="327"/>
            <ac:spMk id="37" creationId="{1AA86EF9-D1F2-488E-902B-9C25FAEFDD52}"/>
          </ac:spMkLst>
        </pc:spChg>
        <pc:picChg chg="mod">
          <ac:chgData name="WONGYONGLIN91" userId="S::wongyonglin91_gmail.com#ext#@risebcg.onmicrosoft.com::b2d94f93-e580-4f0d-9dda-2138509d25ae" providerId="AD" clId="Web-{423F9FC5-765D-4FFD-8BEA-D8990B909969}" dt="2022-01-11T14:41:30.794" v="41" actId="1076"/>
          <ac:picMkLst>
            <pc:docMk/>
            <pc:sldMk cId="416007632" sldId="327"/>
            <ac:picMk id="9" creationId="{A7D42D63-B632-4192-9AF9-4120DFBDAFF3}"/>
          </ac:picMkLst>
        </pc:picChg>
      </pc:sldChg>
      <pc:sldChg chg="delSp">
        <pc:chgData name="WONGYONGLIN91" userId="S::wongyonglin91_gmail.com#ext#@risebcg.onmicrosoft.com::b2d94f93-e580-4f0d-9dda-2138509d25ae" providerId="AD" clId="Web-{423F9FC5-765D-4FFD-8BEA-D8990B909969}" dt="2022-01-11T15:21:36.856" v="52"/>
        <pc:sldMkLst>
          <pc:docMk/>
          <pc:sldMk cId="1249418479" sldId="334"/>
        </pc:sldMkLst>
        <pc:grpChg chg="del">
          <ac:chgData name="WONGYONGLIN91" userId="S::wongyonglin91_gmail.com#ext#@risebcg.onmicrosoft.com::b2d94f93-e580-4f0d-9dda-2138509d25ae" providerId="AD" clId="Web-{423F9FC5-765D-4FFD-8BEA-D8990B909969}" dt="2022-01-11T15:21:36.856" v="52"/>
          <ac:grpSpMkLst>
            <pc:docMk/>
            <pc:sldMk cId="1249418479" sldId="334"/>
            <ac:grpSpMk id="8" creationId="{0BA96E81-F16A-4482-9E7E-049FDFCE8DF3}"/>
          </ac:grpSpMkLst>
        </pc:grpChg>
      </pc:sldChg>
    </pc:docChg>
  </pc:docChgLst>
  <pc:docChgLst>
    <pc:chgData name="EVELYNSM.YONG" userId="S::evelynsm.yong_gmail.com#ext#@risebcg.onmicrosoft.com::67a27a72-2420-4d38-b745-316a53f4b99a" providerId="AD" clId="Web-{B7065643-81CF-4785-A43E-F7F8964C8BB8}"/>
    <pc:docChg chg="addSld delSld modSld sldOrd">
      <pc:chgData name="EVELYNSM.YONG" userId="S::evelynsm.yong_gmail.com#ext#@risebcg.onmicrosoft.com::67a27a72-2420-4d38-b745-316a53f4b99a" providerId="AD" clId="Web-{B7065643-81CF-4785-A43E-F7F8964C8BB8}" dt="2022-01-10T09:42:47.078" v="2564" actId="1076"/>
      <pc:docMkLst>
        <pc:docMk/>
      </pc:docMkLst>
      <pc:sldChg chg="addSp delSp modSp">
        <pc:chgData name="EVELYNSM.YONG" userId="S::evelynsm.yong_gmail.com#ext#@risebcg.onmicrosoft.com::67a27a72-2420-4d38-b745-316a53f4b99a" providerId="AD" clId="Web-{B7065643-81CF-4785-A43E-F7F8964C8BB8}" dt="2022-01-10T08:00:07.579" v="911" actId="14100"/>
        <pc:sldMkLst>
          <pc:docMk/>
          <pc:sldMk cId="2256265757" sldId="315"/>
        </pc:sldMkLst>
        <pc:graphicFrameChg chg="del">
          <ac:chgData name="EVELYNSM.YONG" userId="S::evelynsm.yong_gmail.com#ext#@risebcg.onmicrosoft.com::67a27a72-2420-4d38-b745-316a53f4b99a" providerId="AD" clId="Web-{B7065643-81CF-4785-A43E-F7F8964C8BB8}" dt="2022-01-10T07:27:00.878" v="0"/>
          <ac:graphicFrameMkLst>
            <pc:docMk/>
            <pc:sldMk cId="2256265757" sldId="315"/>
            <ac:graphicFrameMk id="18" creationId="{2289CFB1-4EE4-43EC-A8B5-4E5FC402B3C5}"/>
          </ac:graphicFrameMkLst>
        </pc:graphicFrameChg>
        <pc:graphicFrameChg chg="add mod modGraphic">
          <ac:chgData name="EVELYNSM.YONG" userId="S::evelynsm.yong_gmail.com#ext#@risebcg.onmicrosoft.com::67a27a72-2420-4d38-b745-316a53f4b99a" providerId="AD" clId="Web-{B7065643-81CF-4785-A43E-F7F8964C8BB8}" dt="2022-01-10T08:00:07.579" v="911" actId="14100"/>
          <ac:graphicFrameMkLst>
            <pc:docMk/>
            <pc:sldMk cId="2256265757" sldId="315"/>
            <ac:graphicFrameMk id="38" creationId="{2DAB4BA8-57FC-486D-A609-66F3FDCD540C}"/>
          </ac:graphicFrameMkLst>
        </pc:graphicFrameChg>
      </pc:sldChg>
      <pc:sldChg chg="addSp delSp modSp">
        <pc:chgData name="EVELYNSM.YONG" userId="S::evelynsm.yong_gmail.com#ext#@risebcg.onmicrosoft.com::67a27a72-2420-4d38-b745-316a53f4b99a" providerId="AD" clId="Web-{B7065643-81CF-4785-A43E-F7F8964C8BB8}" dt="2022-01-10T07:43:08.040" v="184" actId="1076"/>
        <pc:sldMkLst>
          <pc:docMk/>
          <pc:sldMk cId="4084366951" sldId="318"/>
        </pc:sldMkLst>
        <pc:spChg chg="mod">
          <ac:chgData name="EVELYNSM.YONG" userId="S::evelynsm.yong_gmail.com#ext#@risebcg.onmicrosoft.com::67a27a72-2420-4d38-b745-316a53f4b99a" providerId="AD" clId="Web-{B7065643-81CF-4785-A43E-F7F8964C8BB8}" dt="2022-01-10T07:31:11.212" v="35"/>
          <ac:spMkLst>
            <pc:docMk/>
            <pc:sldMk cId="4084366951" sldId="318"/>
            <ac:spMk id="3" creationId="{8217E3E6-EBA6-4390-8CAA-BF07F6ECED4C}"/>
          </ac:spMkLst>
        </pc:spChg>
        <pc:spChg chg="add del mod">
          <ac:chgData name="EVELYNSM.YONG" userId="S::evelynsm.yong_gmail.com#ext#@risebcg.onmicrosoft.com::67a27a72-2420-4d38-b745-316a53f4b99a" providerId="AD" clId="Web-{B7065643-81CF-4785-A43E-F7F8964C8BB8}" dt="2022-01-10T07:30:27.883" v="30"/>
          <ac:spMkLst>
            <pc:docMk/>
            <pc:sldMk cId="4084366951" sldId="318"/>
            <ac:spMk id="5" creationId="{5F5CCB00-80C2-451E-9F0A-A394B4156C50}"/>
          </ac:spMkLst>
        </pc:spChg>
        <pc:spChg chg="del mod">
          <ac:chgData name="EVELYNSM.YONG" userId="S::evelynsm.yong_gmail.com#ext#@risebcg.onmicrosoft.com::67a27a72-2420-4d38-b745-316a53f4b99a" providerId="AD" clId="Web-{B7065643-81CF-4785-A43E-F7F8964C8BB8}" dt="2022-01-10T07:32:03.494" v="45"/>
          <ac:spMkLst>
            <pc:docMk/>
            <pc:sldMk cId="4084366951" sldId="318"/>
            <ac:spMk id="9" creationId="{A9CC2315-97DB-4A2D-A986-E4654B36B78A}"/>
          </ac:spMkLst>
        </pc:spChg>
        <pc:spChg chg="mod">
          <ac:chgData name="EVELYNSM.YONG" userId="S::evelynsm.yong_gmail.com#ext#@risebcg.onmicrosoft.com::67a27a72-2420-4d38-b745-316a53f4b99a" providerId="AD" clId="Web-{B7065643-81CF-4785-A43E-F7F8964C8BB8}" dt="2022-01-10T07:43:08.040" v="184" actId="1076"/>
          <ac:spMkLst>
            <pc:docMk/>
            <pc:sldMk cId="4084366951" sldId="318"/>
            <ac:spMk id="11" creationId="{A6F20F02-BD7A-4398-8CBB-C5E420FA8443}"/>
          </ac:spMkLst>
        </pc:spChg>
        <pc:spChg chg="mod">
          <ac:chgData name="EVELYNSM.YONG" userId="S::evelynsm.yong_gmail.com#ext#@risebcg.onmicrosoft.com::67a27a72-2420-4d38-b745-316a53f4b99a" providerId="AD" clId="Web-{B7065643-81CF-4785-A43E-F7F8964C8BB8}" dt="2022-01-10T07:37:12.204" v="181" actId="1076"/>
          <ac:spMkLst>
            <pc:docMk/>
            <pc:sldMk cId="4084366951" sldId="318"/>
            <ac:spMk id="32" creationId="{41E099E5-F68B-4939-9F7A-B9CC2E5F333A}"/>
          </ac:spMkLst>
        </pc:spChg>
        <pc:picChg chg="add mod">
          <ac:chgData name="EVELYNSM.YONG" userId="S::evelynsm.yong_gmail.com#ext#@risebcg.onmicrosoft.com::67a27a72-2420-4d38-b745-316a53f4b99a" providerId="AD" clId="Web-{B7065643-81CF-4785-A43E-F7F8964C8BB8}" dt="2022-01-10T07:33:33.371" v="72" actId="14100"/>
          <ac:picMkLst>
            <pc:docMk/>
            <pc:sldMk cId="4084366951" sldId="318"/>
            <ac:picMk id="7" creationId="{7F5D9E48-B08B-444C-A287-52FEDFFC1CE4}"/>
          </ac:picMkLst>
        </pc:picChg>
        <pc:cxnChg chg="add del mod">
          <ac:chgData name="EVELYNSM.YONG" userId="S::evelynsm.yong_gmail.com#ext#@risebcg.onmicrosoft.com::67a27a72-2420-4d38-b745-316a53f4b99a" providerId="AD" clId="Web-{B7065643-81CF-4785-A43E-F7F8964C8BB8}" dt="2022-01-10T07:27:53.723" v="7"/>
          <ac:cxnSpMkLst>
            <pc:docMk/>
            <pc:sldMk cId="4084366951" sldId="318"/>
            <ac:cxnSpMk id="7" creationId="{4BF88BBE-5519-4309-9E51-FBE34F9988C4}"/>
          </ac:cxnSpMkLst>
        </pc:cxnChg>
        <pc:cxnChg chg="add del mod">
          <ac:chgData name="EVELYNSM.YONG" userId="S::evelynsm.yong_gmail.com#ext#@risebcg.onmicrosoft.com::67a27a72-2420-4d38-b745-316a53f4b99a" providerId="AD" clId="Web-{B7065643-81CF-4785-A43E-F7F8964C8BB8}" dt="2022-01-10T07:28:02.035" v="9"/>
          <ac:cxnSpMkLst>
            <pc:docMk/>
            <pc:sldMk cId="4084366951" sldId="318"/>
            <ac:cxnSpMk id="10" creationId="{E054A80D-AFE5-4FAE-AFE4-137FB71A5E42}"/>
          </ac:cxnSpMkLst>
        </pc:cxnChg>
        <pc:cxnChg chg="add del mod">
          <ac:chgData name="EVELYNSM.YONG" userId="S::evelynsm.yong_gmail.com#ext#@risebcg.onmicrosoft.com::67a27a72-2420-4d38-b745-316a53f4b99a" providerId="AD" clId="Web-{B7065643-81CF-4785-A43E-F7F8964C8BB8}" dt="2022-01-10T07:29:49.757" v="23"/>
          <ac:cxnSpMkLst>
            <pc:docMk/>
            <pc:sldMk cId="4084366951" sldId="318"/>
            <ac:cxnSpMk id="16" creationId="{4361743E-90CD-49B1-861F-6B6AF7563470}"/>
          </ac:cxnSpMkLst>
        </pc:cxnChg>
      </pc:sldChg>
      <pc:sldChg chg="modSp">
        <pc:chgData name="EVELYNSM.YONG" userId="S::evelynsm.yong_gmail.com#ext#@risebcg.onmicrosoft.com::67a27a72-2420-4d38-b745-316a53f4b99a" providerId="AD" clId="Web-{B7065643-81CF-4785-A43E-F7F8964C8BB8}" dt="2022-01-10T09:15:13.431" v="2149" actId="14100"/>
        <pc:sldMkLst>
          <pc:docMk/>
          <pc:sldMk cId="3666302761" sldId="324"/>
        </pc:sldMkLst>
        <pc:picChg chg="mod">
          <ac:chgData name="EVELYNSM.YONG" userId="S::evelynsm.yong_gmail.com#ext#@risebcg.onmicrosoft.com::67a27a72-2420-4d38-b745-316a53f4b99a" providerId="AD" clId="Web-{B7065643-81CF-4785-A43E-F7F8964C8BB8}" dt="2022-01-10T09:15:13.431" v="2149" actId="14100"/>
          <ac:picMkLst>
            <pc:docMk/>
            <pc:sldMk cId="3666302761" sldId="324"/>
            <ac:picMk id="15" creationId="{5D59DB1C-172C-47ED-95FD-1E3F001466CE}"/>
          </ac:picMkLst>
        </pc:picChg>
      </pc:sldChg>
      <pc:sldChg chg="addSp modSp addAnim modAnim">
        <pc:chgData name="EVELYNSM.YONG" userId="S::evelynsm.yong_gmail.com#ext#@risebcg.onmicrosoft.com::67a27a72-2420-4d38-b745-316a53f4b99a" providerId="AD" clId="Web-{B7065643-81CF-4785-A43E-F7F8964C8BB8}" dt="2022-01-10T09:16:42.433" v="2178"/>
        <pc:sldMkLst>
          <pc:docMk/>
          <pc:sldMk cId="416007632" sldId="327"/>
        </pc:sldMkLst>
        <pc:spChg chg="add mod ord">
          <ac:chgData name="EVELYNSM.YONG" userId="S::evelynsm.yong_gmail.com#ext#@risebcg.onmicrosoft.com::67a27a72-2420-4d38-b745-316a53f4b99a" providerId="AD" clId="Web-{B7065643-81CF-4785-A43E-F7F8964C8BB8}" dt="2022-01-10T09:16:42.433" v="2178"/>
          <ac:spMkLst>
            <pc:docMk/>
            <pc:sldMk cId="416007632" sldId="327"/>
            <ac:spMk id="3" creationId="{D007FF1E-895C-4A21-8D3B-FDC1BD41CEEA}"/>
          </ac:spMkLst>
        </pc:spChg>
      </pc:sldChg>
      <pc:sldChg chg="ord">
        <pc:chgData name="EVELYNSM.YONG" userId="S::evelynsm.yong_gmail.com#ext#@risebcg.onmicrosoft.com::67a27a72-2420-4d38-b745-316a53f4b99a" providerId="AD" clId="Web-{B7065643-81CF-4785-A43E-F7F8964C8BB8}" dt="2022-01-10T08:35:41.471" v="1424"/>
        <pc:sldMkLst>
          <pc:docMk/>
          <pc:sldMk cId="2652119032" sldId="335"/>
        </pc:sldMkLst>
      </pc:sldChg>
      <pc:sldChg chg="addSp delSp modSp modNotes">
        <pc:chgData name="EVELYNSM.YONG" userId="S::evelynsm.yong_gmail.com#ext#@risebcg.onmicrosoft.com::67a27a72-2420-4d38-b745-316a53f4b99a" providerId="AD" clId="Web-{B7065643-81CF-4785-A43E-F7F8964C8BB8}" dt="2022-01-10T08:38:08.318" v="1452"/>
        <pc:sldMkLst>
          <pc:docMk/>
          <pc:sldMk cId="3391215681" sldId="339"/>
        </pc:sldMkLst>
        <pc:spChg chg="mod">
          <ac:chgData name="EVELYNSM.YONG" userId="S::evelynsm.yong_gmail.com#ext#@risebcg.onmicrosoft.com::67a27a72-2420-4d38-b745-316a53f4b99a" providerId="AD" clId="Web-{B7065643-81CF-4785-A43E-F7F8964C8BB8}" dt="2022-01-10T08:10:06.046" v="996"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B7065643-81CF-4785-A43E-F7F8964C8BB8}" dt="2022-01-10T08:20:52.295" v="1224" actId="1076"/>
          <ac:spMkLst>
            <pc:docMk/>
            <pc:sldMk cId="3391215681" sldId="339"/>
            <ac:spMk id="49" creationId="{1A40ECD8-EC71-4C0D-A629-C5042C9FBE1B}"/>
          </ac:spMkLst>
        </pc:spChg>
        <pc:spChg chg="mod">
          <ac:chgData name="EVELYNSM.YONG" userId="S::evelynsm.yong_gmail.com#ext#@risebcg.onmicrosoft.com::67a27a72-2420-4d38-b745-316a53f4b99a" providerId="AD" clId="Web-{B7065643-81CF-4785-A43E-F7F8964C8BB8}" dt="2022-01-10T08:20:52.311" v="1225" actId="1076"/>
          <ac:spMkLst>
            <pc:docMk/>
            <pc:sldMk cId="3391215681" sldId="339"/>
            <ac:spMk id="124" creationId="{C91A31F3-23FB-421F-8BC0-FD3F5F868D91}"/>
          </ac:spMkLst>
        </pc:spChg>
        <pc:spChg chg="mod">
          <ac:chgData name="EVELYNSM.YONG" userId="S::evelynsm.yong_gmail.com#ext#@risebcg.onmicrosoft.com::67a27a72-2420-4d38-b745-316a53f4b99a" providerId="AD" clId="Web-{B7065643-81CF-4785-A43E-F7F8964C8BB8}" dt="2022-01-10T08:30:29.652" v="1379" actId="14100"/>
          <ac:spMkLst>
            <pc:docMk/>
            <pc:sldMk cId="3391215681" sldId="339"/>
            <ac:spMk id="160" creationId="{129EBF9C-3DCE-40EC-8CFB-1CB201B252BE}"/>
          </ac:spMkLst>
        </pc:spChg>
        <pc:spChg chg="mod">
          <ac:chgData name="EVELYNSM.YONG" userId="S::evelynsm.yong_gmail.com#ext#@risebcg.onmicrosoft.com::67a27a72-2420-4d38-b745-316a53f4b99a" providerId="AD" clId="Web-{B7065643-81CF-4785-A43E-F7F8964C8BB8}" dt="2022-01-10T08:09:59.343" v="994" actId="1076"/>
          <ac:spMkLst>
            <pc:docMk/>
            <pc:sldMk cId="3391215681" sldId="339"/>
            <ac:spMk id="211" creationId="{BE8EF75F-4A8F-4CC0-B3A0-4689491D690B}"/>
          </ac:spMkLst>
        </pc:spChg>
        <pc:spChg chg="del">
          <ac:chgData name="EVELYNSM.YONG" userId="S::evelynsm.yong_gmail.com#ext#@risebcg.onmicrosoft.com::67a27a72-2420-4d38-b745-316a53f4b99a" providerId="AD" clId="Web-{B7065643-81CF-4785-A43E-F7F8964C8BB8}" dt="2022-01-10T08:09:36.561" v="985"/>
          <ac:spMkLst>
            <pc:docMk/>
            <pc:sldMk cId="3391215681" sldId="339"/>
            <ac:spMk id="218" creationId="{3F919807-BA2C-40C1-9C13-9C7C88B0617F}"/>
          </ac:spMkLst>
        </pc:spChg>
        <pc:spChg chg="add del">
          <ac:chgData name="EVELYNSM.YONG" userId="S::evelynsm.yong_gmail.com#ext#@risebcg.onmicrosoft.com::67a27a72-2420-4d38-b745-316a53f4b99a" providerId="AD" clId="Web-{B7065643-81CF-4785-A43E-F7F8964C8BB8}" dt="2022-01-10T08:09:34.139" v="983"/>
          <ac:spMkLst>
            <pc:docMk/>
            <pc:sldMk cId="3391215681" sldId="339"/>
            <ac:spMk id="229" creationId="{8CB63044-5013-4EFC-B813-E8D7A72DE7FF}"/>
          </ac:spMkLst>
        </pc:spChg>
        <pc:spChg chg="mod">
          <ac:chgData name="EVELYNSM.YONG" userId="S::evelynsm.yong_gmail.com#ext#@risebcg.onmicrosoft.com::67a27a72-2420-4d38-b745-316a53f4b99a" providerId="AD" clId="Web-{B7065643-81CF-4785-A43E-F7F8964C8BB8}" dt="2022-01-10T08:09:59.327" v="993" actId="1076"/>
          <ac:spMkLst>
            <pc:docMk/>
            <pc:sldMk cId="3391215681" sldId="339"/>
            <ac:spMk id="3097" creationId="{B43BCD4D-C119-4545-A18A-03EFECDDCAC1}"/>
          </ac:spMkLst>
        </pc:spChg>
        <pc:grpChg chg="mod">
          <ac:chgData name="EVELYNSM.YONG" userId="S::evelynsm.yong_gmail.com#ext#@risebcg.onmicrosoft.com::67a27a72-2420-4d38-b745-316a53f4b99a" providerId="AD" clId="Web-{B7065643-81CF-4785-A43E-F7F8964C8BB8}" dt="2022-01-10T08:10:17.374" v="1000" actId="1076"/>
          <ac:grpSpMkLst>
            <pc:docMk/>
            <pc:sldMk cId="3391215681" sldId="339"/>
            <ac:grpSpMk id="417" creationId="{3422634B-E74A-464E-8891-948490F63923}"/>
          </ac:grpSpMkLst>
        </pc:grpChg>
        <pc:graphicFrameChg chg="mod modGraphic">
          <ac:chgData name="EVELYNSM.YONG" userId="S::evelynsm.yong_gmail.com#ext#@risebcg.onmicrosoft.com::67a27a72-2420-4d38-b745-316a53f4b99a" providerId="AD" clId="Web-{B7065643-81CF-4785-A43E-F7F8964C8BB8}" dt="2022-01-10T08:20:31.076" v="1223" actId="20577"/>
          <ac:graphicFrameMkLst>
            <pc:docMk/>
            <pc:sldMk cId="3391215681" sldId="339"/>
            <ac:graphicFrameMk id="28" creationId="{9D58B7B4-DE29-4DDF-BB8A-729D2B705659}"/>
          </ac:graphicFrameMkLst>
        </pc:graphicFrameChg>
        <pc:picChg chg="mod">
          <ac:chgData name="EVELYNSM.YONG" userId="S::evelynsm.yong_gmail.com#ext#@risebcg.onmicrosoft.com::67a27a72-2420-4d38-b745-316a53f4b99a" providerId="AD" clId="Web-{B7065643-81CF-4785-A43E-F7F8964C8BB8}" dt="2022-01-10T08:10:22.140" v="1003" actId="1076"/>
          <ac:picMkLst>
            <pc:docMk/>
            <pc:sldMk cId="3391215681" sldId="339"/>
            <ac:picMk id="107" creationId="{02601E91-3DEE-4781-ACC9-2A3154DCC85D}"/>
          </ac:picMkLst>
        </pc:picChg>
        <pc:picChg chg="mod">
          <ac:chgData name="EVELYNSM.YONG" userId="S::evelynsm.yong_gmail.com#ext#@risebcg.onmicrosoft.com::67a27a72-2420-4d38-b745-316a53f4b99a" providerId="AD" clId="Web-{B7065643-81CF-4785-A43E-F7F8964C8BB8}" dt="2022-01-10T08:10:19.249" v="1001" actId="1076"/>
          <ac:picMkLst>
            <pc:docMk/>
            <pc:sldMk cId="3391215681" sldId="339"/>
            <ac:picMk id="108" creationId="{590458A9-D7D6-4978-B569-22D281AE5CF2}"/>
          </ac:picMkLst>
        </pc:picChg>
        <pc:picChg chg="mod">
          <ac:chgData name="EVELYNSM.YONG" userId="S::evelynsm.yong_gmail.com#ext#@risebcg.onmicrosoft.com::67a27a72-2420-4d38-b745-316a53f4b99a" providerId="AD" clId="Web-{B7065643-81CF-4785-A43E-F7F8964C8BB8}" dt="2022-01-10T08:10:21.046" v="1002" actId="1076"/>
          <ac:picMkLst>
            <pc:docMk/>
            <pc:sldMk cId="3391215681" sldId="339"/>
            <ac:picMk id="127" creationId="{50C2EFDE-AE92-48A3-8F2F-DEC4BC518951}"/>
          </ac:picMkLst>
        </pc:picChg>
        <pc:picChg chg="del">
          <ac:chgData name="EVELYNSM.YONG" userId="S::evelynsm.yong_gmail.com#ext#@risebcg.onmicrosoft.com::67a27a72-2420-4d38-b745-316a53f4b99a" providerId="AD" clId="Web-{B7065643-81CF-4785-A43E-F7F8964C8BB8}" dt="2022-01-10T08:09:35.358" v="984"/>
          <ac:picMkLst>
            <pc:docMk/>
            <pc:sldMk cId="3391215681" sldId="339"/>
            <ac:picMk id="248" creationId="{135B6FD8-8BD5-4DF6-A276-BDEEDFD924A2}"/>
          </ac:picMkLst>
        </pc:picChg>
        <pc:picChg chg="mod">
          <ac:chgData name="EVELYNSM.YONG" userId="S::evelynsm.yong_gmail.com#ext#@risebcg.onmicrosoft.com::67a27a72-2420-4d38-b745-316a53f4b99a" providerId="AD" clId="Web-{B7065643-81CF-4785-A43E-F7F8964C8BB8}" dt="2022-01-10T08:20:52.342" v="1226" actId="1076"/>
          <ac:picMkLst>
            <pc:docMk/>
            <pc:sldMk cId="3391215681" sldId="339"/>
            <ac:picMk id="1727" creationId="{4F4925B4-226E-4CE5-9A48-DF473BE5B5F7}"/>
          </ac:picMkLst>
        </pc:picChg>
        <pc:picChg chg="mod">
          <ac:chgData name="EVELYNSM.YONG" userId="S::evelynsm.yong_gmail.com#ext#@risebcg.onmicrosoft.com::67a27a72-2420-4d38-b745-316a53f4b99a" providerId="AD" clId="Web-{B7065643-81CF-4785-A43E-F7F8964C8BB8}" dt="2022-01-10T08:16:46.414" v="1164" actId="1076"/>
          <ac:picMkLst>
            <pc:docMk/>
            <pc:sldMk cId="3391215681" sldId="339"/>
            <ac:picMk id="5328" creationId="{79187648-B5C6-4EDC-88C1-489201FB6DA0}"/>
          </ac:picMkLst>
        </pc:picChg>
      </pc:sldChg>
      <pc:sldChg chg="addSp delSp modSp modNotes">
        <pc:chgData name="EVELYNSM.YONG" userId="S::evelynsm.yong_gmail.com#ext#@risebcg.onmicrosoft.com::67a27a72-2420-4d38-b745-316a53f4b99a" providerId="AD" clId="Web-{B7065643-81CF-4785-A43E-F7F8964C8BB8}" dt="2022-01-10T09:42:47.078" v="2564" actId="1076"/>
        <pc:sldMkLst>
          <pc:docMk/>
          <pc:sldMk cId="3531645893" sldId="360"/>
        </pc:sldMkLst>
        <pc:spChg chg="add mod ord">
          <ac:chgData name="EVELYNSM.YONG" userId="S::evelynsm.yong_gmail.com#ext#@risebcg.onmicrosoft.com::67a27a72-2420-4d38-b745-316a53f4b99a" providerId="AD" clId="Web-{B7065643-81CF-4785-A43E-F7F8964C8BB8}" dt="2022-01-10T09:35:02.286" v="2482"/>
          <ac:spMkLst>
            <pc:docMk/>
            <pc:sldMk cId="3531645893" sldId="360"/>
            <ac:spMk id="3" creationId="{FC2A26BC-6E3B-4E2F-9C36-577BA7E9132E}"/>
          </ac:spMkLst>
        </pc:spChg>
        <pc:spChg chg="mod ord">
          <ac:chgData name="EVELYNSM.YONG" userId="S::evelynsm.yong_gmail.com#ext#@risebcg.onmicrosoft.com::67a27a72-2420-4d38-b745-316a53f4b99a" providerId="AD" clId="Web-{B7065643-81CF-4785-A43E-F7F8964C8BB8}" dt="2022-01-10T09:30:18.905" v="2375"/>
          <ac:spMkLst>
            <pc:docMk/>
            <pc:sldMk cId="3531645893" sldId="360"/>
            <ac:spMk id="5" creationId="{1999C9A4-8C8B-43CC-B77D-B8C58575D4DE}"/>
          </ac:spMkLst>
        </pc:spChg>
        <pc:spChg chg="mod">
          <ac:chgData name="EVELYNSM.YONG" userId="S::evelynsm.yong_gmail.com#ext#@risebcg.onmicrosoft.com::67a27a72-2420-4d38-b745-316a53f4b99a" providerId="AD" clId="Web-{B7065643-81CF-4785-A43E-F7F8964C8BB8}" dt="2022-01-10T09:10:00.440" v="2104"/>
          <ac:spMkLst>
            <pc:docMk/>
            <pc:sldMk cId="3531645893" sldId="360"/>
            <ac:spMk id="9" creationId="{E3C0B427-9E9D-47EC-AFD8-3D8F22D59FE9}"/>
          </ac:spMkLst>
        </pc:spChg>
        <pc:spChg chg="add mod">
          <ac:chgData name="EVELYNSM.YONG" userId="S::evelynsm.yong_gmail.com#ext#@risebcg.onmicrosoft.com::67a27a72-2420-4d38-b745-316a53f4b99a" providerId="AD" clId="Web-{B7065643-81CF-4785-A43E-F7F8964C8BB8}" dt="2022-01-10T09:37:58.306" v="2519" actId="20577"/>
          <ac:spMkLst>
            <pc:docMk/>
            <pc:sldMk cId="3531645893" sldId="360"/>
            <ac:spMk id="16" creationId="{C5929122-1CD8-4F76-B666-CD1876A444F2}"/>
          </ac:spMkLst>
        </pc:spChg>
        <pc:spChg chg="add mod">
          <ac:chgData name="EVELYNSM.YONG" userId="S::evelynsm.yong_gmail.com#ext#@risebcg.onmicrosoft.com::67a27a72-2420-4d38-b745-316a53f4b99a" providerId="AD" clId="Web-{B7065643-81CF-4785-A43E-F7F8964C8BB8}" dt="2022-01-10T09:42:47.078" v="2564" actId="1076"/>
          <ac:spMkLst>
            <pc:docMk/>
            <pc:sldMk cId="3531645893" sldId="360"/>
            <ac:spMk id="17" creationId="{B0B180E1-89CE-47E9-9BE8-885E81BBC262}"/>
          </ac:spMkLst>
        </pc:spChg>
        <pc:spChg chg="mod">
          <ac:chgData name="EVELYNSM.YONG" userId="S::evelynsm.yong_gmail.com#ext#@risebcg.onmicrosoft.com::67a27a72-2420-4d38-b745-316a53f4b99a" providerId="AD" clId="Web-{B7065643-81CF-4785-A43E-F7F8964C8BB8}" dt="2022-01-10T09:37:36.524" v="2507" actId="1076"/>
          <ac:spMkLst>
            <pc:docMk/>
            <pc:sldMk cId="3531645893" sldId="360"/>
            <ac:spMk id="18" creationId="{83C6C493-EE06-4670-B1AB-91DD5175B793}"/>
          </ac:spMkLst>
        </pc:spChg>
        <pc:spChg chg="mod">
          <ac:chgData name="EVELYNSM.YONG" userId="S::evelynsm.yong_gmail.com#ext#@risebcg.onmicrosoft.com::67a27a72-2420-4d38-b745-316a53f4b99a" providerId="AD" clId="Web-{B7065643-81CF-4785-A43E-F7F8964C8BB8}" dt="2022-01-10T09:29:13.169" v="2361" actId="14100"/>
          <ac:spMkLst>
            <pc:docMk/>
            <pc:sldMk cId="3531645893" sldId="360"/>
            <ac:spMk id="19" creationId="{950C64E7-6661-4AEA-8068-716AD3707128}"/>
          </ac:spMkLst>
        </pc:spChg>
        <pc:spChg chg="mod">
          <ac:chgData name="EVELYNSM.YONG" userId="S::evelynsm.yong_gmail.com#ext#@risebcg.onmicrosoft.com::67a27a72-2420-4d38-b745-316a53f4b99a" providerId="AD" clId="Web-{B7065643-81CF-4785-A43E-F7F8964C8BB8}" dt="2022-01-10T09:42:13.343" v="2552" actId="14100"/>
          <ac:spMkLst>
            <pc:docMk/>
            <pc:sldMk cId="3531645893" sldId="360"/>
            <ac:spMk id="20" creationId="{64A6A166-6CE6-41F0-99B2-FC47AF50CD6C}"/>
          </ac:spMkLst>
        </pc:spChg>
        <pc:spChg chg="add mod">
          <ac:chgData name="EVELYNSM.YONG" userId="S::evelynsm.yong_gmail.com#ext#@risebcg.onmicrosoft.com::67a27a72-2420-4d38-b745-316a53f4b99a" providerId="AD" clId="Web-{B7065643-81CF-4785-A43E-F7F8964C8BB8}" dt="2022-01-10T09:42:27.078" v="2557" actId="1076"/>
          <ac:spMkLst>
            <pc:docMk/>
            <pc:sldMk cId="3531645893" sldId="360"/>
            <ac:spMk id="21" creationId="{3B725847-CDC2-41AB-A059-69A3E5F93F82}"/>
          </ac:spMkLst>
        </pc:spChg>
        <pc:spChg chg="del">
          <ac:chgData name="EVELYNSM.YONG" userId="S::evelynsm.yong_gmail.com#ext#@risebcg.onmicrosoft.com::67a27a72-2420-4d38-b745-316a53f4b99a" providerId="AD" clId="Web-{B7065643-81CF-4785-A43E-F7F8964C8BB8}" dt="2022-01-10T08:47:52.722" v="1548"/>
          <ac:spMkLst>
            <pc:docMk/>
            <pc:sldMk cId="3531645893" sldId="360"/>
            <ac:spMk id="22" creationId="{31E2D2F4-E28C-4B52-9C47-E50AD68240D1}"/>
          </ac:spMkLst>
        </pc:spChg>
        <pc:spChg chg="mod">
          <ac:chgData name="EVELYNSM.YONG" userId="S::evelynsm.yong_gmail.com#ext#@risebcg.onmicrosoft.com::67a27a72-2420-4d38-b745-316a53f4b99a" providerId="AD" clId="Web-{B7065643-81CF-4785-A43E-F7F8964C8BB8}" dt="2022-01-10T09:42:47.062" v="2563"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B7065643-81CF-4785-A43E-F7F8964C8BB8}" dt="2022-01-10T09:42:25.187" v="2556" actId="1076"/>
          <ac:spMkLst>
            <pc:docMk/>
            <pc:sldMk cId="3531645893" sldId="360"/>
            <ac:spMk id="24" creationId="{CEFC4E90-FB9D-4E3E-86B1-5712D705BC99}"/>
          </ac:spMkLst>
        </pc:spChg>
        <pc:spChg chg="mod ord">
          <ac:chgData name="EVELYNSM.YONG" userId="S::evelynsm.yong_gmail.com#ext#@risebcg.onmicrosoft.com::67a27a72-2420-4d38-b745-316a53f4b99a" providerId="AD" clId="Web-{B7065643-81CF-4785-A43E-F7F8964C8BB8}" dt="2022-01-10T09:41:47.952" v="2545" actId="14100"/>
          <ac:spMkLst>
            <pc:docMk/>
            <pc:sldMk cId="3531645893" sldId="360"/>
            <ac:spMk id="25" creationId="{F2D8752B-46CF-482C-9E54-5BF79DDF6A1D}"/>
          </ac:spMkLst>
        </pc:spChg>
        <pc:spChg chg="add del mod">
          <ac:chgData name="EVELYNSM.YONG" userId="S::evelynsm.yong_gmail.com#ext#@risebcg.onmicrosoft.com::67a27a72-2420-4d38-b745-316a53f4b99a" providerId="AD" clId="Web-{B7065643-81CF-4785-A43E-F7F8964C8BB8}" dt="2022-01-10T09:02:04.538" v="1971"/>
          <ac:spMkLst>
            <pc:docMk/>
            <pc:sldMk cId="3531645893" sldId="360"/>
            <ac:spMk id="26" creationId="{29B66C0D-4048-4338-9F55-DFBFAAB14453}"/>
          </ac:spMkLst>
        </pc:spChg>
        <pc:spChg chg="add mod ord">
          <ac:chgData name="EVELYNSM.YONG" userId="S::evelynsm.yong_gmail.com#ext#@risebcg.onmicrosoft.com::67a27a72-2420-4d38-b745-316a53f4b99a" providerId="AD" clId="Web-{B7065643-81CF-4785-A43E-F7F8964C8BB8}" dt="2022-01-10T09:35:01.021" v="2479"/>
          <ac:spMkLst>
            <pc:docMk/>
            <pc:sldMk cId="3531645893" sldId="360"/>
            <ac:spMk id="27" creationId="{9C31BED3-CE5F-440A-A9B8-F5924562E1BA}"/>
          </ac:spMkLst>
        </pc:spChg>
        <pc:spChg chg="add del mod">
          <ac:chgData name="EVELYNSM.YONG" userId="S::evelynsm.yong_gmail.com#ext#@risebcg.onmicrosoft.com::67a27a72-2420-4d38-b745-316a53f4b99a" providerId="AD" clId="Web-{B7065643-81CF-4785-A43E-F7F8964C8BB8}" dt="2022-01-10T09:00:07.036" v="1854"/>
          <ac:spMkLst>
            <pc:docMk/>
            <pc:sldMk cId="3531645893" sldId="360"/>
            <ac:spMk id="28" creationId="{E5ECDA4D-C365-4527-863B-E7E1DC81B60A}"/>
          </ac:spMkLst>
        </pc:spChg>
        <pc:spChg chg="add mod ord">
          <ac:chgData name="EVELYNSM.YONG" userId="S::evelynsm.yong_gmail.com#ext#@risebcg.onmicrosoft.com::67a27a72-2420-4d38-b745-316a53f4b99a" providerId="AD" clId="Web-{B7065643-81CF-4785-A43E-F7F8964C8BB8}" dt="2022-01-10T09:35:01.880" v="2481"/>
          <ac:spMkLst>
            <pc:docMk/>
            <pc:sldMk cId="3531645893" sldId="360"/>
            <ac:spMk id="29" creationId="{C9BEC35E-523C-4554-8EBD-4475698ECF55}"/>
          </ac:spMkLst>
        </pc:spChg>
        <pc:spChg chg="add del">
          <ac:chgData name="EVELYNSM.YONG" userId="S::evelynsm.yong_gmail.com#ext#@risebcg.onmicrosoft.com::67a27a72-2420-4d38-b745-316a53f4b99a" providerId="AD" clId="Web-{B7065643-81CF-4785-A43E-F7F8964C8BB8}" dt="2022-01-10T09:04:03.885" v="1990"/>
          <ac:spMkLst>
            <pc:docMk/>
            <pc:sldMk cId="3531645893" sldId="360"/>
            <ac:spMk id="30" creationId="{27806096-68FC-4EC7-9B80-EFF6B2ECC93D}"/>
          </ac:spMkLst>
        </pc:spChg>
        <pc:spChg chg="add mod">
          <ac:chgData name="EVELYNSM.YONG" userId="S::evelynsm.yong_gmail.com#ext#@risebcg.onmicrosoft.com::67a27a72-2420-4d38-b745-316a53f4b99a" providerId="AD" clId="Web-{B7065643-81CF-4785-A43E-F7F8964C8BB8}" dt="2022-01-10T09:28:03.355" v="2309" actId="1076"/>
          <ac:spMkLst>
            <pc:docMk/>
            <pc:sldMk cId="3531645893" sldId="360"/>
            <ac:spMk id="32" creationId="{643819E7-FC5A-44D2-A6BA-F2C1071FA836}"/>
          </ac:spMkLst>
        </pc:spChg>
        <pc:spChg chg="add mod">
          <ac:chgData name="EVELYNSM.YONG" userId="S::evelynsm.yong_gmail.com#ext#@risebcg.onmicrosoft.com::67a27a72-2420-4d38-b745-316a53f4b99a" providerId="AD" clId="Web-{B7065643-81CF-4785-A43E-F7F8964C8BB8}" dt="2022-01-10T09:37:36.540" v="2508" actId="1076"/>
          <ac:spMkLst>
            <pc:docMk/>
            <pc:sldMk cId="3531645893" sldId="360"/>
            <ac:spMk id="33" creationId="{49617808-6BA1-41EC-8873-001A45EF30D5}"/>
          </ac:spMkLst>
        </pc:spChg>
        <pc:spChg chg="add mod">
          <ac:chgData name="EVELYNSM.YONG" userId="S::evelynsm.yong_gmail.com#ext#@risebcg.onmicrosoft.com::67a27a72-2420-4d38-b745-316a53f4b99a" providerId="AD" clId="Web-{B7065643-81CF-4785-A43E-F7F8964C8BB8}" dt="2022-01-10T09:38:36.994" v="2526"/>
          <ac:spMkLst>
            <pc:docMk/>
            <pc:sldMk cId="3531645893" sldId="360"/>
            <ac:spMk id="34" creationId="{BB464795-1EE5-4DAA-81B4-5DD73A621377}"/>
          </ac:spMkLst>
        </pc:spChg>
        <pc:spChg chg="add mod">
          <ac:chgData name="EVELYNSM.YONG" userId="S::evelynsm.yong_gmail.com#ext#@risebcg.onmicrosoft.com::67a27a72-2420-4d38-b745-316a53f4b99a" providerId="AD" clId="Web-{B7065643-81CF-4785-A43E-F7F8964C8BB8}" dt="2022-01-10T09:38:58.792" v="2529" actId="1076"/>
          <ac:spMkLst>
            <pc:docMk/>
            <pc:sldMk cId="3531645893" sldId="360"/>
            <ac:spMk id="35" creationId="{BEBA2DB5-D01A-45D1-B10F-CDA2A5C3CE6D}"/>
          </ac:spMkLst>
        </pc:spChg>
        <pc:spChg chg="add mod">
          <ac:chgData name="EVELYNSM.YONG" userId="S::evelynsm.yong_gmail.com#ext#@risebcg.onmicrosoft.com::67a27a72-2420-4d38-b745-316a53f4b99a" providerId="AD" clId="Web-{B7065643-81CF-4785-A43E-F7F8964C8BB8}" dt="2022-01-10T09:39:14.917" v="2531" actId="1076"/>
          <ac:spMkLst>
            <pc:docMk/>
            <pc:sldMk cId="3531645893" sldId="360"/>
            <ac:spMk id="36" creationId="{078A3856-3300-433F-A501-B031E92BEAC1}"/>
          </ac:spMkLst>
        </pc:spChg>
        <pc:spChg chg="add mod">
          <ac:chgData name="EVELYNSM.YONG" userId="S::evelynsm.yong_gmail.com#ext#@risebcg.onmicrosoft.com::67a27a72-2420-4d38-b745-316a53f4b99a" providerId="AD" clId="Web-{B7065643-81CF-4785-A43E-F7F8964C8BB8}" dt="2022-01-10T09:39:03.995" v="2530" actId="1076"/>
          <ac:spMkLst>
            <pc:docMk/>
            <pc:sldMk cId="3531645893" sldId="360"/>
            <ac:spMk id="37" creationId="{4AB50FB2-2592-4F25-B501-5E5ED17825ED}"/>
          </ac:spMkLst>
        </pc:spChg>
        <pc:spChg chg="add mod ord">
          <ac:chgData name="EVELYNSM.YONG" userId="S::evelynsm.yong_gmail.com#ext#@risebcg.onmicrosoft.com::67a27a72-2420-4d38-b745-316a53f4b99a" providerId="AD" clId="Web-{B7065643-81CF-4785-A43E-F7F8964C8BB8}" dt="2022-01-10T09:40:05.949" v="2538" actId="1076"/>
          <ac:spMkLst>
            <pc:docMk/>
            <pc:sldMk cId="3531645893" sldId="360"/>
            <ac:spMk id="38" creationId="{CB428AE9-51B3-41CB-A62A-62EA6128CCE3}"/>
          </ac:spMkLst>
        </pc:spChg>
        <pc:spChg chg="add mod">
          <ac:chgData name="EVELYNSM.YONG" userId="S::evelynsm.yong_gmail.com#ext#@risebcg.onmicrosoft.com::67a27a72-2420-4d38-b745-316a53f4b99a" providerId="AD" clId="Web-{B7065643-81CF-4785-A43E-F7F8964C8BB8}" dt="2022-01-10T09:40:11.918" v="2539" actId="1076"/>
          <ac:spMkLst>
            <pc:docMk/>
            <pc:sldMk cId="3531645893" sldId="360"/>
            <ac:spMk id="40" creationId="{ECF14FD3-8E08-4762-B1DE-BECAD18D177B}"/>
          </ac:spMkLst>
        </pc:spChg>
        <pc:picChg chg="mod modCrop">
          <ac:chgData name="EVELYNSM.YONG" userId="S::evelynsm.yong_gmail.com#ext#@risebcg.onmicrosoft.com::67a27a72-2420-4d38-b745-316a53f4b99a" providerId="AD" clId="Web-{B7065643-81CF-4785-A43E-F7F8964C8BB8}" dt="2022-01-10T09:37:36.509" v="2506" actId="1076"/>
          <ac:picMkLst>
            <pc:docMk/>
            <pc:sldMk cId="3531645893" sldId="360"/>
            <ac:picMk id="2" creationId="{D0C0A48E-43AC-4647-84A5-DAC9A37420F4}"/>
          </ac:picMkLst>
        </pc:picChg>
        <pc:picChg chg="add del mod modCrop">
          <ac:chgData name="EVELYNSM.YONG" userId="S::evelynsm.yong_gmail.com#ext#@risebcg.onmicrosoft.com::67a27a72-2420-4d38-b745-316a53f4b99a" providerId="AD" clId="Web-{B7065643-81CF-4785-A43E-F7F8964C8BB8}" dt="2022-01-10T09:30:25.639" v="2378" actId="14100"/>
          <ac:picMkLst>
            <pc:docMk/>
            <pc:sldMk cId="3531645893" sldId="360"/>
            <ac:picMk id="6" creationId="{EF6EAEC0-2A43-4308-9642-0428A55E7A00}"/>
          </ac:picMkLst>
        </pc:picChg>
        <pc:picChg chg="add mod ord modCrop">
          <ac:chgData name="EVELYNSM.YONG" userId="S::evelynsm.yong_gmail.com#ext#@risebcg.onmicrosoft.com::67a27a72-2420-4d38-b745-316a53f4b99a" providerId="AD" clId="Web-{B7065643-81CF-4785-A43E-F7F8964C8BB8}" dt="2022-01-10T09:35:01.474" v="2480"/>
          <ac:picMkLst>
            <pc:docMk/>
            <pc:sldMk cId="3531645893" sldId="360"/>
            <ac:picMk id="14" creationId="{CA6FE08D-ADB1-46B9-A969-E879971A31D3}"/>
          </ac:picMkLst>
        </pc:picChg>
        <pc:picChg chg="add del">
          <ac:chgData name="EVELYNSM.YONG" userId="S::evelynsm.yong_gmail.com#ext#@risebcg.onmicrosoft.com::67a27a72-2420-4d38-b745-316a53f4b99a" providerId="AD" clId="Web-{B7065643-81CF-4785-A43E-F7F8964C8BB8}" dt="2022-01-10T09:04:56.152" v="2001"/>
          <ac:picMkLst>
            <pc:docMk/>
            <pc:sldMk cId="3531645893" sldId="360"/>
            <ac:picMk id="31" creationId="{BEC8A415-DCE3-4906-89FC-2E73D2352A34}"/>
          </ac:picMkLst>
        </pc:picChg>
        <pc:cxnChg chg="add mod">
          <ac:chgData name="EVELYNSM.YONG" userId="S::evelynsm.yong_gmail.com#ext#@risebcg.onmicrosoft.com::67a27a72-2420-4d38-b745-316a53f4b99a" providerId="AD" clId="Web-{B7065643-81CF-4785-A43E-F7F8964C8BB8}" dt="2022-01-10T09:39:34.308" v="2535" actId="14100"/>
          <ac:cxnSpMkLst>
            <pc:docMk/>
            <pc:sldMk cId="3531645893" sldId="360"/>
            <ac:cxnSpMk id="4" creationId="{BAA273B8-78B6-46B8-9FDB-2FE8E5FFAA59}"/>
          </ac:cxnSpMkLst>
        </pc:cxnChg>
        <pc:cxnChg chg="add mod">
          <ac:chgData name="EVELYNSM.YONG" userId="S::evelynsm.yong_gmail.com#ext#@risebcg.onmicrosoft.com::67a27a72-2420-4d38-b745-316a53f4b99a" providerId="AD" clId="Web-{B7065643-81CF-4785-A43E-F7F8964C8BB8}" dt="2022-01-10T09:39:25.870" v="2533" actId="14100"/>
          <ac:cxnSpMkLst>
            <pc:docMk/>
            <pc:sldMk cId="3531645893" sldId="360"/>
            <ac:cxnSpMk id="39" creationId="{C02C1C41-DC87-44F6-B172-862875871040}"/>
          </ac:cxnSpMkLst>
        </pc:cxnChg>
      </pc:sldChg>
      <pc:sldChg chg="del">
        <pc:chgData name="EVELYNSM.YONG" userId="S::evelynsm.yong_gmail.com#ext#@risebcg.onmicrosoft.com::67a27a72-2420-4d38-b745-316a53f4b99a" providerId="AD" clId="Web-{B7065643-81CF-4785-A43E-F7F8964C8BB8}" dt="2022-01-10T07:27:17.644" v="2"/>
        <pc:sldMkLst>
          <pc:docMk/>
          <pc:sldMk cId="2388905158" sldId="370"/>
        </pc:sldMkLst>
      </pc:sldChg>
      <pc:sldChg chg="addSp delSp modSp add del replId delAnim">
        <pc:chgData name="EVELYNSM.YONG" userId="S::evelynsm.yong_gmail.com#ext#@risebcg.onmicrosoft.com::67a27a72-2420-4d38-b745-316a53f4b99a" providerId="AD" clId="Web-{B7065643-81CF-4785-A43E-F7F8964C8BB8}" dt="2022-01-10T09:15:03.603" v="2148"/>
        <pc:sldMkLst>
          <pc:docMk/>
          <pc:sldMk cId="2447926016" sldId="371"/>
        </pc:sldMkLst>
        <pc:spChg chg="del">
          <ac:chgData name="EVELYNSM.YONG" userId="S::evelynsm.yong_gmail.com#ext#@risebcg.onmicrosoft.com::67a27a72-2420-4d38-b745-316a53f4b99a" providerId="AD" clId="Web-{B7065643-81CF-4785-A43E-F7F8964C8BB8}" dt="2022-01-10T08:41:27.682" v="1493"/>
          <ac:spMkLst>
            <pc:docMk/>
            <pc:sldMk cId="2447926016" sldId="371"/>
            <ac:spMk id="3" creationId="{D007FF1E-895C-4A21-8D3B-FDC1BD41CEEA}"/>
          </ac:spMkLst>
        </pc:spChg>
        <pc:spChg chg="del">
          <ac:chgData name="EVELYNSM.YONG" userId="S::evelynsm.yong_gmail.com#ext#@risebcg.onmicrosoft.com::67a27a72-2420-4d38-b745-316a53f4b99a" providerId="AD" clId="Web-{B7065643-81CF-4785-A43E-F7F8964C8BB8}" dt="2022-01-10T08:41:24.854" v="1492"/>
          <ac:spMkLst>
            <pc:docMk/>
            <pc:sldMk cId="2447926016" sldId="371"/>
            <ac:spMk id="4" creationId="{F2781DB5-90E2-4089-BA07-2F83778C3F07}"/>
          </ac:spMkLst>
        </pc:spChg>
        <pc:spChg chg="del">
          <ac:chgData name="EVELYNSM.YONG" userId="S::evelynsm.yong_gmail.com#ext#@risebcg.onmicrosoft.com::67a27a72-2420-4d38-b745-316a53f4b99a" providerId="AD" clId="Web-{B7065643-81CF-4785-A43E-F7F8964C8BB8}" dt="2022-01-10T08:41:24.854" v="1491"/>
          <ac:spMkLst>
            <pc:docMk/>
            <pc:sldMk cId="2447926016" sldId="371"/>
            <ac:spMk id="5" creationId="{AA1B9715-B961-42AF-90C9-79A87F13D1B8}"/>
          </ac:spMkLst>
        </pc:spChg>
        <pc:spChg chg="add del mod topLvl">
          <ac:chgData name="EVELYNSM.YONG" userId="S::evelynsm.yong_gmail.com#ext#@risebcg.onmicrosoft.com::67a27a72-2420-4d38-b745-316a53f4b99a" providerId="AD" clId="Web-{B7065643-81CF-4785-A43E-F7F8964C8BB8}" dt="2022-01-10T08:42:49.669" v="1506" actId="1076"/>
          <ac:spMkLst>
            <pc:docMk/>
            <pc:sldMk cId="2447926016" sldId="371"/>
            <ac:spMk id="6" creationId="{1F6C1D8C-C355-4404-8DE8-0C1F04D46B49}"/>
          </ac:spMkLst>
        </pc:spChg>
        <pc:spChg chg="del">
          <ac:chgData name="EVELYNSM.YONG" userId="S::evelynsm.yong_gmail.com#ext#@risebcg.onmicrosoft.com::67a27a72-2420-4d38-b745-316a53f4b99a" providerId="AD" clId="Web-{B7065643-81CF-4785-A43E-F7F8964C8BB8}" dt="2022-01-10T08:41:24.838" v="1488"/>
          <ac:spMkLst>
            <pc:docMk/>
            <pc:sldMk cId="2447926016" sldId="371"/>
            <ac:spMk id="10" creationId="{6903E9BF-EB5F-4900-A7C3-8046B86C2485}"/>
          </ac:spMkLst>
        </pc:spChg>
        <pc:spChg chg="del">
          <ac:chgData name="EVELYNSM.YONG" userId="S::evelynsm.yong_gmail.com#ext#@risebcg.onmicrosoft.com::67a27a72-2420-4d38-b745-316a53f4b99a" providerId="AD" clId="Web-{B7065643-81CF-4785-A43E-F7F8964C8BB8}" dt="2022-01-10T08:41:24.838" v="1487"/>
          <ac:spMkLst>
            <pc:docMk/>
            <pc:sldMk cId="2447926016" sldId="371"/>
            <ac:spMk id="11" creationId="{41409821-5DD4-4CE8-8A23-90E7022670FB}"/>
          </ac:spMkLst>
        </pc:spChg>
        <pc:spChg chg="add mod">
          <ac:chgData name="EVELYNSM.YONG" userId="S::evelynsm.yong_gmail.com#ext#@risebcg.onmicrosoft.com::67a27a72-2420-4d38-b745-316a53f4b99a" providerId="AD" clId="Web-{B7065643-81CF-4785-A43E-F7F8964C8BB8}" dt="2022-01-10T08:42:38.246" v="1505" actId="1076"/>
          <ac:spMkLst>
            <pc:docMk/>
            <pc:sldMk cId="2447926016" sldId="371"/>
            <ac:spMk id="14" creationId="{2C69D88B-2C3E-4585-9F55-DDB354CF5322}"/>
          </ac:spMkLst>
        </pc:spChg>
        <pc:spChg chg="del">
          <ac:chgData name="EVELYNSM.YONG" userId="S::evelynsm.yong_gmail.com#ext#@risebcg.onmicrosoft.com::67a27a72-2420-4d38-b745-316a53f4b99a" providerId="AD" clId="Web-{B7065643-81CF-4785-A43E-F7F8964C8BB8}" dt="2022-01-10T08:41:24.838" v="1485"/>
          <ac:spMkLst>
            <pc:docMk/>
            <pc:sldMk cId="2447926016" sldId="371"/>
            <ac:spMk id="17" creationId="{A342E76F-CBEB-45ED-8735-A83C6AD5D2B1}"/>
          </ac:spMkLst>
        </pc:spChg>
        <pc:spChg chg="del">
          <ac:chgData name="EVELYNSM.YONG" userId="S::evelynsm.yong_gmail.com#ext#@risebcg.onmicrosoft.com::67a27a72-2420-4d38-b745-316a53f4b99a" providerId="AD" clId="Web-{B7065643-81CF-4785-A43E-F7F8964C8BB8}" dt="2022-01-10T08:41:24.838" v="1481"/>
          <ac:spMkLst>
            <pc:docMk/>
            <pc:sldMk cId="2447926016" sldId="371"/>
            <ac:spMk id="32" creationId="{19924F50-9976-41A7-88C1-641F1509CEE0}"/>
          </ac:spMkLst>
        </pc:spChg>
        <pc:spChg chg="del">
          <ac:chgData name="EVELYNSM.YONG" userId="S::evelynsm.yong_gmail.com#ext#@risebcg.onmicrosoft.com::67a27a72-2420-4d38-b745-316a53f4b99a" providerId="AD" clId="Web-{B7065643-81CF-4785-A43E-F7F8964C8BB8}" dt="2022-01-10T08:41:24.838" v="1480"/>
          <ac:spMkLst>
            <pc:docMk/>
            <pc:sldMk cId="2447926016" sldId="371"/>
            <ac:spMk id="33" creationId="{C9B7F08E-D629-47BA-B28C-40CF22219379}"/>
          </ac:spMkLst>
        </pc:spChg>
        <pc:spChg chg="del">
          <ac:chgData name="EVELYNSM.YONG" userId="S::evelynsm.yong_gmail.com#ext#@risebcg.onmicrosoft.com::67a27a72-2420-4d38-b745-316a53f4b99a" providerId="AD" clId="Web-{B7065643-81CF-4785-A43E-F7F8964C8BB8}" dt="2022-01-10T08:41:24.838" v="1479"/>
          <ac:spMkLst>
            <pc:docMk/>
            <pc:sldMk cId="2447926016" sldId="371"/>
            <ac:spMk id="34" creationId="{06D19D76-F677-4AAA-AA6A-7CA4B9DAF436}"/>
          </ac:spMkLst>
        </pc:spChg>
        <pc:spChg chg="del">
          <ac:chgData name="EVELYNSM.YONG" userId="S::evelynsm.yong_gmail.com#ext#@risebcg.onmicrosoft.com::67a27a72-2420-4d38-b745-316a53f4b99a" providerId="AD" clId="Web-{B7065643-81CF-4785-A43E-F7F8964C8BB8}" dt="2022-01-10T08:41:24.838" v="1478"/>
          <ac:spMkLst>
            <pc:docMk/>
            <pc:sldMk cId="2447926016" sldId="371"/>
            <ac:spMk id="35" creationId="{E20AAA99-395B-4009-AF86-AC6B211B7758}"/>
          </ac:spMkLst>
        </pc:spChg>
        <pc:spChg chg="del">
          <ac:chgData name="EVELYNSM.YONG" userId="S::evelynsm.yong_gmail.com#ext#@risebcg.onmicrosoft.com::67a27a72-2420-4d38-b745-316a53f4b99a" providerId="AD" clId="Web-{B7065643-81CF-4785-A43E-F7F8964C8BB8}" dt="2022-01-10T08:41:24.838" v="1477"/>
          <ac:spMkLst>
            <pc:docMk/>
            <pc:sldMk cId="2447926016" sldId="371"/>
            <ac:spMk id="37" creationId="{1AA86EF9-D1F2-488E-902B-9C25FAEFDD52}"/>
          </ac:spMkLst>
        </pc:spChg>
        <pc:grpChg chg="add del mod">
          <ac:chgData name="EVELYNSM.YONG" userId="S::evelynsm.yong_gmail.com#ext#@risebcg.onmicrosoft.com::67a27a72-2420-4d38-b745-316a53f4b99a" providerId="AD" clId="Web-{B7065643-81CF-4785-A43E-F7F8964C8BB8}" dt="2022-01-10T08:42:23.559" v="1499"/>
          <ac:grpSpMkLst>
            <pc:docMk/>
            <pc:sldMk cId="2447926016" sldId="371"/>
            <ac:grpSpMk id="12" creationId="{7F8E9853-AD20-47CB-B420-FCDBADFE41AC}"/>
          </ac:grpSpMkLst>
        </pc:grpChg>
        <pc:picChg chg="del">
          <ac:chgData name="EVELYNSM.YONG" userId="S::evelynsm.yong_gmail.com#ext#@risebcg.onmicrosoft.com::67a27a72-2420-4d38-b745-316a53f4b99a" providerId="AD" clId="Web-{B7065643-81CF-4785-A43E-F7F8964C8BB8}" dt="2022-01-10T08:41:24.838" v="1490"/>
          <ac:picMkLst>
            <pc:docMk/>
            <pc:sldMk cId="2447926016" sldId="371"/>
            <ac:picMk id="7" creationId="{52098F02-F658-4E94-9501-A14F3E2D33CE}"/>
          </ac:picMkLst>
        </pc:picChg>
        <pc:picChg chg="add topLvl">
          <ac:chgData name="EVELYNSM.YONG" userId="S::evelynsm.yong_gmail.com#ext#@risebcg.onmicrosoft.com::67a27a72-2420-4d38-b745-316a53f4b99a" providerId="AD" clId="Web-{B7065643-81CF-4785-A43E-F7F8964C8BB8}" dt="2022-01-10T08:42:23.559" v="1499"/>
          <ac:picMkLst>
            <pc:docMk/>
            <pc:sldMk cId="2447926016" sldId="371"/>
            <ac:picMk id="8" creationId="{191E8121-F470-48DB-81BC-ECBFA2012B9A}"/>
          </ac:picMkLst>
        </pc:picChg>
        <pc:picChg chg="del">
          <ac:chgData name="EVELYNSM.YONG" userId="S::evelynsm.yong_gmail.com#ext#@risebcg.onmicrosoft.com::67a27a72-2420-4d38-b745-316a53f4b99a" providerId="AD" clId="Web-{B7065643-81CF-4785-A43E-F7F8964C8BB8}" dt="2022-01-10T08:41:24.838" v="1489"/>
          <ac:picMkLst>
            <pc:docMk/>
            <pc:sldMk cId="2447926016" sldId="371"/>
            <ac:picMk id="9" creationId="{A7D42D63-B632-4192-9AF9-4120DFBDAFF3}"/>
          </ac:picMkLst>
        </pc:picChg>
        <pc:picChg chg="del">
          <ac:chgData name="EVELYNSM.YONG" userId="S::evelynsm.yong_gmail.com#ext#@risebcg.onmicrosoft.com::67a27a72-2420-4d38-b745-316a53f4b99a" providerId="AD" clId="Web-{B7065643-81CF-4785-A43E-F7F8964C8BB8}" dt="2022-01-10T08:41:24.838" v="1486"/>
          <ac:picMkLst>
            <pc:docMk/>
            <pc:sldMk cId="2447926016" sldId="371"/>
            <ac:picMk id="13" creationId="{9D9C893F-03E6-48D6-942D-542F03E4CD7B}"/>
          </ac:picMkLst>
        </pc:picChg>
        <pc:picChg chg="del">
          <ac:chgData name="EVELYNSM.YONG" userId="S::evelynsm.yong_gmail.com#ext#@risebcg.onmicrosoft.com::67a27a72-2420-4d38-b745-316a53f4b99a" providerId="AD" clId="Web-{B7065643-81CF-4785-A43E-F7F8964C8BB8}" dt="2022-01-10T08:41:24.838" v="1484"/>
          <ac:picMkLst>
            <pc:docMk/>
            <pc:sldMk cId="2447926016" sldId="371"/>
            <ac:picMk id="21" creationId="{270AFCE7-EE99-4D66-AE35-2E7503A46115}"/>
          </ac:picMkLst>
        </pc:picChg>
        <pc:picChg chg="del">
          <ac:chgData name="EVELYNSM.YONG" userId="S::evelynsm.yong_gmail.com#ext#@risebcg.onmicrosoft.com::67a27a72-2420-4d38-b745-316a53f4b99a" providerId="AD" clId="Web-{B7065643-81CF-4785-A43E-F7F8964C8BB8}" dt="2022-01-10T08:41:24.838" v="1483"/>
          <ac:picMkLst>
            <pc:docMk/>
            <pc:sldMk cId="2447926016" sldId="371"/>
            <ac:picMk id="23" creationId="{AEC9587C-3F93-4045-ACEB-A1A4AFB0FC11}"/>
          </ac:picMkLst>
        </pc:picChg>
        <pc:picChg chg="del">
          <ac:chgData name="EVELYNSM.YONG" userId="S::evelynsm.yong_gmail.com#ext#@risebcg.onmicrosoft.com::67a27a72-2420-4d38-b745-316a53f4b99a" providerId="AD" clId="Web-{B7065643-81CF-4785-A43E-F7F8964C8BB8}" dt="2022-01-10T08:41:24.838" v="1482"/>
          <ac:picMkLst>
            <pc:docMk/>
            <pc:sldMk cId="2447926016" sldId="371"/>
            <ac:picMk id="29" creationId="{4F6899D5-3109-4938-82DA-041DEA46D7EF}"/>
          </ac:picMkLst>
        </pc:picChg>
      </pc:sldChg>
      <pc:sldChg chg="del">
        <pc:chgData name="EVELYNSM.YONG" userId="S::evelynsm.yong_gmail.com#ext#@risebcg.onmicrosoft.com::67a27a72-2420-4d38-b745-316a53f4b99a" providerId="AD" clId="Web-{B7065643-81CF-4785-A43E-F7F8964C8BB8}" dt="2022-01-10T09:16:59.590" v="2181"/>
        <pc:sldMkLst>
          <pc:docMk/>
          <pc:sldMk cId="1067422059" sldId="372"/>
        </pc:sldMkLst>
      </pc:sldChg>
      <pc:sldChg chg="del">
        <pc:chgData name="EVELYNSM.YONG" userId="S::evelynsm.yong_gmail.com#ext#@risebcg.onmicrosoft.com::67a27a72-2420-4d38-b745-316a53f4b99a" providerId="AD" clId="Web-{B7065643-81CF-4785-A43E-F7F8964C8BB8}" dt="2022-01-10T09:24:15.944" v="2235"/>
        <pc:sldMkLst>
          <pc:docMk/>
          <pc:sldMk cId="3904895489" sldId="373"/>
        </pc:sldMkLst>
      </pc:sldChg>
      <pc:sldChg chg="modSp del">
        <pc:chgData name="EVELYNSM.YONG" userId="S::evelynsm.yong_gmail.com#ext#@risebcg.onmicrosoft.com::67a27a72-2420-4d38-b745-316a53f4b99a" providerId="AD" clId="Web-{B7065643-81CF-4785-A43E-F7F8964C8BB8}" dt="2022-01-10T09:20:35.423" v="2218"/>
        <pc:sldMkLst>
          <pc:docMk/>
          <pc:sldMk cId="1525880247" sldId="374"/>
        </pc:sldMkLst>
        <pc:spChg chg="mod">
          <ac:chgData name="EVELYNSM.YONG" userId="S::evelynsm.yong_gmail.com#ext#@risebcg.onmicrosoft.com::67a27a72-2420-4d38-b745-316a53f4b99a" providerId="AD" clId="Web-{B7065643-81CF-4785-A43E-F7F8964C8BB8}" dt="2022-01-10T08:43:52.936" v="1513" actId="20577"/>
          <ac:spMkLst>
            <pc:docMk/>
            <pc:sldMk cId="1525880247" sldId="374"/>
            <ac:spMk id="2" creationId="{A39A4D9F-6CD8-4720-9D48-D7FA06F4715B}"/>
          </ac:spMkLst>
        </pc:spChg>
      </pc:sldChg>
      <pc:sldChg chg="addSp delSp modSp add ord replId modNotes">
        <pc:chgData name="EVELYNSM.YONG" userId="S::evelynsm.yong_gmail.com#ext#@risebcg.onmicrosoft.com::67a27a72-2420-4d38-b745-316a53f4b99a" providerId="AD" clId="Web-{B7065643-81CF-4785-A43E-F7F8964C8BB8}" dt="2022-01-10T09:16:58.074" v="2180"/>
        <pc:sldMkLst>
          <pc:docMk/>
          <pc:sldMk cId="2249197500" sldId="375"/>
        </pc:sldMkLst>
        <pc:spChg chg="add mod">
          <ac:chgData name="EVELYNSM.YONG" userId="S::evelynsm.yong_gmail.com#ext#@risebcg.onmicrosoft.com::67a27a72-2420-4d38-b745-316a53f4b99a" providerId="AD" clId="Web-{B7065643-81CF-4785-A43E-F7F8964C8BB8}" dt="2022-01-10T09:14:47.212" v="2147"/>
          <ac:spMkLst>
            <pc:docMk/>
            <pc:sldMk cId="2249197500" sldId="375"/>
            <ac:spMk id="2" creationId="{D2AC414D-C8F9-4E07-9D41-5AAD3600E4CA}"/>
          </ac:spMkLst>
        </pc:spChg>
        <pc:spChg chg="del mod">
          <ac:chgData name="EVELYNSM.YONG" userId="S::evelynsm.yong_gmail.com#ext#@risebcg.onmicrosoft.com::67a27a72-2420-4d38-b745-316a53f4b99a" providerId="AD" clId="Web-{B7065643-81CF-4785-A43E-F7F8964C8BB8}" dt="2022-01-10T09:12:43.928" v="2120"/>
          <ac:spMkLst>
            <pc:docMk/>
            <pc:sldMk cId="2249197500" sldId="375"/>
            <ac:spMk id="3" creationId="{FA2505BE-1A50-4419-9F3A-26EF66EDBF4F}"/>
          </ac:spMkLst>
        </pc:spChg>
        <pc:picChg chg="add mod">
          <ac:chgData name="EVELYNSM.YONG" userId="S::evelynsm.yong_gmail.com#ext#@risebcg.onmicrosoft.com::67a27a72-2420-4d38-b745-316a53f4b99a" providerId="AD" clId="Web-{B7065643-81CF-4785-A43E-F7F8964C8BB8}" dt="2022-01-10T09:14:20.774" v="2143"/>
          <ac:picMkLst>
            <pc:docMk/>
            <pc:sldMk cId="2249197500" sldId="375"/>
            <ac:picMk id="6" creationId="{CDA4DE4C-970A-4EAB-AC6E-002BA44377FC}"/>
          </ac:picMkLst>
        </pc:picChg>
      </pc:sldChg>
      <pc:sldChg chg="addSp delSp modSp add ord replId modNotes">
        <pc:chgData name="EVELYNSM.YONG" userId="S::evelynsm.yong_gmail.com#ext#@risebcg.onmicrosoft.com::67a27a72-2420-4d38-b745-316a53f4b99a" providerId="AD" clId="Web-{B7065643-81CF-4785-A43E-F7F8964C8BB8}" dt="2022-01-10T09:16:54.918" v="2179"/>
        <pc:sldMkLst>
          <pc:docMk/>
          <pc:sldMk cId="1064641949" sldId="376"/>
        </pc:sldMkLst>
        <pc:spChg chg="mod">
          <ac:chgData name="EVELYNSM.YONG" userId="S::evelynsm.yong_gmail.com#ext#@risebcg.onmicrosoft.com::67a27a72-2420-4d38-b745-316a53f4b99a" providerId="AD" clId="Web-{B7065643-81CF-4785-A43E-F7F8964C8BB8}" dt="2022-01-10T09:15:55.526" v="2173" actId="20577"/>
          <ac:spMkLst>
            <pc:docMk/>
            <pc:sldMk cId="1064641949" sldId="376"/>
            <ac:spMk id="2" creationId="{D2AC414D-C8F9-4E07-9D41-5AAD3600E4CA}"/>
          </ac:spMkLst>
        </pc:spChg>
        <pc:picChg chg="add mod">
          <ac:chgData name="EVELYNSM.YONG" userId="S::evelynsm.yong_gmail.com#ext#@risebcg.onmicrosoft.com::67a27a72-2420-4d38-b745-316a53f4b99a" providerId="AD" clId="Web-{B7065643-81CF-4785-A43E-F7F8964C8BB8}" dt="2022-01-10T09:16:01.760" v="2176" actId="1076"/>
          <ac:picMkLst>
            <pc:docMk/>
            <pc:sldMk cId="1064641949" sldId="376"/>
            <ac:picMk id="3" creationId="{6F382BC0-49BA-48AF-BA38-82F2ED538C6C}"/>
          </ac:picMkLst>
        </pc:picChg>
        <pc:picChg chg="del">
          <ac:chgData name="EVELYNSM.YONG" userId="S::evelynsm.yong_gmail.com#ext#@risebcg.onmicrosoft.com::67a27a72-2420-4d38-b745-316a53f4b99a" providerId="AD" clId="Web-{B7065643-81CF-4785-A43E-F7F8964C8BB8}" dt="2022-01-10T09:15:56.213" v="2174"/>
          <ac:picMkLst>
            <pc:docMk/>
            <pc:sldMk cId="1064641949" sldId="376"/>
            <ac:picMk id="6" creationId="{CDA4DE4C-970A-4EAB-AC6E-002BA44377FC}"/>
          </ac:picMkLst>
        </pc:picChg>
      </pc:sldChg>
      <pc:sldChg chg="addSp delSp modSp add ord replId">
        <pc:chgData name="EVELYNSM.YONG" userId="S::evelynsm.yong_gmail.com#ext#@risebcg.onmicrosoft.com::67a27a72-2420-4d38-b745-316a53f4b99a" providerId="AD" clId="Web-{B7065643-81CF-4785-A43E-F7F8964C8BB8}" dt="2022-01-10T09:20:17.548" v="2216" actId="1076"/>
        <pc:sldMkLst>
          <pc:docMk/>
          <pc:sldMk cId="3505188540" sldId="377"/>
        </pc:sldMkLst>
        <pc:spChg chg="mod">
          <ac:chgData name="EVELYNSM.YONG" userId="S::evelynsm.yong_gmail.com#ext#@risebcg.onmicrosoft.com::67a27a72-2420-4d38-b745-316a53f4b99a" providerId="AD" clId="Web-{B7065643-81CF-4785-A43E-F7F8964C8BB8}" dt="2022-01-10T09:19:33.734" v="2209" actId="20577"/>
          <ac:spMkLst>
            <pc:docMk/>
            <pc:sldMk cId="3505188540" sldId="377"/>
            <ac:spMk id="2" creationId="{D2AC414D-C8F9-4E07-9D41-5AAD3600E4CA}"/>
          </ac:spMkLst>
        </pc:spChg>
        <pc:grpChg chg="add mod">
          <ac:chgData name="EVELYNSM.YONG" userId="S::evelynsm.yong_gmail.com#ext#@risebcg.onmicrosoft.com::67a27a72-2420-4d38-b745-316a53f4b99a" providerId="AD" clId="Web-{B7065643-81CF-4785-A43E-F7F8964C8BB8}" dt="2022-01-10T09:20:17.548" v="2216" actId="1076"/>
          <ac:grpSpMkLst>
            <pc:docMk/>
            <pc:sldMk cId="3505188540" sldId="377"/>
            <ac:grpSpMk id="10" creationId="{258CA1F2-5352-4D56-9429-D795344C6B88}"/>
          </ac:grpSpMkLst>
        </pc:grpChg>
        <pc:picChg chg="del">
          <ac:chgData name="EVELYNSM.YONG" userId="S::evelynsm.yong_gmail.com#ext#@risebcg.onmicrosoft.com::67a27a72-2420-4d38-b745-316a53f4b99a" providerId="AD" clId="Web-{B7065643-81CF-4785-A43E-F7F8964C8BB8}" dt="2022-01-10T09:19:10.530" v="2184"/>
          <ac:picMkLst>
            <pc:docMk/>
            <pc:sldMk cId="3505188540" sldId="377"/>
            <ac:picMk id="3" creationId="{6F382BC0-49BA-48AF-BA38-82F2ED538C6C}"/>
          </ac:picMkLst>
        </pc:picChg>
        <pc:picChg chg="add del">
          <ac:chgData name="EVELYNSM.YONG" userId="S::evelynsm.yong_gmail.com#ext#@risebcg.onmicrosoft.com::67a27a72-2420-4d38-b745-316a53f4b99a" providerId="AD" clId="Web-{B7065643-81CF-4785-A43E-F7F8964C8BB8}" dt="2022-01-10T09:19:14.187" v="2186"/>
          <ac:picMkLst>
            <pc:docMk/>
            <pc:sldMk cId="3505188540" sldId="377"/>
            <ac:picMk id="5" creationId="{8B8AC4AC-BA86-4830-BE68-52877D3B2C58}"/>
          </ac:picMkLst>
        </pc:picChg>
        <pc:picChg chg="add mod">
          <ac:chgData name="EVELYNSM.YONG" userId="S::evelynsm.yong_gmail.com#ext#@risebcg.onmicrosoft.com::67a27a72-2420-4d38-b745-316a53f4b99a" providerId="AD" clId="Web-{B7065643-81CF-4785-A43E-F7F8964C8BB8}" dt="2022-01-10T09:20:06.860" v="2212" actId="1076"/>
          <ac:picMkLst>
            <pc:docMk/>
            <pc:sldMk cId="3505188540" sldId="377"/>
            <ac:picMk id="7" creationId="{FF3B21C2-DAAF-4FBE-8407-DFE323F63AD3}"/>
          </ac:picMkLst>
        </pc:picChg>
        <pc:picChg chg="add mod">
          <ac:chgData name="EVELYNSM.YONG" userId="S::evelynsm.yong_gmail.com#ext#@risebcg.onmicrosoft.com::67a27a72-2420-4d38-b745-316a53f4b99a" providerId="AD" clId="Web-{B7065643-81CF-4785-A43E-F7F8964C8BB8}" dt="2022-01-10T09:20:06.860" v="2213" actId="1076"/>
          <ac:picMkLst>
            <pc:docMk/>
            <pc:sldMk cId="3505188540" sldId="377"/>
            <ac:picMk id="9" creationId="{B3CA0067-ED0D-4588-907B-F5FCB4DB5868}"/>
          </ac:picMkLst>
        </pc:picChg>
      </pc:sldChg>
      <pc:sldChg chg="delSp modSp add replId modNotes">
        <pc:chgData name="EVELYNSM.YONG" userId="S::evelynsm.yong_gmail.com#ext#@risebcg.onmicrosoft.com::67a27a72-2420-4d38-b745-316a53f4b99a" providerId="AD" clId="Web-{B7065643-81CF-4785-A43E-F7F8964C8BB8}" dt="2022-01-10T09:24:39.053" v="2258"/>
        <pc:sldMkLst>
          <pc:docMk/>
          <pc:sldMk cId="4119151274" sldId="378"/>
        </pc:sldMkLst>
        <pc:spChg chg="mod">
          <ac:chgData name="EVELYNSM.YONG" userId="S::evelynsm.yong_gmail.com#ext#@risebcg.onmicrosoft.com::67a27a72-2420-4d38-b745-316a53f4b99a" providerId="AD" clId="Web-{B7065643-81CF-4785-A43E-F7F8964C8BB8}" dt="2022-01-10T09:21:09.892" v="2234" actId="20577"/>
          <ac:spMkLst>
            <pc:docMk/>
            <pc:sldMk cId="4119151274" sldId="378"/>
            <ac:spMk id="2" creationId="{D2AC414D-C8F9-4E07-9D41-5AAD3600E4CA}"/>
          </ac:spMkLst>
        </pc:spChg>
        <pc:grpChg chg="del">
          <ac:chgData name="EVELYNSM.YONG" userId="S::evelynsm.yong_gmail.com#ext#@risebcg.onmicrosoft.com::67a27a72-2420-4d38-b745-316a53f4b99a" providerId="AD" clId="Web-{B7065643-81CF-4785-A43E-F7F8964C8BB8}" dt="2022-01-10T09:20:44.126" v="2226"/>
          <ac:grpSpMkLst>
            <pc:docMk/>
            <pc:sldMk cId="4119151274" sldId="378"/>
            <ac:grpSpMk id="10" creationId="{258CA1F2-5352-4D56-9429-D795344C6B88}"/>
          </ac:grpSpMkLst>
        </pc:grpChg>
        <pc:picChg chg="del topLvl">
          <ac:chgData name="EVELYNSM.YONG" userId="S::evelynsm.yong_gmail.com#ext#@risebcg.onmicrosoft.com::67a27a72-2420-4d38-b745-316a53f4b99a" providerId="AD" clId="Web-{B7065643-81CF-4785-A43E-F7F8964C8BB8}" dt="2022-01-10T09:20:44.126" v="2226"/>
          <ac:picMkLst>
            <pc:docMk/>
            <pc:sldMk cId="4119151274" sldId="378"/>
            <ac:picMk id="7" creationId="{FF3B21C2-DAAF-4FBE-8407-DFE323F63AD3}"/>
          </ac:picMkLst>
        </pc:picChg>
        <pc:picChg chg="del topLvl">
          <ac:chgData name="EVELYNSM.YONG" userId="S::evelynsm.yong_gmail.com#ext#@risebcg.onmicrosoft.com::67a27a72-2420-4d38-b745-316a53f4b99a" providerId="AD" clId="Web-{B7065643-81CF-4785-A43E-F7F8964C8BB8}" dt="2022-01-10T09:20:45.048" v="2227"/>
          <ac:picMkLst>
            <pc:docMk/>
            <pc:sldMk cId="4119151274" sldId="378"/>
            <ac:picMk id="9" creationId="{B3CA0067-ED0D-4588-907B-F5FCB4DB5868}"/>
          </ac:picMkLst>
        </pc:picChg>
      </pc:sldChg>
    </pc:docChg>
  </pc:docChgLst>
  <pc:docChgLst>
    <pc:chgData name="WONGYONGLIN91" userId="S::wongyonglin91_gmail.com#ext#@risebcg.onmicrosoft.com::b2d94f93-e580-4f0d-9dda-2138509d25ae" providerId="AD" clId="Web-{D17CF90D-BC38-443C-AE77-CA428770DA20}"/>
    <pc:docChg chg="modSld">
      <pc:chgData name="WONGYONGLIN91" userId="S::wongyonglin91_gmail.com#ext#@risebcg.onmicrosoft.com::b2d94f93-e580-4f0d-9dda-2138509d25ae" providerId="AD" clId="Web-{D17CF90D-BC38-443C-AE77-CA428770DA20}" dt="2022-01-13T05:11:30.916" v="26"/>
      <pc:docMkLst>
        <pc:docMk/>
      </pc:docMkLst>
      <pc:sldChg chg="modNotes">
        <pc:chgData name="WONGYONGLIN91" userId="S::wongyonglin91_gmail.com#ext#@risebcg.onmicrosoft.com::b2d94f93-e580-4f0d-9dda-2138509d25ae" providerId="AD" clId="Web-{D17CF90D-BC38-443C-AE77-CA428770DA20}" dt="2022-01-13T05:11:30.916" v="26"/>
        <pc:sldMkLst>
          <pc:docMk/>
          <pc:sldMk cId="3391215681" sldId="339"/>
        </pc:sldMkLst>
      </pc:sldChg>
    </pc:docChg>
  </pc:docChgLst>
  <pc:docChgLst>
    <pc:chgData name="EVELYNSM.YONG" userId="S::evelynsm.yong_gmail.com#ext#@risebcg.onmicrosoft.com::67a27a72-2420-4d38-b745-316a53f4b99a" providerId="AD" clId="Web-{09A785CA-DAAB-46F8-8EBF-288BFAA28F4E}"/>
    <pc:docChg chg="modSld">
      <pc:chgData name="EVELYNSM.YONG" userId="S::evelynsm.yong_gmail.com#ext#@risebcg.onmicrosoft.com::67a27a72-2420-4d38-b745-316a53f4b99a" providerId="AD" clId="Web-{09A785CA-DAAB-46F8-8EBF-288BFAA28F4E}" dt="2022-01-10T14:50:54.344" v="454"/>
      <pc:docMkLst>
        <pc:docMk/>
      </pc:docMkLst>
      <pc:sldChg chg="modSp">
        <pc:chgData name="EVELYNSM.YONG" userId="S::evelynsm.yong_gmail.com#ext#@risebcg.onmicrosoft.com::67a27a72-2420-4d38-b745-316a53f4b99a" providerId="AD" clId="Web-{09A785CA-DAAB-46F8-8EBF-288BFAA28F4E}" dt="2022-01-10T14:41:47.472" v="393" actId="20577"/>
        <pc:sldMkLst>
          <pc:docMk/>
          <pc:sldMk cId="2256265757" sldId="315"/>
        </pc:sldMkLst>
        <pc:graphicFrameChg chg="modGraphic">
          <ac:chgData name="EVELYNSM.YONG" userId="S::evelynsm.yong_gmail.com#ext#@risebcg.onmicrosoft.com::67a27a72-2420-4d38-b745-316a53f4b99a" providerId="AD" clId="Web-{09A785CA-DAAB-46F8-8EBF-288BFAA28F4E}" dt="2022-01-10T14:41:47.472" v="393" actId="20577"/>
          <ac:graphicFrameMkLst>
            <pc:docMk/>
            <pc:sldMk cId="2256265757" sldId="315"/>
            <ac:graphicFrameMk id="38" creationId="{2DAB4BA8-57FC-486D-A609-66F3FDCD540C}"/>
          </ac:graphicFrameMkLst>
        </pc:graphicFrameChg>
      </pc:sldChg>
      <pc:sldChg chg="addSp delSp modSp">
        <pc:chgData name="EVELYNSM.YONG" userId="S::evelynsm.yong_gmail.com#ext#@risebcg.onmicrosoft.com::67a27a72-2420-4d38-b745-316a53f4b99a" providerId="AD" clId="Web-{09A785CA-DAAB-46F8-8EBF-288BFAA28F4E}" dt="2022-01-10T14:21:37.974" v="365" actId="1076"/>
        <pc:sldMkLst>
          <pc:docMk/>
          <pc:sldMk cId="2160415509" sldId="326"/>
        </pc:sldMkLst>
        <pc:spChg chg="mod">
          <ac:chgData name="EVELYNSM.YONG" userId="S::evelynsm.yong_gmail.com#ext#@risebcg.onmicrosoft.com::67a27a72-2420-4d38-b745-316a53f4b99a" providerId="AD" clId="Web-{09A785CA-DAAB-46F8-8EBF-288BFAA28F4E}" dt="2022-01-10T14:21:37.974" v="365" actId="1076"/>
          <ac:spMkLst>
            <pc:docMk/>
            <pc:sldMk cId="2160415509" sldId="326"/>
            <ac:spMk id="4" creationId="{215644EC-E1A2-4B5F-BA53-79EB189605EC}"/>
          </ac:spMkLst>
        </pc:spChg>
        <pc:picChg chg="add mod ord">
          <ac:chgData name="EVELYNSM.YONG" userId="S::evelynsm.yong_gmail.com#ext#@risebcg.onmicrosoft.com::67a27a72-2420-4d38-b745-316a53f4b99a" providerId="AD" clId="Web-{09A785CA-DAAB-46F8-8EBF-288BFAA28F4E}" dt="2022-01-10T14:20:36.910" v="356" actId="1076"/>
          <ac:picMkLst>
            <pc:docMk/>
            <pc:sldMk cId="2160415509" sldId="326"/>
            <ac:picMk id="5" creationId="{8751F432-9B55-4E93-BF75-FB00FEACF1B2}"/>
          </ac:picMkLst>
        </pc:picChg>
        <pc:picChg chg="del">
          <ac:chgData name="EVELYNSM.YONG" userId="S::evelynsm.yong_gmail.com#ext#@risebcg.onmicrosoft.com::67a27a72-2420-4d38-b745-316a53f4b99a" providerId="AD" clId="Web-{09A785CA-DAAB-46F8-8EBF-288BFAA28F4E}" dt="2022-01-10T14:20:25.691" v="352"/>
          <ac:picMkLst>
            <pc:docMk/>
            <pc:sldMk cId="2160415509" sldId="326"/>
            <ac:picMk id="6" creationId="{BFC712DB-8FC7-4ACB-AF6D-D3D38470A4A2}"/>
          </ac:picMkLst>
        </pc:picChg>
        <pc:picChg chg="add mod ord">
          <ac:chgData name="EVELYNSM.YONG" userId="S::evelynsm.yong_gmail.com#ext#@risebcg.onmicrosoft.com::67a27a72-2420-4d38-b745-316a53f4b99a" providerId="AD" clId="Web-{09A785CA-DAAB-46F8-8EBF-288BFAA28F4E}" dt="2022-01-10T14:21:05.333" v="363" actId="1076"/>
          <ac:picMkLst>
            <pc:docMk/>
            <pc:sldMk cId="2160415509" sldId="326"/>
            <ac:picMk id="8" creationId="{1F3B5E8D-69F3-429F-8C72-BA870189EF2F}"/>
          </ac:picMkLst>
        </pc:picChg>
        <pc:picChg chg="del">
          <ac:chgData name="EVELYNSM.YONG" userId="S::evelynsm.yong_gmail.com#ext#@risebcg.onmicrosoft.com::67a27a72-2420-4d38-b745-316a53f4b99a" providerId="AD" clId="Web-{09A785CA-DAAB-46F8-8EBF-288BFAA28F4E}" dt="2022-01-10T14:20:57.598" v="361"/>
          <ac:picMkLst>
            <pc:docMk/>
            <pc:sldMk cId="2160415509" sldId="326"/>
            <ac:picMk id="13" creationId="{D0632260-7B50-43ED-B59B-456B08533DBB}"/>
          </ac:picMkLst>
        </pc:picChg>
      </pc:sldChg>
      <pc:sldChg chg="modSp modNotes">
        <pc:chgData name="EVELYNSM.YONG" userId="S::evelynsm.yong_gmail.com#ext#@risebcg.onmicrosoft.com::67a27a72-2420-4d38-b745-316a53f4b99a" providerId="AD" clId="Web-{09A785CA-DAAB-46F8-8EBF-288BFAA28F4E}" dt="2022-01-10T14:50:54.344" v="454"/>
        <pc:sldMkLst>
          <pc:docMk/>
          <pc:sldMk cId="3391215681" sldId="339"/>
        </pc:sldMkLst>
        <pc:spChg chg="mod">
          <ac:chgData name="EVELYNSM.YONG" userId="S::evelynsm.yong_gmail.com#ext#@risebcg.onmicrosoft.com::67a27a72-2420-4d38-b745-316a53f4b99a" providerId="AD" clId="Web-{09A785CA-DAAB-46F8-8EBF-288BFAA28F4E}" dt="2022-01-10T14:25:29.433" v="369" actId="14100"/>
          <ac:spMkLst>
            <pc:docMk/>
            <pc:sldMk cId="3391215681" sldId="339"/>
            <ac:spMk id="47" creationId="{B72F6C48-B470-4163-9AC9-2982A10656DA}"/>
          </ac:spMkLst>
        </pc:spChg>
        <pc:grpChg chg="mod">
          <ac:chgData name="EVELYNSM.YONG" userId="S::evelynsm.yong_gmail.com#ext#@risebcg.onmicrosoft.com::67a27a72-2420-4d38-b745-316a53f4b99a" providerId="AD" clId="Web-{09A785CA-DAAB-46F8-8EBF-288BFAA28F4E}" dt="2022-01-10T14:25:25.386" v="368" actId="1076"/>
          <ac:grpSpMkLst>
            <pc:docMk/>
            <pc:sldMk cId="3391215681" sldId="339"/>
            <ac:grpSpMk id="70" creationId="{1C6C7C9E-B94C-40CE-A89F-A87214022882}"/>
          </ac:grpSpMkLst>
        </pc:grpChg>
      </pc:sldChg>
      <pc:sldChg chg="modNotes">
        <pc:chgData name="EVELYNSM.YONG" userId="S::evelynsm.yong_gmail.com#ext#@risebcg.onmicrosoft.com::67a27a72-2420-4d38-b745-316a53f4b99a" providerId="AD" clId="Web-{09A785CA-DAAB-46F8-8EBF-288BFAA28F4E}" dt="2022-01-10T14:44:16.179" v="401"/>
        <pc:sldMkLst>
          <pc:docMk/>
          <pc:sldMk cId="3531645893" sldId="360"/>
        </pc:sldMkLst>
      </pc:sldChg>
    </pc:docChg>
  </pc:docChgLst>
  <pc:docChgLst>
    <pc:chgData name="wei yuan" userId="S::pwy_92_hotmail.com#ext#@risebcg.onmicrosoft.com::ca38e7f8-9ace-4d94-b37a-86e65e91f2b0" providerId="AD" clId="Web-{E725992E-162C-40AB-8AAE-B624A47B0E36}"/>
    <pc:docChg chg="modSld">
      <pc:chgData name="wei yuan" userId="S::pwy_92_hotmail.com#ext#@risebcg.onmicrosoft.com::ca38e7f8-9ace-4d94-b37a-86e65e91f2b0" providerId="AD" clId="Web-{E725992E-162C-40AB-8AAE-B624A47B0E36}" dt="2022-01-10T10:16:03.092" v="71" actId="1076"/>
      <pc:docMkLst>
        <pc:docMk/>
      </pc:docMkLst>
      <pc:sldChg chg="addSp delSp modSp">
        <pc:chgData name="wei yuan" userId="S::pwy_92_hotmail.com#ext#@risebcg.onmicrosoft.com::ca38e7f8-9ace-4d94-b37a-86e65e91f2b0" providerId="AD" clId="Web-{E725992E-162C-40AB-8AAE-B624A47B0E36}" dt="2022-01-10T10:10:42.303" v="48" actId="1076"/>
        <pc:sldMkLst>
          <pc:docMk/>
          <pc:sldMk cId="2160415509" sldId="326"/>
        </pc:sldMkLst>
        <pc:spChg chg="mod">
          <ac:chgData name="wei yuan" userId="S::pwy_92_hotmail.com#ext#@risebcg.onmicrosoft.com::ca38e7f8-9ace-4d94-b37a-86e65e91f2b0" providerId="AD" clId="Web-{E725992E-162C-40AB-8AAE-B624A47B0E36}" dt="2022-01-10T09:59:05.286" v="8" actId="1076"/>
          <ac:spMkLst>
            <pc:docMk/>
            <pc:sldMk cId="2160415509" sldId="326"/>
            <ac:spMk id="3" creationId="{A06E2C6C-AA2D-4DBA-B448-457815C4CAD3}"/>
          </ac:spMkLst>
        </pc:spChg>
        <pc:spChg chg="mod">
          <ac:chgData name="wei yuan" userId="S::pwy_92_hotmail.com#ext#@risebcg.onmicrosoft.com::ca38e7f8-9ace-4d94-b37a-86e65e91f2b0" providerId="AD" clId="Web-{E725992E-162C-40AB-8AAE-B624A47B0E36}" dt="2022-01-10T10:10:31.709" v="47" actId="14100"/>
          <ac:spMkLst>
            <pc:docMk/>
            <pc:sldMk cId="2160415509" sldId="326"/>
            <ac:spMk id="4" creationId="{215644EC-E1A2-4B5F-BA53-79EB189605EC}"/>
          </ac:spMkLst>
        </pc:spChg>
        <pc:spChg chg="mod">
          <ac:chgData name="wei yuan" userId="S::pwy_92_hotmail.com#ext#@risebcg.onmicrosoft.com::ca38e7f8-9ace-4d94-b37a-86e65e91f2b0" providerId="AD" clId="Web-{E725992E-162C-40AB-8AAE-B624A47B0E36}" dt="2022-01-10T10:00:20.116" v="27" actId="1076"/>
          <ac:spMkLst>
            <pc:docMk/>
            <pc:sldMk cId="2160415509" sldId="326"/>
            <ac:spMk id="7" creationId="{EE72E06D-8EAE-4242-B1FE-DB5A60BCC68C}"/>
          </ac:spMkLst>
        </pc:spChg>
        <pc:spChg chg="mod">
          <ac:chgData name="wei yuan" userId="S::pwy_92_hotmail.com#ext#@risebcg.onmicrosoft.com::ca38e7f8-9ace-4d94-b37a-86e65e91f2b0" providerId="AD" clId="Web-{E725992E-162C-40AB-8AAE-B624A47B0E36}" dt="2022-01-10T09:59:15.802" v="10" actId="1076"/>
          <ac:spMkLst>
            <pc:docMk/>
            <pc:sldMk cId="2160415509" sldId="326"/>
            <ac:spMk id="10" creationId="{F403E5AA-CAF9-429E-AF8A-D6CAE94AE104}"/>
          </ac:spMkLst>
        </pc:spChg>
        <pc:spChg chg="mod">
          <ac:chgData name="wei yuan" userId="S::pwy_92_hotmail.com#ext#@risebcg.onmicrosoft.com::ca38e7f8-9ace-4d94-b37a-86e65e91f2b0" providerId="AD" clId="Web-{E725992E-162C-40AB-8AAE-B624A47B0E36}" dt="2022-01-10T09:59:42.631" v="20" actId="1076"/>
          <ac:spMkLst>
            <pc:docMk/>
            <pc:sldMk cId="2160415509" sldId="326"/>
            <ac:spMk id="11" creationId="{7A860165-0B15-49E4-A7ED-826D9540D919}"/>
          </ac:spMkLst>
        </pc:spChg>
        <pc:spChg chg="mod">
          <ac:chgData name="wei yuan" userId="S::pwy_92_hotmail.com#ext#@risebcg.onmicrosoft.com::ca38e7f8-9ace-4d94-b37a-86e65e91f2b0" providerId="AD" clId="Web-{E725992E-162C-40AB-8AAE-B624A47B0E36}" dt="2022-01-10T09:59:21.818" v="11" actId="1076"/>
          <ac:spMkLst>
            <pc:docMk/>
            <pc:sldMk cId="2160415509" sldId="326"/>
            <ac:spMk id="12" creationId="{E8C9A459-A11F-4DB3-BC61-E14A0DC903CB}"/>
          </ac:spMkLst>
        </pc:spChg>
        <pc:picChg chg="del">
          <ac:chgData name="wei yuan" userId="S::pwy_92_hotmail.com#ext#@risebcg.onmicrosoft.com::ca38e7f8-9ace-4d94-b37a-86e65e91f2b0" providerId="AD" clId="Web-{E725992E-162C-40AB-8AAE-B624A47B0E36}" dt="2022-01-10T09:58:43.098" v="1"/>
          <ac:picMkLst>
            <pc:docMk/>
            <pc:sldMk cId="2160415509" sldId="326"/>
            <ac:picMk id="5" creationId="{BA926763-DA3C-411B-BEF9-DCF545D5494A}"/>
          </ac:picMkLst>
        </pc:picChg>
        <pc:picChg chg="mod">
          <ac:chgData name="wei yuan" userId="S::pwy_92_hotmail.com#ext#@risebcg.onmicrosoft.com::ca38e7f8-9ace-4d94-b37a-86e65e91f2b0" providerId="AD" clId="Web-{E725992E-162C-40AB-8AAE-B624A47B0E36}" dt="2022-01-10T10:00:06.179" v="24" actId="1076"/>
          <ac:picMkLst>
            <pc:docMk/>
            <pc:sldMk cId="2160415509" sldId="326"/>
            <ac:picMk id="6" creationId="{BFC712DB-8FC7-4ACB-AF6D-D3D38470A4A2}"/>
          </ac:picMkLst>
        </pc:picChg>
        <pc:picChg chg="add del mod">
          <ac:chgData name="wei yuan" userId="S::pwy_92_hotmail.com#ext#@risebcg.onmicrosoft.com::ca38e7f8-9ace-4d94-b37a-86e65e91f2b0" providerId="AD" clId="Web-{E725992E-162C-40AB-8AAE-B624A47B0E36}" dt="2022-01-10T10:04:56.514" v="28"/>
          <ac:picMkLst>
            <pc:docMk/>
            <pc:sldMk cId="2160415509" sldId="326"/>
            <ac:picMk id="8" creationId="{66A5FEE8-D405-4B97-8D84-6E9C0C7CEEBB}"/>
          </ac:picMkLst>
        </pc:picChg>
        <pc:picChg chg="add del mod">
          <ac:chgData name="wei yuan" userId="S::pwy_92_hotmail.com#ext#@risebcg.onmicrosoft.com::ca38e7f8-9ace-4d94-b37a-86e65e91f2b0" providerId="AD" clId="Web-{E725992E-162C-40AB-8AAE-B624A47B0E36}" dt="2022-01-10T10:06:25.156" v="33"/>
          <ac:picMkLst>
            <pc:docMk/>
            <pc:sldMk cId="2160415509" sldId="326"/>
            <ac:picMk id="9" creationId="{5297CB80-A22E-4683-BA6F-C2393E774514}"/>
          </ac:picMkLst>
        </pc:picChg>
        <pc:picChg chg="add mod">
          <ac:chgData name="wei yuan" userId="S::pwy_92_hotmail.com#ext#@risebcg.onmicrosoft.com::ca38e7f8-9ace-4d94-b37a-86e65e91f2b0" providerId="AD" clId="Web-{E725992E-162C-40AB-8AAE-B624A47B0E36}" dt="2022-01-10T10:10:42.303" v="48" actId="1076"/>
          <ac:picMkLst>
            <pc:docMk/>
            <pc:sldMk cId="2160415509" sldId="326"/>
            <ac:picMk id="13" creationId="{D0632260-7B50-43ED-B59B-456B08533DBB}"/>
          </ac:picMkLst>
        </pc:picChg>
      </pc:sldChg>
      <pc:sldChg chg="addSp modSp modTransition addAnim modAnim">
        <pc:chgData name="wei yuan" userId="S::pwy_92_hotmail.com#ext#@risebcg.onmicrosoft.com::ca38e7f8-9ace-4d94-b37a-86e65e91f2b0" providerId="AD" clId="Web-{E725992E-162C-40AB-8AAE-B624A47B0E36}" dt="2022-01-10T10:16:03.092" v="71" actId="1076"/>
        <pc:sldMkLst>
          <pc:docMk/>
          <pc:sldMk cId="1894441827" sldId="358"/>
        </pc:sldMkLst>
        <pc:spChg chg="add mod">
          <ac:chgData name="wei yuan" userId="S::pwy_92_hotmail.com#ext#@risebcg.onmicrosoft.com::ca38e7f8-9ace-4d94-b37a-86e65e91f2b0" providerId="AD" clId="Web-{E725992E-162C-40AB-8AAE-B624A47B0E36}" dt="2022-01-10T10:16:03.092" v="71" actId="1076"/>
          <ac:spMkLst>
            <pc:docMk/>
            <pc:sldMk cId="1894441827" sldId="358"/>
            <ac:spMk id="4" creationId="{BDB31FE2-9758-4877-B34F-461A9AC9F934}"/>
          </ac:spMkLst>
        </pc:spChg>
      </pc:sldChg>
    </pc:docChg>
  </pc:docChgLst>
  <pc:docChgLst>
    <pc:chgData name="EVELYNSM.YONG" userId="S::evelynsm.yong_gmail.com#ext#@risebcg.onmicrosoft.com::67a27a72-2420-4d38-b745-316a53f4b99a" providerId="AD" clId="Web-{E369CB37-3068-47E4-AD90-1DEAD92C8B6F}"/>
    <pc:docChg chg="addSld delSld modSld sldOrd">
      <pc:chgData name="EVELYNSM.YONG" userId="S::evelynsm.yong_gmail.com#ext#@risebcg.onmicrosoft.com::67a27a72-2420-4d38-b745-316a53f4b99a" providerId="AD" clId="Web-{E369CB37-3068-47E4-AD90-1DEAD92C8B6F}" dt="2022-01-08T16:39:17.078" v="2651" actId="1076"/>
      <pc:docMkLst>
        <pc:docMk/>
      </pc:docMkLst>
      <pc:sldChg chg="addSp delSp modSp modNotes">
        <pc:chgData name="EVELYNSM.YONG" userId="S::evelynsm.yong_gmail.com#ext#@risebcg.onmicrosoft.com::67a27a72-2420-4d38-b745-316a53f4b99a" providerId="AD" clId="Web-{E369CB37-3068-47E4-AD90-1DEAD92C8B6F}" dt="2022-01-08T15:58:03.738" v="2302" actId="20577"/>
        <pc:sldMkLst>
          <pc:docMk/>
          <pc:sldMk cId="2256265757" sldId="315"/>
        </pc:sldMkLst>
        <pc:graphicFrameChg chg="add del mod modGraphic">
          <ac:chgData name="EVELYNSM.YONG" userId="S::evelynsm.yong_gmail.com#ext#@risebcg.onmicrosoft.com::67a27a72-2420-4d38-b745-316a53f4b99a" providerId="AD" clId="Web-{E369CB37-3068-47E4-AD90-1DEAD92C8B6F}" dt="2022-01-08T15:58:03.738" v="2302" actId="20577"/>
          <ac:graphicFrameMkLst>
            <pc:docMk/>
            <pc:sldMk cId="2256265757" sldId="315"/>
            <ac:graphicFrameMk id="18" creationId="{2289CFB1-4EE4-43EC-A8B5-4E5FC402B3C5}"/>
          </ac:graphicFrameMkLst>
        </pc:graphicFrameChg>
      </pc:sldChg>
      <pc:sldChg chg="addSp delSp modSp">
        <pc:chgData name="EVELYNSM.YONG" userId="S::evelynsm.yong_gmail.com#ext#@risebcg.onmicrosoft.com::67a27a72-2420-4d38-b745-316a53f4b99a" providerId="AD" clId="Web-{E369CB37-3068-47E4-AD90-1DEAD92C8B6F}" dt="2022-01-08T16:01:52.916" v="2310" actId="14100"/>
        <pc:sldMkLst>
          <pc:docMk/>
          <pc:sldMk cId="4084366951" sldId="318"/>
        </pc:sldMkLst>
        <pc:spChg chg="del mod">
          <ac:chgData name="EVELYNSM.YONG" userId="S::evelynsm.yong_gmail.com#ext#@risebcg.onmicrosoft.com::67a27a72-2420-4d38-b745-316a53f4b99a" providerId="AD" clId="Web-{E369CB37-3068-47E4-AD90-1DEAD92C8B6F}" dt="2022-01-08T11:57:02.168" v="48"/>
          <ac:spMkLst>
            <pc:docMk/>
            <pc:sldMk cId="4084366951" sldId="318"/>
            <ac:spMk id="2" creationId="{1CAEE4F4-60D4-46CA-A79F-1CD22235EEA0}"/>
          </ac:spMkLst>
        </pc:spChg>
        <pc:spChg chg="add mod">
          <ac:chgData name="EVELYNSM.YONG" userId="S::evelynsm.yong_gmail.com#ext#@risebcg.onmicrosoft.com::67a27a72-2420-4d38-b745-316a53f4b99a" providerId="AD" clId="Web-{E369CB37-3068-47E4-AD90-1DEAD92C8B6F}" dt="2022-01-08T11:56:59.558" v="47" actId="20577"/>
          <ac:spMkLst>
            <pc:docMk/>
            <pc:sldMk cId="4084366951" sldId="318"/>
            <ac:spMk id="4" creationId="{513CAA53-13D7-4313-8D45-14F4147EA5D0}"/>
          </ac:spMkLst>
        </pc:spChg>
        <pc:spChg chg="add del mod">
          <ac:chgData name="EVELYNSM.YONG" userId="S::evelynsm.yong_gmail.com#ext#@risebcg.onmicrosoft.com::67a27a72-2420-4d38-b745-316a53f4b99a" providerId="AD" clId="Web-{E369CB37-3068-47E4-AD90-1DEAD92C8B6F}" dt="2022-01-08T11:56:21.260" v="40"/>
          <ac:spMkLst>
            <pc:docMk/>
            <pc:sldMk cId="4084366951" sldId="318"/>
            <ac:spMk id="5" creationId="{195C82AC-3781-474A-8F77-6B2F0F0E9E03}"/>
          </ac:spMkLst>
        </pc:spChg>
        <pc:spChg chg="del mod">
          <ac:chgData name="EVELYNSM.YONG" userId="S::evelynsm.yong_gmail.com#ext#@risebcg.onmicrosoft.com::67a27a72-2420-4d38-b745-316a53f4b99a" providerId="AD" clId="Web-{E369CB37-3068-47E4-AD90-1DEAD92C8B6F}" dt="2022-01-08T12:21:19.858" v="191"/>
          <ac:spMkLst>
            <pc:docMk/>
            <pc:sldMk cId="4084366951" sldId="318"/>
            <ac:spMk id="7" creationId="{B3BF61C1-43C3-4800-B5DD-5D8A55C1B3E9}"/>
          </ac:spMkLst>
        </pc:spChg>
        <pc:spChg chg="del">
          <ac:chgData name="EVELYNSM.YONG" userId="S::evelynsm.yong_gmail.com#ext#@risebcg.onmicrosoft.com::67a27a72-2420-4d38-b745-316a53f4b99a" providerId="AD" clId="Web-{E369CB37-3068-47E4-AD90-1DEAD92C8B6F}" dt="2022-01-08T12:21:21.702" v="192"/>
          <ac:spMkLst>
            <pc:docMk/>
            <pc:sldMk cId="4084366951" sldId="318"/>
            <ac:spMk id="8" creationId="{B4102324-67C0-4946-A006-7D0AB358D531}"/>
          </ac:spMkLst>
        </pc:spChg>
        <pc:spChg chg="add del">
          <ac:chgData name="EVELYNSM.YONG" userId="S::evelynsm.yong_gmail.com#ext#@risebcg.onmicrosoft.com::67a27a72-2420-4d38-b745-316a53f4b99a" providerId="AD" clId="Web-{E369CB37-3068-47E4-AD90-1DEAD92C8B6F}" dt="2022-01-08T11:56:13.276" v="36"/>
          <ac:spMkLst>
            <pc:docMk/>
            <pc:sldMk cId="4084366951" sldId="318"/>
            <ac:spMk id="10" creationId="{C17085B1-9EA2-4B4B-8E23-8EB09F9C693F}"/>
          </ac:spMkLst>
        </pc:spChg>
        <pc:spChg chg="del mod">
          <ac:chgData name="EVELYNSM.YONG" userId="S::evelynsm.yong_gmail.com#ext#@risebcg.onmicrosoft.com::67a27a72-2420-4d38-b745-316a53f4b99a" providerId="AD" clId="Web-{E369CB37-3068-47E4-AD90-1DEAD92C8B6F}" dt="2022-01-08T12:10:06.030" v="138"/>
          <ac:spMkLst>
            <pc:docMk/>
            <pc:sldMk cId="4084366951" sldId="318"/>
            <ac:spMk id="19" creationId="{40F287F0-B118-4CB9-ACBF-1E5B0A5817A5}"/>
          </ac:spMkLst>
        </pc:spChg>
        <pc:spChg chg="del mod">
          <ac:chgData name="EVELYNSM.YONG" userId="S::evelynsm.yong_gmail.com#ext#@risebcg.onmicrosoft.com::67a27a72-2420-4d38-b745-316a53f4b99a" providerId="AD" clId="Web-{E369CB37-3068-47E4-AD90-1DEAD92C8B6F}" dt="2022-01-08T12:10:04.358" v="137"/>
          <ac:spMkLst>
            <pc:docMk/>
            <pc:sldMk cId="4084366951" sldId="318"/>
            <ac:spMk id="20" creationId="{FD3BCB8E-6B17-4F0A-A7A8-AA17BE71B8A2}"/>
          </ac:spMkLst>
        </pc:spChg>
        <pc:spChg chg="del mod">
          <ac:chgData name="EVELYNSM.YONG" userId="S::evelynsm.yong_gmail.com#ext#@risebcg.onmicrosoft.com::67a27a72-2420-4d38-b745-316a53f4b99a" providerId="AD" clId="Web-{E369CB37-3068-47E4-AD90-1DEAD92C8B6F}" dt="2022-01-08T12:10:03.045" v="136"/>
          <ac:spMkLst>
            <pc:docMk/>
            <pc:sldMk cId="4084366951" sldId="318"/>
            <ac:spMk id="21" creationId="{35D5CD39-ED1A-4202-9FEE-144C7FF14574}"/>
          </ac:spMkLst>
        </pc:spChg>
        <pc:spChg chg="add del mod">
          <ac:chgData name="EVELYNSM.YONG" userId="S::evelynsm.yong_gmail.com#ext#@risebcg.onmicrosoft.com::67a27a72-2420-4d38-b745-316a53f4b99a" providerId="AD" clId="Web-{E369CB37-3068-47E4-AD90-1DEAD92C8B6F}" dt="2022-01-08T11:57:05.965" v="49"/>
          <ac:spMkLst>
            <pc:docMk/>
            <pc:sldMk cId="4084366951" sldId="318"/>
            <ac:spMk id="25" creationId="{D8E2CB21-A832-458E-B0D8-463B2179D04D}"/>
          </ac:spMkLst>
        </pc:spChg>
        <pc:spChg chg="add mod">
          <ac:chgData name="EVELYNSM.YONG" userId="S::evelynsm.yong_gmail.com#ext#@risebcg.onmicrosoft.com::67a27a72-2420-4d38-b745-316a53f4b99a" providerId="AD" clId="Web-{E369CB37-3068-47E4-AD90-1DEAD92C8B6F}" dt="2022-01-08T14:10:48.455" v="753" actId="14100"/>
          <ac:spMkLst>
            <pc:docMk/>
            <pc:sldMk cId="4084366951" sldId="318"/>
            <ac:spMk id="27" creationId="{1085EEA4-0F74-4601-B0CF-FE2599EB9A10}"/>
          </ac:spMkLst>
        </pc:spChg>
        <pc:spChg chg="add mod">
          <ac:chgData name="EVELYNSM.YONG" userId="S::evelynsm.yong_gmail.com#ext#@risebcg.onmicrosoft.com::67a27a72-2420-4d38-b745-316a53f4b99a" providerId="AD" clId="Web-{E369CB37-3068-47E4-AD90-1DEAD92C8B6F}" dt="2022-01-08T12:10:08.280" v="139" actId="1076"/>
          <ac:spMkLst>
            <pc:docMk/>
            <pc:sldMk cId="4084366951" sldId="318"/>
            <ac:spMk id="28" creationId="{28FDC5A9-3EE3-4145-B1B8-3B46F9314E01}"/>
          </ac:spMkLst>
        </pc:spChg>
        <pc:spChg chg="add mod">
          <ac:chgData name="EVELYNSM.YONG" userId="S::evelynsm.yong_gmail.com#ext#@risebcg.onmicrosoft.com::67a27a72-2420-4d38-b745-316a53f4b99a" providerId="AD" clId="Web-{E369CB37-3068-47E4-AD90-1DEAD92C8B6F}" dt="2022-01-08T12:10:29.421" v="144" actId="1076"/>
          <ac:spMkLst>
            <pc:docMk/>
            <pc:sldMk cId="4084366951" sldId="318"/>
            <ac:spMk id="29" creationId="{A24DC5B5-6F7A-4616-BD21-B8AEE8EC67D9}"/>
          </ac:spMkLst>
        </pc:spChg>
        <pc:spChg chg="add mod">
          <ac:chgData name="EVELYNSM.YONG" userId="S::evelynsm.yong_gmail.com#ext#@risebcg.onmicrosoft.com::67a27a72-2420-4d38-b745-316a53f4b99a" providerId="AD" clId="Web-{E369CB37-3068-47E4-AD90-1DEAD92C8B6F}" dt="2022-01-08T12:01:59.581" v="88" actId="14100"/>
          <ac:spMkLst>
            <pc:docMk/>
            <pc:sldMk cId="4084366951" sldId="318"/>
            <ac:spMk id="30" creationId="{39B859B5-CE34-419F-BA1D-82EA5502A6AE}"/>
          </ac:spMkLst>
        </pc:spChg>
        <pc:spChg chg="add mod">
          <ac:chgData name="EVELYNSM.YONG" userId="S::evelynsm.yong_gmail.com#ext#@risebcg.onmicrosoft.com::67a27a72-2420-4d38-b745-316a53f4b99a" providerId="AD" clId="Web-{E369CB37-3068-47E4-AD90-1DEAD92C8B6F}" dt="2022-01-08T16:01:52.916" v="2310" actId="14100"/>
          <ac:spMkLst>
            <pc:docMk/>
            <pc:sldMk cId="4084366951" sldId="318"/>
            <ac:spMk id="32" creationId="{41E099E5-F68B-4939-9F7A-B9CC2E5F333A}"/>
          </ac:spMkLst>
        </pc:spChg>
        <pc:spChg chg="add mod">
          <ac:chgData name="EVELYNSM.YONG" userId="S::evelynsm.yong_gmail.com#ext#@risebcg.onmicrosoft.com::67a27a72-2420-4d38-b745-316a53f4b99a" providerId="AD" clId="Web-{E369CB37-3068-47E4-AD90-1DEAD92C8B6F}" dt="2022-01-08T16:01:35.634" v="2306" actId="1076"/>
          <ac:spMkLst>
            <pc:docMk/>
            <pc:sldMk cId="4084366951" sldId="318"/>
            <ac:spMk id="36" creationId="{F7D95DB6-AB55-4004-B0F3-E52A8FA9E4EF}"/>
          </ac:spMkLst>
        </pc:spChg>
        <pc:grpChg chg="add mod">
          <ac:chgData name="EVELYNSM.YONG" userId="S::evelynsm.yong_gmail.com#ext#@risebcg.onmicrosoft.com::67a27a72-2420-4d38-b745-316a53f4b99a" providerId="AD" clId="Web-{E369CB37-3068-47E4-AD90-1DEAD92C8B6F}" dt="2022-01-08T13:52:21.289" v="577" actId="1076"/>
          <ac:grpSpMkLst>
            <pc:docMk/>
            <pc:sldMk cId="4084366951" sldId="318"/>
            <ac:grpSpMk id="33" creationId="{1A60CE19-5118-4A2B-9381-1DE6CC5D1F64}"/>
          </ac:grpSpMkLst>
        </pc:grpChg>
        <pc:grpChg chg="add mod">
          <ac:chgData name="EVELYNSM.YONG" userId="S::evelynsm.yong_gmail.com#ext#@risebcg.onmicrosoft.com::67a27a72-2420-4d38-b745-316a53f4b99a" providerId="AD" clId="Web-{E369CB37-3068-47E4-AD90-1DEAD92C8B6F}" dt="2022-01-08T12:21:38.733" v="202" actId="1076"/>
          <ac:grpSpMkLst>
            <pc:docMk/>
            <pc:sldMk cId="4084366951" sldId="318"/>
            <ac:grpSpMk id="34" creationId="{05607143-7AC4-4585-8FF1-3A1245EE3DDE}"/>
          </ac:grpSpMkLst>
        </pc:grpChg>
        <pc:picChg chg="mod">
          <ac:chgData name="EVELYNSM.YONG" userId="S::evelynsm.yong_gmail.com#ext#@risebcg.onmicrosoft.com::67a27a72-2420-4d38-b745-316a53f4b99a" providerId="AD" clId="Web-{E369CB37-3068-47E4-AD90-1DEAD92C8B6F}" dt="2022-01-08T14:10:39.346" v="751" actId="1076"/>
          <ac:picMkLst>
            <pc:docMk/>
            <pc:sldMk cId="4084366951" sldId="318"/>
            <ac:picMk id="2" creationId="{A614BDB2-A87C-4D6E-B961-198BF7854FE2}"/>
          </ac:picMkLst>
        </pc:picChg>
        <pc:picChg chg="mod">
          <ac:chgData name="EVELYNSM.YONG" userId="S::evelynsm.yong_gmail.com#ext#@risebcg.onmicrosoft.com::67a27a72-2420-4d38-b745-316a53f4b99a" providerId="AD" clId="Web-{E369CB37-3068-47E4-AD90-1DEAD92C8B6F}" dt="2022-01-08T12:21:38.655" v="199" actId="1076"/>
          <ac:picMkLst>
            <pc:docMk/>
            <pc:sldMk cId="4084366951" sldId="318"/>
            <ac:picMk id="3" creationId="{4EA9D4D3-D6BE-4DD3-A185-A6287A9302E7}"/>
          </ac:picMkLst>
        </pc:picChg>
        <pc:picChg chg="mod">
          <ac:chgData name="EVELYNSM.YONG" userId="S::evelynsm.yong_gmail.com#ext#@risebcg.onmicrosoft.com::67a27a72-2420-4d38-b745-316a53f4b99a" providerId="AD" clId="Web-{E369CB37-3068-47E4-AD90-1DEAD92C8B6F}" dt="2022-01-08T11:57:30.840" v="54" actId="1076"/>
          <ac:picMkLst>
            <pc:docMk/>
            <pc:sldMk cId="4084366951" sldId="318"/>
            <ac:picMk id="9" creationId="{329F3741-BB5B-4CA9-80DC-60382768BE40}"/>
          </ac:picMkLst>
        </pc:picChg>
        <pc:picChg chg="mod">
          <ac:chgData name="EVELYNSM.YONG" userId="S::evelynsm.yong_gmail.com#ext#@risebcg.onmicrosoft.com::67a27a72-2420-4d38-b745-316a53f4b99a" providerId="AD" clId="Web-{E369CB37-3068-47E4-AD90-1DEAD92C8B6F}" dt="2022-01-08T12:21:38.687" v="200" actId="1076"/>
          <ac:picMkLst>
            <pc:docMk/>
            <pc:sldMk cId="4084366951" sldId="318"/>
            <ac:picMk id="11" creationId="{079CE0C2-D9FF-4DFE-967B-E9EFC7681473}"/>
          </ac:picMkLst>
        </pc:picChg>
        <pc:picChg chg="mod">
          <ac:chgData name="EVELYNSM.YONG" userId="S::evelynsm.yong_gmail.com#ext#@risebcg.onmicrosoft.com::67a27a72-2420-4d38-b745-316a53f4b99a" providerId="AD" clId="Web-{E369CB37-3068-47E4-AD90-1DEAD92C8B6F}" dt="2022-01-08T13:52:13.179" v="575"/>
          <ac:picMkLst>
            <pc:docMk/>
            <pc:sldMk cId="4084366951" sldId="318"/>
            <ac:picMk id="18" creationId="{01844450-929B-4C6F-8685-6FF3118F02E2}"/>
          </ac:picMkLst>
        </pc:picChg>
      </pc:sldChg>
      <pc:sldChg chg="addSp delSp modSp modNotes">
        <pc:chgData name="EVELYNSM.YONG" userId="S::evelynsm.yong_gmail.com#ext#@risebcg.onmicrosoft.com::67a27a72-2420-4d38-b745-316a53f4b99a" providerId="AD" clId="Web-{E369CB37-3068-47E4-AD90-1DEAD92C8B6F}" dt="2022-01-08T14:51:56.935" v="1315" actId="1076"/>
        <pc:sldMkLst>
          <pc:docMk/>
          <pc:sldMk cId="3666302761" sldId="324"/>
        </pc:sldMkLst>
        <pc:spChg chg="mod">
          <ac:chgData name="EVELYNSM.YONG" userId="S::evelynsm.yong_gmail.com#ext#@risebcg.onmicrosoft.com::67a27a72-2420-4d38-b745-316a53f4b99a" providerId="AD" clId="Web-{E369CB37-3068-47E4-AD90-1DEAD92C8B6F}" dt="2022-01-08T14:51:56.935" v="1315" actId="1076"/>
          <ac:spMkLst>
            <pc:docMk/>
            <pc:sldMk cId="3666302761" sldId="324"/>
            <ac:spMk id="5" creationId="{0A784A15-5CA4-4DDF-B588-22BE7AFBC9A8}"/>
          </ac:spMkLst>
        </pc:spChg>
        <pc:spChg chg="add mod">
          <ac:chgData name="EVELYNSM.YONG" userId="S::evelynsm.yong_gmail.com#ext#@risebcg.onmicrosoft.com::67a27a72-2420-4d38-b745-316a53f4b99a" providerId="AD" clId="Web-{E369CB37-3068-47E4-AD90-1DEAD92C8B6F}" dt="2022-01-08T14:49:39.463" v="1306" actId="1076"/>
          <ac:spMkLst>
            <pc:docMk/>
            <pc:sldMk cId="3666302761" sldId="324"/>
            <ac:spMk id="6" creationId="{2421FA36-AD2A-4740-8B15-775BD01D9062}"/>
          </ac:spMkLst>
        </pc:spChg>
        <pc:spChg chg="mod">
          <ac:chgData name="EVELYNSM.YONG" userId="S::evelynsm.yong_gmail.com#ext#@risebcg.onmicrosoft.com::67a27a72-2420-4d38-b745-316a53f4b99a" providerId="AD" clId="Web-{E369CB37-3068-47E4-AD90-1DEAD92C8B6F}" dt="2022-01-08T14:35:42.709" v="985" actId="20577"/>
          <ac:spMkLst>
            <pc:docMk/>
            <pc:sldMk cId="3666302761" sldId="324"/>
            <ac:spMk id="7" creationId="{5040411B-0A54-429E-94AB-0F4DA7C1917E}"/>
          </ac:spMkLst>
        </pc:spChg>
        <pc:spChg chg="del mod">
          <ac:chgData name="EVELYNSM.YONG" userId="S::evelynsm.yong_gmail.com#ext#@risebcg.onmicrosoft.com::67a27a72-2420-4d38-b745-316a53f4b99a" providerId="AD" clId="Web-{E369CB37-3068-47E4-AD90-1DEAD92C8B6F}" dt="2022-01-08T14:32:22.704" v="980"/>
          <ac:spMkLst>
            <pc:docMk/>
            <pc:sldMk cId="3666302761" sldId="324"/>
            <ac:spMk id="12" creationId="{844D08C5-3EE5-4BAC-9392-6CA8001CAD4E}"/>
          </ac:spMkLst>
        </pc:spChg>
        <pc:spChg chg="mod">
          <ac:chgData name="EVELYNSM.YONG" userId="S::evelynsm.yong_gmail.com#ext#@risebcg.onmicrosoft.com::67a27a72-2420-4d38-b745-316a53f4b99a" providerId="AD" clId="Web-{E369CB37-3068-47E4-AD90-1DEAD92C8B6F}" dt="2022-01-08T12:02:55.004" v="94"/>
          <ac:spMkLst>
            <pc:docMk/>
            <pc:sldMk cId="3666302761" sldId="324"/>
            <ac:spMk id="13" creationId="{003E35E4-DB87-4D35-8663-60FF12DD7B69}"/>
          </ac:spMkLst>
        </pc:spChg>
        <pc:spChg chg="mod">
          <ac:chgData name="EVELYNSM.YONG" userId="S::evelynsm.yong_gmail.com#ext#@risebcg.onmicrosoft.com::67a27a72-2420-4d38-b745-316a53f4b99a" providerId="AD" clId="Web-{E369CB37-3068-47E4-AD90-1DEAD92C8B6F}" dt="2022-01-08T12:03:27.286" v="99" actId="20577"/>
          <ac:spMkLst>
            <pc:docMk/>
            <pc:sldMk cId="3666302761" sldId="324"/>
            <ac:spMk id="14" creationId="{CD92118D-BCDA-4C90-B9D2-09972FA65EE3}"/>
          </ac:spMkLst>
        </pc:spChg>
        <pc:spChg chg="mod">
          <ac:chgData name="EVELYNSM.YONG" userId="S::evelynsm.yong_gmail.com#ext#@risebcg.onmicrosoft.com::67a27a72-2420-4d38-b745-316a53f4b99a" providerId="AD" clId="Web-{E369CB37-3068-47E4-AD90-1DEAD92C8B6F}" dt="2022-01-08T12:02:58.864" v="96"/>
          <ac:spMkLst>
            <pc:docMk/>
            <pc:sldMk cId="3666302761" sldId="324"/>
            <ac:spMk id="21" creationId="{46156451-ECB4-4520-895C-009D1F9E8343}"/>
          </ac:spMkLst>
        </pc:spChg>
        <pc:spChg chg="mod">
          <ac:chgData name="EVELYNSM.YONG" userId="S::evelynsm.yong_gmail.com#ext#@risebcg.onmicrosoft.com::67a27a72-2420-4d38-b745-316a53f4b99a" providerId="AD" clId="Web-{E369CB37-3068-47E4-AD90-1DEAD92C8B6F}" dt="2022-01-08T12:03:00.848" v="97"/>
          <ac:spMkLst>
            <pc:docMk/>
            <pc:sldMk cId="3666302761" sldId="324"/>
            <ac:spMk id="22" creationId="{C16AF6E1-B243-4B07-9F33-544B588862C6}"/>
          </ac:spMkLst>
        </pc:spChg>
        <pc:spChg chg="mod">
          <ac:chgData name="EVELYNSM.YONG" userId="S::evelynsm.yong_gmail.com#ext#@risebcg.onmicrosoft.com::67a27a72-2420-4d38-b745-316a53f4b99a" providerId="AD" clId="Web-{E369CB37-3068-47E4-AD90-1DEAD92C8B6F}" dt="2022-01-08T12:03:45.021" v="101" actId="20577"/>
          <ac:spMkLst>
            <pc:docMk/>
            <pc:sldMk cId="3666302761" sldId="324"/>
            <ac:spMk id="23" creationId="{437837FB-28C6-4D49-A0CB-199C96E6B187}"/>
          </ac:spMkLst>
        </pc:spChg>
        <pc:spChg chg="mod">
          <ac:chgData name="EVELYNSM.YONG" userId="S::evelynsm.yong_gmail.com#ext#@risebcg.onmicrosoft.com::67a27a72-2420-4d38-b745-316a53f4b99a" providerId="AD" clId="Web-{E369CB37-3068-47E4-AD90-1DEAD92C8B6F}" dt="2022-01-08T12:03:47.927" v="102" actId="20577"/>
          <ac:spMkLst>
            <pc:docMk/>
            <pc:sldMk cId="3666302761" sldId="324"/>
            <ac:spMk id="24" creationId="{3A5B42D3-2732-4D38-8D3A-233FB4F41BD0}"/>
          </ac:spMkLst>
        </pc:spChg>
        <pc:spChg chg="mod ord">
          <ac:chgData name="EVELYNSM.YONG" userId="S::evelynsm.yong_gmail.com#ext#@risebcg.onmicrosoft.com::67a27a72-2420-4d38-b745-316a53f4b99a" providerId="AD" clId="Web-{E369CB37-3068-47E4-AD90-1DEAD92C8B6F}" dt="2022-01-08T14:46:00.552" v="1235" actId="1076"/>
          <ac:spMkLst>
            <pc:docMk/>
            <pc:sldMk cId="3666302761" sldId="324"/>
            <ac:spMk id="25" creationId="{A72C66DB-3DFA-4DD0-BB16-94A4A31F5E94}"/>
          </ac:spMkLst>
        </pc:spChg>
        <pc:spChg chg="mod">
          <ac:chgData name="EVELYNSM.YONG" userId="S::evelynsm.yong_gmail.com#ext#@risebcg.onmicrosoft.com::67a27a72-2420-4d38-b745-316a53f4b99a" providerId="AD" clId="Web-{E369CB37-3068-47E4-AD90-1DEAD92C8B6F}" dt="2022-01-08T12:02:56.957" v="95"/>
          <ac:spMkLst>
            <pc:docMk/>
            <pc:sldMk cId="3666302761" sldId="324"/>
            <ac:spMk id="26" creationId="{22DD1760-D9EC-405F-9AAD-63EC690DC033}"/>
          </ac:spMkLst>
        </pc:spChg>
        <pc:spChg chg="mod">
          <ac:chgData name="EVELYNSM.YONG" userId="S::evelynsm.yong_gmail.com#ext#@risebcg.onmicrosoft.com::67a27a72-2420-4d38-b745-316a53f4b99a" providerId="AD" clId="Web-{E369CB37-3068-47E4-AD90-1DEAD92C8B6F}" dt="2022-01-08T12:03:39.302" v="100" actId="20577"/>
          <ac:spMkLst>
            <pc:docMk/>
            <pc:sldMk cId="3666302761" sldId="324"/>
            <ac:spMk id="27" creationId="{B2BF4484-08EE-483A-BA89-BC8EDC410538}"/>
          </ac:spMkLst>
        </pc:spChg>
        <pc:spChg chg="mod">
          <ac:chgData name="EVELYNSM.YONG" userId="S::evelynsm.yong_gmail.com#ext#@risebcg.onmicrosoft.com::67a27a72-2420-4d38-b745-316a53f4b99a" providerId="AD" clId="Web-{E369CB37-3068-47E4-AD90-1DEAD92C8B6F}" dt="2022-01-08T14:49:22.385" v="1303" actId="1076"/>
          <ac:spMkLst>
            <pc:docMk/>
            <pc:sldMk cId="3666302761" sldId="324"/>
            <ac:spMk id="28" creationId="{5BEF8CBE-6A99-4BE1-8789-ABAC27A176FF}"/>
          </ac:spMkLst>
        </pc:spChg>
        <pc:picChg chg="mod">
          <ac:chgData name="EVELYNSM.YONG" userId="S::evelynsm.yong_gmail.com#ext#@risebcg.onmicrosoft.com::67a27a72-2420-4d38-b745-316a53f4b99a" providerId="AD" clId="Web-{E369CB37-3068-47E4-AD90-1DEAD92C8B6F}" dt="2022-01-08T14:49:35.557" v="1304" actId="1076"/>
          <ac:picMkLst>
            <pc:docMk/>
            <pc:sldMk cId="3666302761" sldId="324"/>
            <ac:picMk id="15" creationId="{5D59DB1C-172C-47ED-95FD-1E3F001466CE}"/>
          </ac:picMkLst>
        </pc:picChg>
      </pc:sldChg>
      <pc:sldChg chg="addSp delSp modSp modNotes">
        <pc:chgData name="EVELYNSM.YONG" userId="S::evelynsm.yong_gmail.com#ext#@risebcg.onmicrosoft.com::67a27a72-2420-4d38-b745-316a53f4b99a" providerId="AD" clId="Web-{E369CB37-3068-47E4-AD90-1DEAD92C8B6F}" dt="2022-01-08T14:54:02.922" v="1327" actId="1076"/>
        <pc:sldMkLst>
          <pc:docMk/>
          <pc:sldMk cId="2316358039" sldId="325"/>
        </pc:sldMkLst>
        <pc:spChg chg="mod">
          <ac:chgData name="EVELYNSM.YONG" userId="S::evelynsm.yong_gmail.com#ext#@risebcg.onmicrosoft.com::67a27a72-2420-4d38-b745-316a53f4b99a" providerId="AD" clId="Web-{E369CB37-3068-47E4-AD90-1DEAD92C8B6F}" dt="2022-01-08T12:02:13.628" v="89"/>
          <ac:spMkLst>
            <pc:docMk/>
            <pc:sldMk cId="2316358039" sldId="325"/>
            <ac:spMk id="3" creationId="{424AF61A-30BE-4BE9-9F56-D2497C21C355}"/>
          </ac:spMkLst>
        </pc:spChg>
        <pc:spChg chg="mod">
          <ac:chgData name="EVELYNSM.YONG" userId="S::evelynsm.yong_gmail.com#ext#@risebcg.onmicrosoft.com::67a27a72-2420-4d38-b745-316a53f4b99a" providerId="AD" clId="Web-{E369CB37-3068-47E4-AD90-1DEAD92C8B6F}" dt="2022-01-08T14:15:55.572" v="855" actId="14100"/>
          <ac:spMkLst>
            <pc:docMk/>
            <pc:sldMk cId="2316358039" sldId="325"/>
            <ac:spMk id="5" creationId="{66362E8C-07A8-4B97-87C8-091A9FDB599A}"/>
          </ac:spMkLst>
        </pc:spChg>
        <pc:spChg chg="add mod">
          <ac:chgData name="EVELYNSM.YONG" userId="S::evelynsm.yong_gmail.com#ext#@risebcg.onmicrosoft.com::67a27a72-2420-4d38-b745-316a53f4b99a" providerId="AD" clId="Web-{E369CB37-3068-47E4-AD90-1DEAD92C8B6F}" dt="2022-01-08T14:53:49.781" v="1325" actId="14100"/>
          <ac:spMkLst>
            <pc:docMk/>
            <pc:sldMk cId="2316358039" sldId="325"/>
            <ac:spMk id="6" creationId="{208993E5-B009-40A8-BC89-286E139EA12D}"/>
          </ac:spMkLst>
        </pc:spChg>
        <pc:spChg chg="add mod">
          <ac:chgData name="EVELYNSM.YONG" userId="S::evelynsm.yong_gmail.com#ext#@risebcg.onmicrosoft.com::67a27a72-2420-4d38-b745-316a53f4b99a" providerId="AD" clId="Web-{E369CB37-3068-47E4-AD90-1DEAD92C8B6F}" dt="2022-01-08T14:54:02.922" v="1327" actId="1076"/>
          <ac:spMkLst>
            <pc:docMk/>
            <pc:sldMk cId="2316358039" sldId="325"/>
            <ac:spMk id="7" creationId="{94FE5CC3-34DB-4563-9D82-37FBEA4166BF}"/>
          </ac:spMkLst>
        </pc:spChg>
        <pc:spChg chg="del mod">
          <ac:chgData name="EVELYNSM.YONG" userId="S::evelynsm.yong_gmail.com#ext#@risebcg.onmicrosoft.com::67a27a72-2420-4d38-b745-316a53f4b99a" providerId="AD" clId="Web-{E369CB37-3068-47E4-AD90-1DEAD92C8B6F}" dt="2022-01-08T14:53:31.375" v="1321"/>
          <ac:spMkLst>
            <pc:docMk/>
            <pc:sldMk cId="2316358039" sldId="325"/>
            <ac:spMk id="9" creationId="{CE26EE87-2792-4EC3-8D5C-A7F50F434726}"/>
          </ac:spMkLst>
        </pc:spChg>
        <pc:picChg chg="mod modCrop">
          <ac:chgData name="EVELYNSM.YONG" userId="S::evelynsm.yong_gmail.com#ext#@risebcg.onmicrosoft.com::67a27a72-2420-4d38-b745-316a53f4b99a" providerId="AD" clId="Web-{E369CB37-3068-47E4-AD90-1DEAD92C8B6F}" dt="2022-01-08T14:53:39.219" v="1323" actId="14100"/>
          <ac:picMkLst>
            <pc:docMk/>
            <pc:sldMk cId="2316358039" sldId="325"/>
            <ac:picMk id="2" creationId="{69CF128B-0B09-4BF1-B2CA-1BA877B1F78B}"/>
          </ac:picMkLst>
        </pc:picChg>
      </pc:sldChg>
      <pc:sldChg chg="addSp delSp modSp">
        <pc:chgData name="EVELYNSM.YONG" userId="S::evelynsm.yong_gmail.com#ext#@risebcg.onmicrosoft.com::67a27a72-2420-4d38-b745-316a53f4b99a" providerId="AD" clId="Web-{E369CB37-3068-47E4-AD90-1DEAD92C8B6F}" dt="2022-01-08T14:59:25.367" v="1331" actId="20577"/>
        <pc:sldMkLst>
          <pc:docMk/>
          <pc:sldMk cId="2160415509" sldId="326"/>
        </pc:sldMkLst>
        <pc:spChg chg="mod">
          <ac:chgData name="EVELYNSM.YONG" userId="S::evelynsm.yong_gmail.com#ext#@risebcg.onmicrosoft.com::67a27a72-2420-4d38-b745-316a53f4b99a" providerId="AD" clId="Web-{E369CB37-3068-47E4-AD90-1DEAD92C8B6F}" dt="2022-01-08T14:41:25.623" v="1137" actId="20577"/>
          <ac:spMkLst>
            <pc:docMk/>
            <pc:sldMk cId="2160415509" sldId="326"/>
            <ac:spMk id="2" creationId="{ED14AA63-35D8-4136-8B2F-DE1837A583A2}"/>
          </ac:spMkLst>
        </pc:spChg>
        <pc:spChg chg="del">
          <ac:chgData name="EVELYNSM.YONG" userId="S::evelynsm.yong_gmail.com#ext#@risebcg.onmicrosoft.com::67a27a72-2420-4d38-b745-316a53f4b99a" providerId="AD" clId="Web-{E369CB37-3068-47E4-AD90-1DEAD92C8B6F}" dt="2022-01-08T14:39:42.793" v="1105"/>
          <ac:spMkLst>
            <pc:docMk/>
            <pc:sldMk cId="2160415509" sldId="326"/>
            <ac:spMk id="3" creationId="{2A938E9D-39F3-463F-BEAD-B91F6168A34D}"/>
          </ac:spMkLst>
        </pc:spChg>
        <pc:spChg chg="mod">
          <ac:chgData name="EVELYNSM.YONG" userId="S::evelynsm.yong_gmail.com#ext#@risebcg.onmicrosoft.com::67a27a72-2420-4d38-b745-316a53f4b99a" providerId="AD" clId="Web-{E369CB37-3068-47E4-AD90-1DEAD92C8B6F}" dt="2022-01-08T14:59:25.367" v="1331" actId="20577"/>
          <ac:spMkLst>
            <pc:docMk/>
            <pc:sldMk cId="2160415509" sldId="326"/>
            <ac:spMk id="4" creationId="{215644EC-E1A2-4B5F-BA53-79EB189605EC}"/>
          </ac:spMkLst>
        </pc:spChg>
        <pc:spChg chg="add mod">
          <ac:chgData name="EVELYNSM.YONG" userId="S::evelynsm.yong_gmail.com#ext#@risebcg.onmicrosoft.com::67a27a72-2420-4d38-b745-316a53f4b99a" providerId="AD" clId="Web-{E369CB37-3068-47E4-AD90-1DEAD92C8B6F}" dt="2022-01-08T14:41:07.920" v="1129" actId="14100"/>
          <ac:spMkLst>
            <pc:docMk/>
            <pc:sldMk cId="2160415509" sldId="326"/>
            <ac:spMk id="7" creationId="{EE72E06D-8EAE-4242-B1FE-DB5A60BCC68C}"/>
          </ac:spMkLst>
        </pc:spChg>
        <pc:spChg chg="add del">
          <ac:chgData name="EVELYNSM.YONG" userId="S::evelynsm.yong_gmail.com#ext#@risebcg.onmicrosoft.com::67a27a72-2420-4d38-b745-316a53f4b99a" providerId="AD" clId="Web-{E369CB37-3068-47E4-AD90-1DEAD92C8B6F}" dt="2022-01-08T14:43:27.736" v="1203"/>
          <ac:spMkLst>
            <pc:docMk/>
            <pc:sldMk cId="2160415509" sldId="326"/>
            <ac:spMk id="9" creationId="{D8A1EB4B-7628-48A8-9C65-8800363A8379}"/>
          </ac:spMkLst>
        </pc:spChg>
        <pc:spChg chg="add mod">
          <ac:chgData name="EVELYNSM.YONG" userId="S::evelynsm.yong_gmail.com#ext#@risebcg.onmicrosoft.com::67a27a72-2420-4d38-b745-316a53f4b99a" providerId="AD" clId="Web-{E369CB37-3068-47E4-AD90-1DEAD92C8B6F}" dt="2022-01-08T14:43:50.392" v="1207" actId="1076"/>
          <ac:spMkLst>
            <pc:docMk/>
            <pc:sldMk cId="2160415509" sldId="326"/>
            <ac:spMk id="11" creationId="{7A860165-0B15-49E4-A7ED-826D9540D919}"/>
          </ac:spMkLst>
        </pc:spChg>
        <pc:spChg chg="del">
          <ac:chgData name="EVELYNSM.YONG" userId="S::evelynsm.yong_gmail.com#ext#@risebcg.onmicrosoft.com::67a27a72-2420-4d38-b745-316a53f4b99a" providerId="AD" clId="Web-{E369CB37-3068-47E4-AD90-1DEAD92C8B6F}" dt="2022-01-08T14:16:19.869" v="858"/>
          <ac:spMkLst>
            <pc:docMk/>
            <pc:sldMk cId="2160415509" sldId="326"/>
            <ac:spMk id="15" creationId="{AAF3EE67-387A-430E-A8DA-4FF50FD506BC}"/>
          </ac:spMkLst>
        </pc:spChg>
        <pc:picChg chg="mod">
          <ac:chgData name="EVELYNSM.YONG" userId="S::evelynsm.yong_gmail.com#ext#@risebcg.onmicrosoft.com::67a27a72-2420-4d38-b745-316a53f4b99a" providerId="AD" clId="Web-{E369CB37-3068-47E4-AD90-1DEAD92C8B6F}" dt="2022-01-08T14:16:34.495" v="860"/>
          <ac:picMkLst>
            <pc:docMk/>
            <pc:sldMk cId="2160415509" sldId="326"/>
            <ac:picMk id="5" creationId="{8D9C3E5E-0B98-4B88-BFAE-486A9BD232FA}"/>
          </ac:picMkLst>
        </pc:picChg>
        <pc:picChg chg="mod">
          <ac:chgData name="EVELYNSM.YONG" userId="S::evelynsm.yong_gmail.com#ext#@risebcg.onmicrosoft.com::67a27a72-2420-4d38-b745-316a53f4b99a" providerId="AD" clId="Web-{E369CB37-3068-47E4-AD90-1DEAD92C8B6F}" dt="2022-01-08T14:55:20.893" v="1329" actId="14100"/>
          <ac:picMkLst>
            <pc:docMk/>
            <pc:sldMk cId="2160415509" sldId="326"/>
            <ac:picMk id="6" creationId="{BFC712DB-8FC7-4ACB-AF6D-D3D38470A4A2}"/>
          </ac:picMkLst>
        </pc:picChg>
        <pc:picChg chg="add del">
          <ac:chgData name="EVELYNSM.YONG" userId="S::evelynsm.yong_gmail.com#ext#@risebcg.onmicrosoft.com::67a27a72-2420-4d38-b745-316a53f4b99a" providerId="AD" clId="Web-{E369CB37-3068-47E4-AD90-1DEAD92C8B6F}" dt="2022-01-08T14:43:27.736" v="1204"/>
          <ac:picMkLst>
            <pc:docMk/>
            <pc:sldMk cId="2160415509" sldId="326"/>
            <ac:picMk id="8" creationId="{8EAC5815-EFDC-4BD8-8A2C-464345035089}"/>
          </ac:picMkLst>
        </pc:picChg>
      </pc:sldChg>
      <pc:sldChg chg="modSp">
        <pc:chgData name="EVELYNSM.YONG" userId="S::evelynsm.yong_gmail.com#ext#@risebcg.onmicrosoft.com::67a27a72-2420-4d38-b745-316a53f4b99a" providerId="AD" clId="Web-{E369CB37-3068-47E4-AD90-1DEAD92C8B6F}" dt="2022-01-08T16:32:10.989" v="2640" actId="14100"/>
        <pc:sldMkLst>
          <pc:docMk/>
          <pc:sldMk cId="416007632" sldId="327"/>
        </pc:sldMkLst>
        <pc:spChg chg="mod">
          <ac:chgData name="EVELYNSM.YONG" userId="S::evelynsm.yong_gmail.com#ext#@risebcg.onmicrosoft.com::67a27a72-2420-4d38-b745-316a53f4b99a" providerId="AD" clId="Web-{E369CB37-3068-47E4-AD90-1DEAD92C8B6F}" dt="2022-01-08T16:32:10.989" v="2640" actId="14100"/>
          <ac:spMkLst>
            <pc:docMk/>
            <pc:sldMk cId="416007632" sldId="327"/>
            <ac:spMk id="37" creationId="{1AA86EF9-D1F2-488E-902B-9C25FAEFDD52}"/>
          </ac:spMkLst>
        </pc:spChg>
      </pc:sldChg>
      <pc:sldChg chg="addSp delSp modSp">
        <pc:chgData name="EVELYNSM.YONG" userId="S::evelynsm.yong_gmail.com#ext#@risebcg.onmicrosoft.com::67a27a72-2420-4d38-b745-316a53f4b99a" providerId="AD" clId="Web-{E369CB37-3068-47E4-AD90-1DEAD92C8B6F}" dt="2022-01-08T16:23:17.852" v="2547" actId="14100"/>
        <pc:sldMkLst>
          <pc:docMk/>
          <pc:sldMk cId="1249418479" sldId="334"/>
        </pc:sldMkLst>
        <pc:spChg chg="mod">
          <ac:chgData name="EVELYNSM.YONG" userId="S::evelynsm.yong_gmail.com#ext#@risebcg.onmicrosoft.com::67a27a72-2420-4d38-b745-316a53f4b99a" providerId="AD" clId="Web-{E369CB37-3068-47E4-AD90-1DEAD92C8B6F}" dt="2022-01-08T12:22:59.392" v="226" actId="20577"/>
          <ac:spMkLst>
            <pc:docMk/>
            <pc:sldMk cId="1249418479" sldId="334"/>
            <ac:spMk id="2" creationId="{1CAEE4F4-60D4-46CA-A79F-1CD22235EEA0}"/>
          </ac:spMkLst>
        </pc:spChg>
        <pc:spChg chg="mod">
          <ac:chgData name="EVELYNSM.YONG" userId="S::evelynsm.yong_gmail.com#ext#@risebcg.onmicrosoft.com::67a27a72-2420-4d38-b745-316a53f4b99a" providerId="AD" clId="Web-{E369CB37-3068-47E4-AD90-1DEAD92C8B6F}" dt="2022-01-08T16:23:05.977" v="2544" actId="1076"/>
          <ac:spMkLst>
            <pc:docMk/>
            <pc:sldMk cId="1249418479" sldId="334"/>
            <ac:spMk id="4" creationId="{E46E2F92-A159-4912-84AA-DB46BFE3D9EB}"/>
          </ac:spMkLst>
        </pc:spChg>
        <pc:spChg chg="del mod">
          <ac:chgData name="EVELYNSM.YONG" userId="S::evelynsm.yong_gmail.com#ext#@risebcg.onmicrosoft.com::67a27a72-2420-4d38-b745-316a53f4b99a" providerId="AD" clId="Web-{E369CB37-3068-47E4-AD90-1DEAD92C8B6F}" dt="2022-01-08T13:45:56.967" v="432"/>
          <ac:spMkLst>
            <pc:docMk/>
            <pc:sldMk cId="1249418479" sldId="334"/>
            <ac:spMk id="11" creationId="{662CF00E-7074-47A1-AC23-D8720DE006B4}"/>
          </ac:spMkLst>
        </pc:spChg>
        <pc:spChg chg="add mod">
          <ac:chgData name="EVELYNSM.YONG" userId="S::evelynsm.yong_gmail.com#ext#@risebcg.onmicrosoft.com::67a27a72-2420-4d38-b745-316a53f4b99a" providerId="AD" clId="Web-{E369CB37-3068-47E4-AD90-1DEAD92C8B6F}" dt="2022-01-08T16:23:02.508" v="2543" actId="14100"/>
          <ac:spMkLst>
            <pc:docMk/>
            <pc:sldMk cId="1249418479" sldId="334"/>
            <ac:spMk id="13" creationId="{FBC020E8-35CC-4608-825A-F2C3D7F17A69}"/>
          </ac:spMkLst>
        </pc:spChg>
        <pc:spChg chg="add mod ord">
          <ac:chgData name="EVELYNSM.YONG" userId="S::evelynsm.yong_gmail.com#ext#@risebcg.onmicrosoft.com::67a27a72-2420-4d38-b745-316a53f4b99a" providerId="AD" clId="Web-{E369CB37-3068-47E4-AD90-1DEAD92C8B6F}" dt="2022-01-08T16:18:16.548" v="2511"/>
          <ac:spMkLst>
            <pc:docMk/>
            <pc:sldMk cId="1249418479" sldId="334"/>
            <ac:spMk id="14" creationId="{DE96116D-A890-4EBF-BAFB-3F4B23F0096C}"/>
          </ac:spMkLst>
        </pc:spChg>
        <pc:spChg chg="add mod">
          <ac:chgData name="EVELYNSM.YONG" userId="S::evelynsm.yong_gmail.com#ext#@risebcg.onmicrosoft.com::67a27a72-2420-4d38-b745-316a53f4b99a" providerId="AD" clId="Web-{E369CB37-3068-47E4-AD90-1DEAD92C8B6F}" dt="2022-01-08T16:05:13.514" v="2352" actId="14100"/>
          <ac:spMkLst>
            <pc:docMk/>
            <pc:sldMk cId="1249418479" sldId="334"/>
            <ac:spMk id="19" creationId="{ED181DE7-5237-45A4-9F61-2873C0724F7B}"/>
          </ac:spMkLst>
        </pc:spChg>
        <pc:picChg chg="add del mod">
          <ac:chgData name="EVELYNSM.YONG" userId="S::evelynsm.yong_gmail.com#ext#@risebcg.onmicrosoft.com::67a27a72-2420-4d38-b745-316a53f4b99a" providerId="AD" clId="Web-{E369CB37-3068-47E4-AD90-1DEAD92C8B6F}" dt="2022-01-08T16:14:21.324" v="2483"/>
          <ac:picMkLst>
            <pc:docMk/>
            <pc:sldMk cId="1249418479" sldId="334"/>
            <ac:picMk id="3" creationId="{B278469D-20E4-4736-BDFE-B98D25197628}"/>
          </ac:picMkLst>
        </pc:picChg>
        <pc:picChg chg="add mod ord">
          <ac:chgData name="EVELYNSM.YONG" userId="S::evelynsm.yong_gmail.com#ext#@risebcg.onmicrosoft.com::67a27a72-2420-4d38-b745-316a53f4b99a" providerId="AD" clId="Web-{E369CB37-3068-47E4-AD90-1DEAD92C8B6F}" dt="2022-01-08T16:22:52.429" v="2542"/>
          <ac:picMkLst>
            <pc:docMk/>
            <pc:sldMk cId="1249418479" sldId="334"/>
            <ac:picMk id="3" creationId="{BB0FEA3F-D819-4B77-A827-0CADCE750344}"/>
          </ac:picMkLst>
        </pc:picChg>
        <pc:picChg chg="add del mod">
          <ac:chgData name="EVELYNSM.YONG" userId="S::evelynsm.yong_gmail.com#ext#@risebcg.onmicrosoft.com::67a27a72-2420-4d38-b745-316a53f4b99a" providerId="AD" clId="Web-{E369CB37-3068-47E4-AD90-1DEAD92C8B6F}" dt="2022-01-08T13:53:01.196" v="578"/>
          <ac:picMkLst>
            <pc:docMk/>
            <pc:sldMk cId="1249418479" sldId="334"/>
            <ac:picMk id="9" creationId="{09C03CC9-3D6E-45D8-905A-C71744F36B23}"/>
          </ac:picMkLst>
        </pc:picChg>
        <pc:picChg chg="add mod ord">
          <ac:chgData name="EVELYNSM.YONG" userId="S::evelynsm.yong_gmail.com#ext#@risebcg.onmicrosoft.com::67a27a72-2420-4d38-b745-316a53f4b99a" providerId="AD" clId="Web-{E369CB37-3068-47E4-AD90-1DEAD92C8B6F}" dt="2022-01-08T16:22:46.507" v="2541" actId="14100"/>
          <ac:picMkLst>
            <pc:docMk/>
            <pc:sldMk cId="1249418479" sldId="334"/>
            <ac:picMk id="9" creationId="{4808EF87-719E-4DC9-AB3F-F94B7F635A80}"/>
          </ac:picMkLst>
        </pc:picChg>
        <pc:picChg chg="add del mod ord">
          <ac:chgData name="EVELYNSM.YONG" userId="S::evelynsm.yong_gmail.com#ext#@risebcg.onmicrosoft.com::67a27a72-2420-4d38-b745-316a53f4b99a" providerId="AD" clId="Web-{E369CB37-3068-47E4-AD90-1DEAD92C8B6F}" dt="2022-01-08T14:18:53.232" v="890"/>
          <ac:picMkLst>
            <pc:docMk/>
            <pc:sldMk cId="1249418479" sldId="334"/>
            <ac:picMk id="10" creationId="{2FBA1C46-B222-4317-9257-B60D86080B83}"/>
          </ac:picMkLst>
        </pc:picChg>
        <pc:picChg chg="add del mod ord modCrop">
          <ac:chgData name="EVELYNSM.YONG" userId="S::evelynsm.yong_gmail.com#ext#@risebcg.onmicrosoft.com::67a27a72-2420-4d38-b745-316a53f4b99a" providerId="AD" clId="Web-{E369CB37-3068-47E4-AD90-1DEAD92C8B6F}" dt="2022-01-08T16:18:07.595" v="2509"/>
          <ac:picMkLst>
            <pc:docMk/>
            <pc:sldMk cId="1249418479" sldId="334"/>
            <ac:picMk id="18" creationId="{F58E345A-8639-400C-A429-D1DBBE0490BA}"/>
          </ac:picMkLst>
        </pc:picChg>
        <pc:picChg chg="add del mod ord">
          <ac:chgData name="EVELYNSM.YONG" userId="S::evelynsm.yong_gmail.com#ext#@risebcg.onmicrosoft.com::67a27a72-2420-4d38-b745-316a53f4b99a" providerId="AD" clId="Web-{E369CB37-3068-47E4-AD90-1DEAD92C8B6F}" dt="2022-01-08T16:21:00.161" v="2518"/>
          <ac:picMkLst>
            <pc:docMk/>
            <pc:sldMk cId="1249418479" sldId="334"/>
            <ac:picMk id="20" creationId="{1CC4F72F-73CC-4B65-8E6F-143B225F52E6}"/>
          </ac:picMkLst>
        </pc:picChg>
        <pc:picChg chg="add del mod">
          <ac:chgData name="EVELYNSM.YONG" userId="S::evelynsm.yong_gmail.com#ext#@risebcg.onmicrosoft.com::67a27a72-2420-4d38-b745-316a53f4b99a" providerId="AD" clId="Web-{E369CB37-3068-47E4-AD90-1DEAD92C8B6F}" dt="2022-01-08T16:19:01.018" v="2515"/>
          <ac:picMkLst>
            <pc:docMk/>
            <pc:sldMk cId="1249418479" sldId="334"/>
            <ac:picMk id="21" creationId="{043D9F2E-E3D3-4AFE-B0B4-4932315FF355}"/>
          </ac:picMkLst>
        </pc:picChg>
        <pc:cxnChg chg="add mod">
          <ac:chgData name="EVELYNSM.YONG" userId="S::evelynsm.yong_gmail.com#ext#@risebcg.onmicrosoft.com::67a27a72-2420-4d38-b745-316a53f4b99a" providerId="AD" clId="Web-{E369CB37-3068-47E4-AD90-1DEAD92C8B6F}" dt="2022-01-08T16:23:17.852" v="2547" actId="14100"/>
          <ac:cxnSpMkLst>
            <pc:docMk/>
            <pc:sldMk cId="1249418479" sldId="334"/>
            <ac:cxnSpMk id="15" creationId="{2522F95F-F659-4F93-A324-7ADD484F38A6}"/>
          </ac:cxnSpMkLst>
        </pc:cxnChg>
        <pc:cxnChg chg="add del mod">
          <ac:chgData name="EVELYNSM.YONG" userId="S::evelynsm.yong_gmail.com#ext#@risebcg.onmicrosoft.com::67a27a72-2420-4d38-b745-316a53f4b99a" providerId="AD" clId="Web-{E369CB37-3068-47E4-AD90-1DEAD92C8B6F}" dt="2022-01-08T13:58:52.345" v="637"/>
          <ac:cxnSpMkLst>
            <pc:docMk/>
            <pc:sldMk cId="1249418479" sldId="334"/>
            <ac:cxnSpMk id="16" creationId="{889435DC-0012-4D64-AF5F-7313A0EC512A}"/>
          </ac:cxnSpMkLst>
        </pc:cxnChg>
        <pc:cxnChg chg="add mod">
          <ac:chgData name="EVELYNSM.YONG" userId="S::evelynsm.yong_gmail.com#ext#@risebcg.onmicrosoft.com::67a27a72-2420-4d38-b745-316a53f4b99a" providerId="AD" clId="Web-{E369CB37-3068-47E4-AD90-1DEAD92C8B6F}" dt="2022-01-08T16:23:13.227" v="2546" actId="14100"/>
          <ac:cxnSpMkLst>
            <pc:docMk/>
            <pc:sldMk cId="1249418479" sldId="334"/>
            <ac:cxnSpMk id="17" creationId="{D1E24D10-25A9-42F6-B4A4-852E1CB8541C}"/>
          </ac:cxnSpMkLst>
        </pc:cxnChg>
      </pc:sldChg>
      <pc:sldChg chg="delSp modSp">
        <pc:chgData name="EVELYNSM.YONG" userId="S::evelynsm.yong_gmail.com#ext#@risebcg.onmicrosoft.com::67a27a72-2420-4d38-b745-316a53f4b99a" providerId="AD" clId="Web-{E369CB37-3068-47E4-AD90-1DEAD92C8B6F}" dt="2022-01-08T16:09:51.942" v="2464" actId="14100"/>
        <pc:sldMkLst>
          <pc:docMk/>
          <pc:sldMk cId="3391215681" sldId="339"/>
        </pc:sldMkLst>
        <pc:spChg chg="mod">
          <ac:chgData name="EVELYNSM.YONG" userId="S::evelynsm.yong_gmail.com#ext#@risebcg.onmicrosoft.com::67a27a72-2420-4d38-b745-316a53f4b99a" providerId="AD" clId="Web-{E369CB37-3068-47E4-AD90-1DEAD92C8B6F}" dt="2022-01-08T16:09:51.942" v="2464"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E369CB37-3068-47E4-AD90-1DEAD92C8B6F}" dt="2022-01-08T16:00:19.257" v="2305" actId="20577"/>
          <ac:spMkLst>
            <pc:docMk/>
            <pc:sldMk cId="3391215681" sldId="339"/>
            <ac:spMk id="49" creationId="{1A40ECD8-EC71-4C0D-A629-C5042C9FBE1B}"/>
          </ac:spMkLst>
        </pc:spChg>
        <pc:spChg chg="mod">
          <ac:chgData name="EVELYNSM.YONG" userId="S::evelynsm.yong_gmail.com#ext#@risebcg.onmicrosoft.com::67a27a72-2420-4d38-b745-316a53f4b99a" providerId="AD" clId="Web-{E369CB37-3068-47E4-AD90-1DEAD92C8B6F}" dt="2022-01-08T16:09:41.989" v="2460" actId="1076"/>
          <ac:spMkLst>
            <pc:docMk/>
            <pc:sldMk cId="3391215681" sldId="339"/>
            <ac:spMk id="124" creationId="{C91A31F3-23FB-421F-8BC0-FD3F5F868D91}"/>
          </ac:spMkLst>
        </pc:spChg>
        <pc:spChg chg="del">
          <ac:chgData name="EVELYNSM.YONG" userId="S::evelynsm.yong_gmail.com#ext#@risebcg.onmicrosoft.com::67a27a72-2420-4d38-b745-316a53f4b99a" providerId="AD" clId="Web-{E369CB37-3068-47E4-AD90-1DEAD92C8B6F}" dt="2022-01-08T16:09:47.302" v="2462"/>
          <ac:spMkLst>
            <pc:docMk/>
            <pc:sldMk cId="3391215681" sldId="339"/>
            <ac:spMk id="126" creationId="{B0791398-D0B2-4A5B-9918-DABD658B5B39}"/>
          </ac:spMkLst>
        </pc:spChg>
        <pc:graphicFrameChg chg="mod modGraphic">
          <ac:chgData name="EVELYNSM.YONG" userId="S::evelynsm.yong_gmail.com#ext#@risebcg.onmicrosoft.com::67a27a72-2420-4d38-b745-316a53f4b99a" providerId="AD" clId="Web-{E369CB37-3068-47E4-AD90-1DEAD92C8B6F}" dt="2022-01-08T16:09:45.692" v="2461" actId="1076"/>
          <ac:graphicFrameMkLst>
            <pc:docMk/>
            <pc:sldMk cId="3391215681" sldId="339"/>
            <ac:graphicFrameMk id="28" creationId="{9D58B7B4-DE29-4DDF-BB8A-729D2B705659}"/>
          </ac:graphicFrameMkLst>
        </pc:graphicFrameChg>
      </pc:sldChg>
      <pc:sldChg chg="addSp delSp modSp modNotes">
        <pc:chgData name="EVELYNSM.YONG" userId="S::evelynsm.yong_gmail.com#ext#@risebcg.onmicrosoft.com::67a27a72-2420-4d38-b745-316a53f4b99a" providerId="AD" clId="Web-{E369CB37-3068-47E4-AD90-1DEAD92C8B6F}" dt="2022-01-08T16:24:44.557" v="2634"/>
        <pc:sldMkLst>
          <pc:docMk/>
          <pc:sldMk cId="4159389698" sldId="342"/>
        </pc:sldMkLst>
        <pc:spChg chg="mod">
          <ac:chgData name="EVELYNSM.YONG" userId="S::evelynsm.yong_gmail.com#ext#@risebcg.onmicrosoft.com::67a27a72-2420-4d38-b745-316a53f4b99a" providerId="AD" clId="Web-{E369CB37-3068-47E4-AD90-1DEAD92C8B6F}" dt="2022-01-08T13:44:34.778" v="397" actId="20577"/>
          <ac:spMkLst>
            <pc:docMk/>
            <pc:sldMk cId="4159389698" sldId="342"/>
            <ac:spMk id="2" creationId="{080435EA-AD4F-4934-83BC-D5D53AFD93E9}"/>
          </ac:spMkLst>
        </pc:spChg>
        <pc:spChg chg="del">
          <ac:chgData name="EVELYNSM.YONG" userId="S::evelynsm.yong_gmail.com#ext#@risebcg.onmicrosoft.com::67a27a72-2420-4d38-b745-316a53f4b99a" providerId="AD" clId="Web-{E369CB37-3068-47E4-AD90-1DEAD92C8B6F}" dt="2022-01-08T13:41:14.648" v="342"/>
          <ac:spMkLst>
            <pc:docMk/>
            <pc:sldMk cId="4159389698" sldId="342"/>
            <ac:spMk id="3" creationId="{1EADC3E2-9A88-4CFF-8CDC-C7B034C116B1}"/>
          </ac:spMkLst>
        </pc:spChg>
        <pc:spChg chg="add del mod">
          <ac:chgData name="EVELYNSM.YONG" userId="S::evelynsm.yong_gmail.com#ext#@risebcg.onmicrosoft.com::67a27a72-2420-4d38-b745-316a53f4b99a" providerId="AD" clId="Web-{E369CB37-3068-47E4-AD90-1DEAD92C8B6F}" dt="2022-01-08T13:41:18.476" v="343"/>
          <ac:spMkLst>
            <pc:docMk/>
            <pc:sldMk cId="4159389698" sldId="342"/>
            <ac:spMk id="6" creationId="{0CF8DD85-3546-480F-A3E7-2F8A294A8CE2}"/>
          </ac:spMkLst>
        </pc:spChg>
        <pc:spChg chg="add mod topLvl">
          <ac:chgData name="EVELYNSM.YONG" userId="S::evelynsm.yong_gmail.com#ext#@risebcg.onmicrosoft.com::67a27a72-2420-4d38-b745-316a53f4b99a" providerId="AD" clId="Web-{E369CB37-3068-47E4-AD90-1DEAD92C8B6F}" dt="2022-01-08T16:13:08.619" v="2479" actId="20577"/>
          <ac:spMkLst>
            <pc:docMk/>
            <pc:sldMk cId="4159389698" sldId="342"/>
            <ac:spMk id="9" creationId="{E953D56B-E197-4EF3-86AC-EB83FF562830}"/>
          </ac:spMkLst>
        </pc:spChg>
        <pc:spChg chg="add mod topLvl">
          <ac:chgData name="EVELYNSM.YONG" userId="S::evelynsm.yong_gmail.com#ext#@risebcg.onmicrosoft.com::67a27a72-2420-4d38-b745-316a53f4b99a" providerId="AD" clId="Web-{E369CB37-3068-47E4-AD90-1DEAD92C8B6F}" dt="2022-01-08T15:13:21.481" v="1668" actId="1076"/>
          <ac:spMkLst>
            <pc:docMk/>
            <pc:sldMk cId="4159389698" sldId="342"/>
            <ac:spMk id="10" creationId="{A949E116-7148-4CA9-A41F-83DB47255D80}"/>
          </ac:spMkLst>
        </pc:spChg>
        <pc:spChg chg="add mod ord topLvl">
          <ac:chgData name="EVELYNSM.YONG" userId="S::evelynsm.yong_gmail.com#ext#@risebcg.onmicrosoft.com::67a27a72-2420-4d38-b745-316a53f4b99a" providerId="AD" clId="Web-{E369CB37-3068-47E4-AD90-1DEAD92C8B6F}" dt="2022-01-08T15:13:21.496" v="1669" actId="1076"/>
          <ac:spMkLst>
            <pc:docMk/>
            <pc:sldMk cId="4159389698" sldId="342"/>
            <ac:spMk id="12" creationId="{AAEC2426-37C0-4083-9090-89DDF94F295F}"/>
          </ac:spMkLst>
        </pc:spChg>
        <pc:spChg chg="add del mod topLvl">
          <ac:chgData name="EVELYNSM.YONG" userId="S::evelynsm.yong_gmail.com#ext#@risebcg.onmicrosoft.com::67a27a72-2420-4d38-b745-316a53f4b99a" providerId="AD" clId="Web-{E369CB37-3068-47E4-AD90-1DEAD92C8B6F}" dt="2022-01-08T15:11:43.228" v="1642"/>
          <ac:spMkLst>
            <pc:docMk/>
            <pc:sldMk cId="4159389698" sldId="342"/>
            <ac:spMk id="13" creationId="{ED8EE41F-595D-4D3B-AFFB-AD8E358FCB34}"/>
          </ac:spMkLst>
        </pc:spChg>
        <pc:spChg chg="add del mod">
          <ac:chgData name="EVELYNSM.YONG" userId="S::evelynsm.yong_gmail.com#ext#@risebcg.onmicrosoft.com::67a27a72-2420-4d38-b745-316a53f4b99a" providerId="AD" clId="Web-{E369CB37-3068-47E4-AD90-1DEAD92C8B6F}" dt="2022-01-08T14:12:17.770" v="772"/>
          <ac:spMkLst>
            <pc:docMk/>
            <pc:sldMk cId="4159389698" sldId="342"/>
            <ac:spMk id="14" creationId="{3923CDFF-CE1D-4A54-A36B-AC25EBE97063}"/>
          </ac:spMkLst>
        </pc:spChg>
        <pc:spChg chg="add del mod">
          <ac:chgData name="EVELYNSM.YONG" userId="S::evelynsm.yong_gmail.com#ext#@risebcg.onmicrosoft.com::67a27a72-2420-4d38-b745-316a53f4b99a" providerId="AD" clId="Web-{E369CB37-3068-47E4-AD90-1DEAD92C8B6F}" dt="2022-01-08T15:07:26.254" v="1415"/>
          <ac:spMkLst>
            <pc:docMk/>
            <pc:sldMk cId="4159389698" sldId="342"/>
            <ac:spMk id="16" creationId="{B574E0FD-7D16-4BED-9AC6-92EC20DE76CD}"/>
          </ac:spMkLst>
        </pc:spChg>
        <pc:grpChg chg="add del mod">
          <ac:chgData name="EVELYNSM.YONG" userId="S::evelynsm.yong_gmail.com#ext#@risebcg.onmicrosoft.com::67a27a72-2420-4d38-b745-316a53f4b99a" providerId="AD" clId="Web-{E369CB37-3068-47E4-AD90-1DEAD92C8B6F}" dt="2022-01-08T15:11:33.166" v="1640"/>
          <ac:grpSpMkLst>
            <pc:docMk/>
            <pc:sldMk cId="4159389698" sldId="342"/>
            <ac:grpSpMk id="17" creationId="{BFBA0225-E50F-4BD0-BC31-808174CE9B31}"/>
          </ac:grpSpMkLst>
        </pc:grpChg>
        <pc:picChg chg="add del mod">
          <ac:chgData name="EVELYNSM.YONG" userId="S::evelynsm.yong_gmail.com#ext#@risebcg.onmicrosoft.com::67a27a72-2420-4d38-b745-316a53f4b99a" providerId="AD" clId="Web-{E369CB37-3068-47E4-AD90-1DEAD92C8B6F}" dt="2022-01-08T13:41:12.695" v="341"/>
          <ac:picMkLst>
            <pc:docMk/>
            <pc:sldMk cId="4159389698" sldId="342"/>
            <ac:picMk id="4" creationId="{568AA943-6E16-41F5-9469-C3A8C31A3592}"/>
          </ac:picMkLst>
        </pc:picChg>
        <pc:picChg chg="add del mod">
          <ac:chgData name="EVELYNSM.YONG" userId="S::evelynsm.yong_gmail.com#ext#@risebcg.onmicrosoft.com::67a27a72-2420-4d38-b745-316a53f4b99a" providerId="AD" clId="Web-{E369CB37-3068-47E4-AD90-1DEAD92C8B6F}" dt="2022-01-08T13:43:12.244" v="351"/>
          <ac:picMkLst>
            <pc:docMk/>
            <pc:sldMk cId="4159389698" sldId="342"/>
            <ac:picMk id="7" creationId="{E16B2329-7614-4FB4-ACBF-BFE445CE8B82}"/>
          </ac:picMkLst>
        </pc:picChg>
        <pc:picChg chg="add mod">
          <ac:chgData name="EVELYNSM.YONG" userId="S::evelynsm.yong_gmail.com#ext#@risebcg.onmicrosoft.com::67a27a72-2420-4d38-b745-316a53f4b99a" providerId="AD" clId="Web-{E369CB37-3068-47E4-AD90-1DEAD92C8B6F}" dt="2022-01-08T15:13:17.824" v="1666" actId="14100"/>
          <ac:picMkLst>
            <pc:docMk/>
            <pc:sldMk cId="4159389698" sldId="342"/>
            <ac:picMk id="8" creationId="{6B01C6A5-3C80-4889-B1DA-40342676F95C}"/>
          </ac:picMkLst>
        </pc:picChg>
      </pc:sldChg>
      <pc:sldChg chg="addSp delSp modSp del">
        <pc:chgData name="EVELYNSM.YONG" userId="S::evelynsm.yong_gmail.com#ext#@risebcg.onmicrosoft.com::67a27a72-2420-4d38-b745-316a53f4b99a" providerId="AD" clId="Web-{E369CB37-3068-47E4-AD90-1DEAD92C8B6F}" dt="2022-01-08T15:04:22.499" v="1334"/>
        <pc:sldMkLst>
          <pc:docMk/>
          <pc:sldMk cId="2403985300" sldId="343"/>
        </pc:sldMkLst>
        <pc:spChg chg="mod">
          <ac:chgData name="EVELYNSM.YONG" userId="S::evelynsm.yong_gmail.com#ext#@risebcg.onmicrosoft.com::67a27a72-2420-4d38-b745-316a53f4b99a" providerId="AD" clId="Web-{E369CB37-3068-47E4-AD90-1DEAD92C8B6F}" dt="2022-01-08T12:26:12.724" v="288" actId="20577"/>
          <ac:spMkLst>
            <pc:docMk/>
            <pc:sldMk cId="2403985300" sldId="343"/>
            <ac:spMk id="2" creationId="{53DDB4C4-01BA-4E62-BA0A-56A56EB4019B}"/>
          </ac:spMkLst>
        </pc:spChg>
        <pc:spChg chg="del mod">
          <ac:chgData name="EVELYNSM.YONG" userId="S::evelynsm.yong_gmail.com#ext#@risebcg.onmicrosoft.com::67a27a72-2420-4d38-b745-316a53f4b99a" providerId="AD" clId="Web-{E369CB37-3068-47E4-AD90-1DEAD92C8B6F}" dt="2022-01-08T12:25:41.583" v="277"/>
          <ac:spMkLst>
            <pc:docMk/>
            <pc:sldMk cId="2403985300" sldId="343"/>
            <ac:spMk id="3" creationId="{BD97DE7E-DDAB-4647-A467-DCE4D740C6EC}"/>
          </ac:spMkLst>
        </pc:spChg>
        <pc:spChg chg="add mod">
          <ac:chgData name="EVELYNSM.YONG" userId="S::evelynsm.yong_gmail.com#ext#@risebcg.onmicrosoft.com::67a27a72-2420-4d38-b745-316a53f4b99a" providerId="AD" clId="Web-{E369CB37-3068-47E4-AD90-1DEAD92C8B6F}" dt="2022-01-08T12:27:51.023" v="333" actId="1076"/>
          <ac:spMkLst>
            <pc:docMk/>
            <pc:sldMk cId="2403985300" sldId="343"/>
            <ac:spMk id="7" creationId="{32E4FEEF-88A9-451E-8BF8-0EF0F5AB7D42}"/>
          </ac:spMkLst>
        </pc:spChg>
        <pc:spChg chg="add mod">
          <ac:chgData name="EVELYNSM.YONG" userId="S::evelynsm.yong_gmail.com#ext#@risebcg.onmicrosoft.com::67a27a72-2420-4d38-b745-316a53f4b99a" providerId="AD" clId="Web-{E369CB37-3068-47E4-AD90-1DEAD92C8B6F}" dt="2022-01-08T12:27:52.867" v="334" actId="1076"/>
          <ac:spMkLst>
            <pc:docMk/>
            <pc:sldMk cId="2403985300" sldId="343"/>
            <ac:spMk id="8" creationId="{9BD2C1EA-7C83-44C6-B2FB-0D84F210DFF7}"/>
          </ac:spMkLst>
        </pc:spChg>
        <pc:spChg chg="add del mod">
          <ac:chgData name="EVELYNSM.YONG" userId="S::evelynsm.yong_gmail.com#ext#@risebcg.onmicrosoft.com::67a27a72-2420-4d38-b745-316a53f4b99a" providerId="AD" clId="Web-{E369CB37-3068-47E4-AD90-1DEAD92C8B6F}" dt="2022-01-08T12:26:00.177" v="278"/>
          <ac:spMkLst>
            <pc:docMk/>
            <pc:sldMk cId="2403985300" sldId="343"/>
            <ac:spMk id="10" creationId="{F114AE77-6064-4066-B778-7383DDDCE1DF}"/>
          </ac:spMkLst>
        </pc:spChg>
        <pc:spChg chg="add mod">
          <ac:chgData name="EVELYNSM.YONG" userId="S::evelynsm.yong_gmail.com#ext#@risebcg.onmicrosoft.com::67a27a72-2420-4d38-b745-316a53f4b99a" providerId="AD" clId="Web-{E369CB37-3068-47E4-AD90-1DEAD92C8B6F}" dt="2022-01-08T12:27:41.164" v="330" actId="1076"/>
          <ac:spMkLst>
            <pc:docMk/>
            <pc:sldMk cId="2403985300" sldId="343"/>
            <ac:spMk id="11" creationId="{9853CF2D-36A6-403A-A0DE-C7507BCFED32}"/>
          </ac:spMkLst>
        </pc:spChg>
        <pc:spChg chg="add mod">
          <ac:chgData name="EVELYNSM.YONG" userId="S::evelynsm.yong_gmail.com#ext#@risebcg.onmicrosoft.com::67a27a72-2420-4d38-b745-316a53f4b99a" providerId="AD" clId="Web-{E369CB37-3068-47E4-AD90-1DEAD92C8B6F}" dt="2022-01-08T12:27:38.336" v="329" actId="1076"/>
          <ac:spMkLst>
            <pc:docMk/>
            <pc:sldMk cId="2403985300" sldId="343"/>
            <ac:spMk id="12" creationId="{A165D514-EEF8-48A3-8ABA-C03F2CD74E02}"/>
          </ac:spMkLst>
        </pc:spChg>
        <pc:cxnChg chg="add mod">
          <ac:chgData name="EVELYNSM.YONG" userId="S::evelynsm.yong_gmail.com#ext#@risebcg.onmicrosoft.com::67a27a72-2420-4d38-b745-316a53f4b99a" providerId="AD" clId="Web-{E369CB37-3068-47E4-AD90-1DEAD92C8B6F}" dt="2022-01-08T12:28:04.727" v="336" actId="14100"/>
          <ac:cxnSpMkLst>
            <pc:docMk/>
            <pc:sldMk cId="2403985300" sldId="343"/>
            <ac:cxnSpMk id="5" creationId="{3DE7334B-F984-4BBE-91B9-E1663A755988}"/>
          </ac:cxnSpMkLst>
        </pc:cxnChg>
      </pc:sldChg>
      <pc:sldChg chg="modSp">
        <pc:chgData name="EVELYNSM.YONG" userId="S::evelynsm.yong_gmail.com#ext#@risebcg.onmicrosoft.com::67a27a72-2420-4d38-b745-316a53f4b99a" providerId="AD" clId="Web-{E369CB37-3068-47E4-AD90-1DEAD92C8B6F}" dt="2022-01-08T12:07:07.526" v="107" actId="14100"/>
        <pc:sldMkLst>
          <pc:docMk/>
          <pc:sldMk cId="3971465157" sldId="345"/>
        </pc:sldMkLst>
        <pc:spChg chg="mod">
          <ac:chgData name="EVELYNSM.YONG" userId="S::evelynsm.yong_gmail.com#ext#@risebcg.onmicrosoft.com::67a27a72-2420-4d38-b745-316a53f4b99a" providerId="AD" clId="Web-{E369CB37-3068-47E4-AD90-1DEAD92C8B6F}" dt="2022-01-08T12:07:07.526" v="107" actId="14100"/>
          <ac:spMkLst>
            <pc:docMk/>
            <pc:sldMk cId="3971465157" sldId="345"/>
            <ac:spMk id="4" creationId="{215644EC-E1A2-4B5F-BA53-79EB189605EC}"/>
          </ac:spMkLst>
        </pc:spChg>
      </pc:sldChg>
      <pc:sldChg chg="addSp delSp modSp ord">
        <pc:chgData name="EVELYNSM.YONG" userId="S::evelynsm.yong_gmail.com#ext#@risebcg.onmicrosoft.com::67a27a72-2420-4d38-b745-316a53f4b99a" providerId="AD" clId="Web-{E369CB37-3068-47E4-AD90-1DEAD92C8B6F}" dt="2022-01-08T12:06:52.791" v="106" actId="14100"/>
        <pc:sldMkLst>
          <pc:docMk/>
          <pc:sldMk cId="2149037765" sldId="346"/>
        </pc:sldMkLst>
        <pc:spChg chg="mod">
          <ac:chgData name="EVELYNSM.YONG" userId="S::evelynsm.yong_gmail.com#ext#@risebcg.onmicrosoft.com::67a27a72-2420-4d38-b745-316a53f4b99a" providerId="AD" clId="Web-{E369CB37-3068-47E4-AD90-1DEAD92C8B6F}" dt="2022-01-08T12:06:52.791" v="106" actId="14100"/>
          <ac:spMkLst>
            <pc:docMk/>
            <pc:sldMk cId="2149037765" sldId="346"/>
            <ac:spMk id="4" creationId="{215644EC-E1A2-4B5F-BA53-79EB189605EC}"/>
          </ac:spMkLst>
        </pc:spChg>
        <pc:spChg chg="add del mod">
          <ac:chgData name="EVELYNSM.YONG" userId="S::evelynsm.yong_gmail.com#ext#@risebcg.onmicrosoft.com::67a27a72-2420-4d38-b745-316a53f4b99a" providerId="AD" clId="Web-{E369CB37-3068-47E4-AD90-1DEAD92C8B6F}" dt="2022-01-08T11:55:23.775" v="25"/>
          <ac:spMkLst>
            <pc:docMk/>
            <pc:sldMk cId="2149037765" sldId="346"/>
            <ac:spMk id="10" creationId="{D3951B2B-A8B9-4014-9A6B-C2F181DF23F2}"/>
          </ac:spMkLst>
        </pc:spChg>
        <pc:spChg chg="add del mod">
          <ac:chgData name="EVELYNSM.YONG" userId="S::evelynsm.yong_gmail.com#ext#@risebcg.onmicrosoft.com::67a27a72-2420-4d38-b745-316a53f4b99a" providerId="AD" clId="Web-{E369CB37-3068-47E4-AD90-1DEAD92C8B6F}" dt="2022-01-08T11:55:25.384" v="26"/>
          <ac:spMkLst>
            <pc:docMk/>
            <pc:sldMk cId="2149037765" sldId="346"/>
            <ac:spMk id="15" creationId="{5801D3E9-70D7-4D50-AE16-0CD6E891A846}"/>
          </ac:spMkLst>
        </pc:spChg>
      </pc:sldChg>
      <pc:sldChg chg="addSp delSp modSp modNotes">
        <pc:chgData name="EVELYNSM.YONG" userId="S::evelynsm.yong_gmail.com#ext#@risebcg.onmicrosoft.com::67a27a72-2420-4d38-b745-316a53f4b99a" providerId="AD" clId="Web-{E369CB37-3068-47E4-AD90-1DEAD92C8B6F}" dt="2022-01-08T15:54:36.437" v="2262"/>
        <pc:sldMkLst>
          <pc:docMk/>
          <pc:sldMk cId="1227236751" sldId="356"/>
        </pc:sldMkLst>
        <pc:spChg chg="mod">
          <ac:chgData name="EVELYNSM.YONG" userId="S::evelynsm.yong_gmail.com#ext#@risebcg.onmicrosoft.com::67a27a72-2420-4d38-b745-316a53f4b99a" providerId="AD" clId="Web-{E369CB37-3068-47E4-AD90-1DEAD92C8B6F}" dt="2022-01-08T15:16:03.375" v="1726" actId="20577"/>
          <ac:spMkLst>
            <pc:docMk/>
            <pc:sldMk cId="1227236751" sldId="356"/>
            <ac:spMk id="2" creationId="{ED14AA63-35D8-4136-8B2F-DE1837A583A2}"/>
          </ac:spMkLst>
        </pc:spChg>
        <pc:spChg chg="mod">
          <ac:chgData name="EVELYNSM.YONG" userId="S::evelynsm.yong_gmail.com#ext#@risebcg.onmicrosoft.com::67a27a72-2420-4d38-b745-316a53f4b99a" providerId="AD" clId="Web-{E369CB37-3068-47E4-AD90-1DEAD92C8B6F}" dt="2022-01-08T15:14:04.419" v="1680"/>
          <ac:spMkLst>
            <pc:docMk/>
            <pc:sldMk cId="1227236751" sldId="356"/>
            <ac:spMk id="3" creationId="{2321500F-B116-49E9-B713-1C89E59A92D6}"/>
          </ac:spMkLst>
        </pc:spChg>
        <pc:spChg chg="mod">
          <ac:chgData name="EVELYNSM.YONG" userId="S::evelynsm.yong_gmail.com#ext#@risebcg.onmicrosoft.com::67a27a72-2420-4d38-b745-316a53f4b99a" providerId="AD" clId="Web-{E369CB37-3068-47E4-AD90-1DEAD92C8B6F}" dt="2022-01-08T15:15:42.172" v="1709" actId="20577"/>
          <ac:spMkLst>
            <pc:docMk/>
            <pc:sldMk cId="1227236751" sldId="356"/>
            <ac:spMk id="4" creationId="{215644EC-E1A2-4B5F-BA53-79EB189605EC}"/>
          </ac:spMkLst>
        </pc:spChg>
        <pc:spChg chg="add mod">
          <ac:chgData name="EVELYNSM.YONG" userId="S::evelynsm.yong_gmail.com#ext#@risebcg.onmicrosoft.com::67a27a72-2420-4d38-b745-316a53f4b99a" providerId="AD" clId="Web-{E369CB37-3068-47E4-AD90-1DEAD92C8B6F}" dt="2022-01-08T15:15:06.608" v="1692" actId="1076"/>
          <ac:spMkLst>
            <pc:docMk/>
            <pc:sldMk cId="1227236751" sldId="356"/>
            <ac:spMk id="10" creationId="{42FB9C20-3D6F-40FF-ABFC-89E5858742B1}"/>
          </ac:spMkLst>
        </pc:spChg>
        <pc:spChg chg="mod">
          <ac:chgData name="EVELYNSM.YONG" userId="S::evelynsm.yong_gmail.com#ext#@risebcg.onmicrosoft.com::67a27a72-2420-4d38-b745-316a53f4b99a" providerId="AD" clId="Web-{E369CB37-3068-47E4-AD90-1DEAD92C8B6F}" dt="2022-01-08T15:14:20.373" v="1684"/>
          <ac:spMkLst>
            <pc:docMk/>
            <pc:sldMk cId="1227236751" sldId="356"/>
            <ac:spMk id="12" creationId="{95E46411-4A0C-41AA-9250-790D71323EA7}"/>
          </ac:spMkLst>
        </pc:spChg>
        <pc:spChg chg="add del mod">
          <ac:chgData name="EVELYNSM.YONG" userId="S::evelynsm.yong_gmail.com#ext#@risebcg.onmicrosoft.com::67a27a72-2420-4d38-b745-316a53f4b99a" providerId="AD" clId="Web-{E369CB37-3068-47E4-AD90-1DEAD92C8B6F}" dt="2022-01-08T15:16:32.032" v="1728"/>
          <ac:spMkLst>
            <pc:docMk/>
            <pc:sldMk cId="1227236751" sldId="356"/>
            <ac:spMk id="16" creationId="{B6F7D705-C532-4B5C-B512-1BBCBA043185}"/>
          </ac:spMkLst>
        </pc:spChg>
        <pc:spChg chg="add del mod">
          <ac:chgData name="EVELYNSM.YONG" userId="S::evelynsm.yong_gmail.com#ext#@risebcg.onmicrosoft.com::67a27a72-2420-4d38-b745-316a53f4b99a" providerId="AD" clId="Web-{E369CB37-3068-47E4-AD90-1DEAD92C8B6F}" dt="2022-01-08T15:54:36.437" v="2262"/>
          <ac:spMkLst>
            <pc:docMk/>
            <pc:sldMk cId="1227236751" sldId="356"/>
            <ac:spMk id="17" creationId="{815F3179-193A-4F5E-A1A9-12297C608458}"/>
          </ac:spMkLst>
        </pc:spChg>
        <pc:picChg chg="mod">
          <ac:chgData name="EVELYNSM.YONG" userId="S::evelynsm.yong_gmail.com#ext#@risebcg.onmicrosoft.com::67a27a72-2420-4d38-b745-316a53f4b99a" providerId="AD" clId="Web-{E369CB37-3068-47E4-AD90-1DEAD92C8B6F}" dt="2022-01-08T15:14:23.857" v="1685" actId="1076"/>
          <ac:picMkLst>
            <pc:docMk/>
            <pc:sldMk cId="1227236751" sldId="356"/>
            <ac:picMk id="7" creationId="{F2806C6D-F724-4DED-AEF0-61ECCAB05DB6}"/>
          </ac:picMkLst>
        </pc:picChg>
        <pc:picChg chg="mod">
          <ac:chgData name="EVELYNSM.YONG" userId="S::evelynsm.yong_gmail.com#ext#@risebcg.onmicrosoft.com::67a27a72-2420-4d38-b745-316a53f4b99a" providerId="AD" clId="Web-{E369CB37-3068-47E4-AD90-1DEAD92C8B6F}" dt="2022-01-08T15:14:40.639" v="1688" actId="1076"/>
          <ac:picMkLst>
            <pc:docMk/>
            <pc:sldMk cId="1227236751" sldId="356"/>
            <ac:picMk id="8" creationId="{1C37FA25-553F-4164-8C97-7E76EEDF8003}"/>
          </ac:picMkLst>
        </pc:picChg>
        <pc:picChg chg="mod">
          <ac:chgData name="EVELYNSM.YONG" userId="S::evelynsm.yong_gmail.com#ext#@risebcg.onmicrosoft.com::67a27a72-2420-4d38-b745-316a53f4b99a" providerId="AD" clId="Web-{E369CB37-3068-47E4-AD90-1DEAD92C8B6F}" dt="2022-01-08T15:14:07.404" v="1681" actId="1076"/>
          <ac:picMkLst>
            <pc:docMk/>
            <pc:sldMk cId="1227236751" sldId="356"/>
            <ac:picMk id="11" creationId="{B9CA3DF6-D1DE-4B59-9A07-B34CE4EC9917}"/>
          </ac:picMkLst>
        </pc:picChg>
        <pc:picChg chg="mod">
          <ac:chgData name="EVELYNSM.YONG" userId="S::evelynsm.yong_gmail.com#ext#@risebcg.onmicrosoft.com::67a27a72-2420-4d38-b745-316a53f4b99a" providerId="AD" clId="Web-{E369CB37-3068-47E4-AD90-1DEAD92C8B6F}" dt="2022-01-08T15:14:38.623" v="1687" actId="1076"/>
          <ac:picMkLst>
            <pc:docMk/>
            <pc:sldMk cId="1227236751" sldId="356"/>
            <ac:picMk id="13" creationId="{6031EC29-FB42-4498-A4A9-E35C4E061CC4}"/>
          </ac:picMkLst>
        </pc:picChg>
        <pc:cxnChg chg="mod">
          <ac:chgData name="EVELYNSM.YONG" userId="S::evelynsm.yong_gmail.com#ext#@risebcg.onmicrosoft.com::67a27a72-2420-4d38-b745-316a53f4b99a" providerId="AD" clId="Web-{E369CB37-3068-47E4-AD90-1DEAD92C8B6F}" dt="2022-01-08T15:14:56.280" v="1690" actId="14100"/>
          <ac:cxnSpMkLst>
            <pc:docMk/>
            <pc:sldMk cId="1227236751" sldId="356"/>
            <ac:cxnSpMk id="5" creationId="{7650244C-E06B-41BA-A77C-2D20639EA927}"/>
          </ac:cxnSpMkLst>
        </pc:cxnChg>
      </pc:sldChg>
      <pc:sldChg chg="delSp modSp add replId">
        <pc:chgData name="EVELYNSM.YONG" userId="S::evelynsm.yong_gmail.com#ext#@risebcg.onmicrosoft.com::67a27a72-2420-4d38-b745-316a53f4b99a" providerId="AD" clId="Web-{E369CB37-3068-47E4-AD90-1DEAD92C8B6F}" dt="2022-01-08T16:39:17.078" v="2651" actId="1076"/>
        <pc:sldMkLst>
          <pc:docMk/>
          <pc:sldMk cId="1894441827" sldId="358"/>
        </pc:sldMkLst>
        <pc:spChg chg="del">
          <ac:chgData name="EVELYNSM.YONG" userId="S::evelynsm.yong_gmail.com#ext#@risebcg.onmicrosoft.com::67a27a72-2420-4d38-b745-316a53f4b99a" providerId="AD" clId="Web-{E369CB37-3068-47E4-AD90-1DEAD92C8B6F}" dt="2022-01-08T15:52:37.464" v="2251"/>
          <ac:spMkLst>
            <pc:docMk/>
            <pc:sldMk cId="1894441827" sldId="358"/>
            <ac:spMk id="4" creationId="{215644EC-E1A2-4B5F-BA53-79EB189605EC}"/>
          </ac:spMkLst>
        </pc:spChg>
        <pc:spChg chg="mod">
          <ac:chgData name="EVELYNSM.YONG" userId="S::evelynsm.yong_gmail.com#ext#@risebcg.onmicrosoft.com::67a27a72-2420-4d38-b745-316a53f4b99a" providerId="AD" clId="Web-{E369CB37-3068-47E4-AD90-1DEAD92C8B6F}" dt="2022-01-08T16:39:12.906" v="2650" actId="1076"/>
          <ac:spMkLst>
            <pc:docMk/>
            <pc:sldMk cId="1894441827" sldId="358"/>
            <ac:spMk id="10" creationId="{42FB9C20-3D6F-40FF-ABFC-89E5858742B1}"/>
          </ac:spMkLst>
        </pc:spChg>
        <pc:spChg chg="mod">
          <ac:chgData name="EVELYNSM.YONG" userId="S::evelynsm.yong_gmail.com#ext#@risebcg.onmicrosoft.com::67a27a72-2420-4d38-b745-316a53f4b99a" providerId="AD" clId="Web-{E369CB37-3068-47E4-AD90-1DEAD92C8B6F}" dt="2022-01-08T16:39:17.078" v="2651" actId="1076"/>
          <ac:spMkLst>
            <pc:docMk/>
            <pc:sldMk cId="1894441827" sldId="358"/>
            <ac:spMk id="17" creationId="{815F3179-193A-4F5E-A1A9-12297C608458}"/>
          </ac:spMkLst>
        </pc:spChg>
        <pc:picChg chg="mod">
          <ac:chgData name="EVELYNSM.YONG" userId="S::evelynsm.yong_gmail.com#ext#@risebcg.onmicrosoft.com::67a27a72-2420-4d38-b745-316a53f4b99a" providerId="AD" clId="Web-{E369CB37-3068-47E4-AD90-1DEAD92C8B6F}" dt="2022-01-08T16:37:11.356" v="2646" actId="1076"/>
          <ac:picMkLst>
            <pc:docMk/>
            <pc:sldMk cId="1894441827" sldId="358"/>
            <ac:picMk id="4" creationId="{0A2CEA9C-3B44-4930-8C81-9261CEA29D54}"/>
          </ac:picMkLst>
        </pc:picChg>
        <pc:picChg chg="mod">
          <ac:chgData name="EVELYNSM.YONG" userId="S::evelynsm.yong_gmail.com#ext#@risebcg.onmicrosoft.com::67a27a72-2420-4d38-b745-316a53f4b99a" providerId="AD" clId="Web-{E369CB37-3068-47E4-AD90-1DEAD92C8B6F}" dt="2022-01-08T16:37:17.372" v="2648" actId="1076"/>
          <ac:picMkLst>
            <pc:docMk/>
            <pc:sldMk cId="1894441827" sldId="358"/>
            <ac:picMk id="7" creationId="{F2806C6D-F724-4DED-AEF0-61ECCAB05DB6}"/>
          </ac:picMkLst>
        </pc:picChg>
        <pc:picChg chg="mod">
          <ac:chgData name="EVELYNSM.YONG" userId="S::evelynsm.yong_gmail.com#ext#@risebcg.onmicrosoft.com::67a27a72-2420-4d38-b745-316a53f4b99a" providerId="AD" clId="Web-{E369CB37-3068-47E4-AD90-1DEAD92C8B6F}" dt="2022-01-08T15:52:43.449" v="2253" actId="1076"/>
          <ac:picMkLst>
            <pc:docMk/>
            <pc:sldMk cId="1894441827" sldId="358"/>
            <ac:picMk id="8" creationId="{1C37FA25-553F-4164-8C97-7E76EEDF8003}"/>
          </ac:picMkLst>
        </pc:picChg>
        <pc:cxnChg chg="mod">
          <ac:chgData name="EVELYNSM.YONG" userId="S::evelynsm.yong_gmail.com#ext#@risebcg.onmicrosoft.com::67a27a72-2420-4d38-b745-316a53f4b99a" providerId="AD" clId="Web-{E369CB37-3068-47E4-AD90-1DEAD92C8B6F}" dt="2022-01-08T16:37:15.559" v="2647" actId="1076"/>
          <ac:cxnSpMkLst>
            <pc:docMk/>
            <pc:sldMk cId="1894441827" sldId="358"/>
            <ac:cxnSpMk id="5" creationId="{7650244C-E06B-41BA-A77C-2D20639EA927}"/>
          </ac:cxnSpMkLst>
        </pc:cxnChg>
      </pc:sldChg>
      <pc:sldChg chg="modSp">
        <pc:chgData name="EVELYNSM.YONG" userId="S::evelynsm.yong_gmail.com#ext#@risebcg.onmicrosoft.com::67a27a72-2420-4d38-b745-316a53f4b99a" providerId="AD" clId="Web-{E369CB37-3068-47E4-AD90-1DEAD92C8B6F}" dt="2022-01-08T16:31:39.067" v="2638" actId="20577"/>
        <pc:sldMkLst>
          <pc:docMk/>
          <pc:sldMk cId="373009354" sldId="360"/>
        </pc:sldMkLst>
        <pc:spChg chg="mod">
          <ac:chgData name="EVELYNSM.YONG" userId="S::evelynsm.yong_gmail.com#ext#@risebcg.onmicrosoft.com::67a27a72-2420-4d38-b745-316a53f4b99a" providerId="AD" clId="Web-{E369CB37-3068-47E4-AD90-1DEAD92C8B6F}" dt="2022-01-08T16:31:39.067" v="2638" actId="20577"/>
          <ac:spMkLst>
            <pc:docMk/>
            <pc:sldMk cId="373009354" sldId="360"/>
            <ac:spMk id="17" creationId="{815F3179-193A-4F5E-A1A9-12297C608458}"/>
          </ac:spMkLst>
        </pc:spChg>
      </pc:sldChg>
    </pc:docChg>
  </pc:docChgLst>
  <pc:docChgLst>
    <pc:chgData name="EVELYNSM.YONG" userId="S::evelynsm.yong_gmail.com#ext#@risebcg.onmicrosoft.com::67a27a72-2420-4d38-b745-316a53f4b99a" providerId="AD" clId="Web-{E24B95FD-1DFE-4B69-A5CF-BB3FE575966C}"/>
    <pc:docChg chg="modSld">
      <pc:chgData name="EVELYNSM.YONG" userId="S::evelynsm.yong_gmail.com#ext#@risebcg.onmicrosoft.com::67a27a72-2420-4d38-b745-316a53f4b99a" providerId="AD" clId="Web-{E24B95FD-1DFE-4B69-A5CF-BB3FE575966C}" dt="2022-01-12T09:15:29.400" v="2083" actId="20577"/>
      <pc:docMkLst>
        <pc:docMk/>
      </pc:docMkLst>
      <pc:sldChg chg="modNotes">
        <pc:chgData name="EVELYNSM.YONG" userId="S::evelynsm.yong_gmail.com#ext#@risebcg.onmicrosoft.com::67a27a72-2420-4d38-b745-316a53f4b99a" providerId="AD" clId="Web-{E24B95FD-1DFE-4B69-A5CF-BB3FE575966C}" dt="2022-01-12T08:37:41.588" v="1785"/>
        <pc:sldMkLst>
          <pc:docMk/>
          <pc:sldMk cId="2023673819" sldId="276"/>
        </pc:sldMkLst>
      </pc:sldChg>
      <pc:sldChg chg="addSp">
        <pc:chgData name="EVELYNSM.YONG" userId="S::evelynsm.yong_gmail.com#ext#@risebcg.onmicrosoft.com::67a27a72-2420-4d38-b745-316a53f4b99a" providerId="AD" clId="Web-{E24B95FD-1DFE-4B69-A5CF-BB3FE575966C}" dt="2022-01-12T07:42:45.626" v="0"/>
        <pc:sldMkLst>
          <pc:docMk/>
          <pc:sldMk cId="2256265757" sldId="315"/>
        </pc:sldMkLst>
        <pc:graphicFrameChg chg="add">
          <ac:chgData name="EVELYNSM.YONG" userId="S::evelynsm.yong_gmail.com#ext#@risebcg.onmicrosoft.com::67a27a72-2420-4d38-b745-316a53f4b99a" providerId="AD" clId="Web-{E24B95FD-1DFE-4B69-A5CF-BB3FE575966C}" dt="2022-01-12T07:42:45.626" v="0"/>
          <ac:graphicFrameMkLst>
            <pc:docMk/>
            <pc:sldMk cId="2256265757" sldId="315"/>
            <ac:graphicFrameMk id="4" creationId="{A7ADE9D9-6228-47D1-ADA1-E61E831B448C}"/>
          </ac:graphicFrameMkLst>
        </pc:graphicFrameChg>
      </pc:sldChg>
      <pc:sldChg chg="modSp">
        <pc:chgData name="EVELYNSM.YONG" userId="S::evelynsm.yong_gmail.com#ext#@risebcg.onmicrosoft.com::67a27a72-2420-4d38-b745-316a53f4b99a" providerId="AD" clId="Web-{E24B95FD-1DFE-4B69-A5CF-BB3FE575966C}" dt="2022-01-12T09:02:16.044" v="1905" actId="20577"/>
        <pc:sldMkLst>
          <pc:docMk/>
          <pc:sldMk cId="416007632" sldId="327"/>
        </pc:sldMkLst>
        <pc:spChg chg="mod">
          <ac:chgData name="EVELYNSM.YONG" userId="S::evelynsm.yong_gmail.com#ext#@risebcg.onmicrosoft.com::67a27a72-2420-4d38-b745-316a53f4b99a" providerId="AD" clId="Web-{E24B95FD-1DFE-4B69-A5CF-BB3FE575966C}" dt="2022-01-12T08:24:23.310" v="1607" actId="1076"/>
          <ac:spMkLst>
            <pc:docMk/>
            <pc:sldMk cId="416007632" sldId="327"/>
            <ac:spMk id="8" creationId="{E577B412-68A3-4185-A772-40E2096ADDCA}"/>
          </ac:spMkLst>
        </pc:spChg>
        <pc:spChg chg="mod">
          <ac:chgData name="EVELYNSM.YONG" userId="S::evelynsm.yong_gmail.com#ext#@risebcg.onmicrosoft.com::67a27a72-2420-4d38-b745-316a53f4b99a" providerId="AD" clId="Web-{E24B95FD-1DFE-4B69-A5CF-BB3FE575966C}" dt="2022-01-12T08:25:32.345" v="1624" actId="1076"/>
          <ac:spMkLst>
            <pc:docMk/>
            <pc:sldMk cId="416007632" sldId="327"/>
            <ac:spMk id="20" creationId="{1085C789-C333-47C0-9A39-FFAFB278B841}"/>
          </ac:spMkLst>
        </pc:spChg>
        <pc:spChg chg="mod">
          <ac:chgData name="EVELYNSM.YONG" userId="S::evelynsm.yong_gmail.com#ext#@risebcg.onmicrosoft.com::67a27a72-2420-4d38-b745-316a53f4b99a" providerId="AD" clId="Web-{E24B95FD-1DFE-4B69-A5CF-BB3FE575966C}" dt="2022-01-12T08:25:16.782" v="1621" actId="14100"/>
          <ac:spMkLst>
            <pc:docMk/>
            <pc:sldMk cId="416007632" sldId="327"/>
            <ac:spMk id="22" creationId="{E617BC09-C752-43E7-ACBA-77B43873D3F7}"/>
          </ac:spMkLst>
        </pc:spChg>
        <pc:spChg chg="mod">
          <ac:chgData name="EVELYNSM.YONG" userId="S::evelynsm.yong_gmail.com#ext#@risebcg.onmicrosoft.com::67a27a72-2420-4d38-b745-316a53f4b99a" providerId="AD" clId="Web-{E24B95FD-1DFE-4B69-A5CF-BB3FE575966C}" dt="2022-01-12T08:24:23.373" v="1611" actId="1076"/>
          <ac:spMkLst>
            <pc:docMk/>
            <pc:sldMk cId="416007632" sldId="327"/>
            <ac:spMk id="25" creationId="{F9FE7D81-29DC-498D-91D4-543B8A261CE1}"/>
          </ac:spMkLst>
        </pc:spChg>
        <pc:spChg chg="mod">
          <ac:chgData name="EVELYNSM.YONG" userId="S::evelynsm.yong_gmail.com#ext#@risebcg.onmicrosoft.com::67a27a72-2420-4d38-b745-316a53f4b99a" providerId="AD" clId="Web-{E24B95FD-1DFE-4B69-A5CF-BB3FE575966C}" dt="2022-01-12T08:24:23.248" v="1605" actId="1076"/>
          <ac:spMkLst>
            <pc:docMk/>
            <pc:sldMk cId="416007632" sldId="327"/>
            <ac:spMk id="32" creationId="{19924F50-9976-41A7-88C1-641F1509CEE0}"/>
          </ac:spMkLst>
        </pc:spChg>
        <pc:spChg chg="mod">
          <ac:chgData name="EVELYNSM.YONG" userId="S::evelynsm.yong_gmail.com#ext#@risebcg.onmicrosoft.com::67a27a72-2420-4d38-b745-316a53f4b99a" providerId="AD" clId="Web-{E24B95FD-1DFE-4B69-A5CF-BB3FE575966C}" dt="2022-01-12T08:29:09.123" v="1661" actId="1076"/>
          <ac:spMkLst>
            <pc:docMk/>
            <pc:sldMk cId="416007632" sldId="327"/>
            <ac:spMk id="33" creationId="{C9B7F08E-D629-47BA-B28C-40CF22219379}"/>
          </ac:spMkLst>
        </pc:spChg>
        <pc:spChg chg="mod">
          <ac:chgData name="EVELYNSM.YONG" userId="S::evelynsm.yong_gmail.com#ext#@risebcg.onmicrosoft.com::67a27a72-2420-4d38-b745-316a53f4b99a" providerId="AD" clId="Web-{E24B95FD-1DFE-4B69-A5CF-BB3FE575966C}" dt="2022-01-12T09:01:54.449" v="1904" actId="20577"/>
          <ac:spMkLst>
            <pc:docMk/>
            <pc:sldMk cId="416007632" sldId="327"/>
            <ac:spMk id="34" creationId="{06D19D76-F677-4AAA-AA6A-7CA4B9DAF436}"/>
          </ac:spMkLst>
        </pc:spChg>
        <pc:spChg chg="mod">
          <ac:chgData name="EVELYNSM.YONG" userId="S::evelynsm.yong_gmail.com#ext#@risebcg.onmicrosoft.com::67a27a72-2420-4d38-b745-316a53f4b99a" providerId="AD" clId="Web-{E24B95FD-1DFE-4B69-A5CF-BB3FE575966C}" dt="2022-01-12T09:02:16.044" v="1905" actId="20577"/>
          <ac:spMkLst>
            <pc:docMk/>
            <pc:sldMk cId="416007632" sldId="327"/>
            <ac:spMk id="37" creationId="{1AA86EF9-D1F2-488E-902B-9C25FAEFDD52}"/>
          </ac:spMkLst>
        </pc:spChg>
        <pc:grpChg chg="mod">
          <ac:chgData name="EVELYNSM.YONG" userId="S::evelynsm.yong_gmail.com#ext#@risebcg.onmicrosoft.com::67a27a72-2420-4d38-b745-316a53f4b99a" providerId="AD" clId="Web-{E24B95FD-1DFE-4B69-A5CF-BB3FE575966C}" dt="2022-01-12T08:25:32.329" v="1622" actId="1076"/>
          <ac:grpSpMkLst>
            <pc:docMk/>
            <pc:sldMk cId="416007632" sldId="327"/>
            <ac:grpSpMk id="3" creationId="{D8298F4A-5213-4A7E-8DC6-09D01E722D62}"/>
          </ac:grpSpMkLst>
        </pc:grpChg>
        <pc:picChg chg="mod">
          <ac:chgData name="EVELYNSM.YONG" userId="S::evelynsm.yong_gmail.com#ext#@risebcg.onmicrosoft.com::67a27a72-2420-4d38-b745-316a53f4b99a" providerId="AD" clId="Web-{E24B95FD-1DFE-4B69-A5CF-BB3FE575966C}" dt="2022-01-12T08:24:29.388" v="1612" actId="1076"/>
          <ac:picMkLst>
            <pc:docMk/>
            <pc:sldMk cId="416007632" sldId="327"/>
            <ac:picMk id="7" creationId="{52098F02-F658-4E94-9501-A14F3E2D33CE}"/>
          </ac:picMkLst>
        </pc:picChg>
        <pc:picChg chg="mod">
          <ac:chgData name="EVELYNSM.YONG" userId="S::evelynsm.yong_gmail.com#ext#@risebcg.onmicrosoft.com::67a27a72-2420-4d38-b745-316a53f4b99a" providerId="AD" clId="Web-{E24B95FD-1DFE-4B69-A5CF-BB3FE575966C}" dt="2022-01-12T08:24:23.357" v="1610" actId="1076"/>
          <ac:picMkLst>
            <pc:docMk/>
            <pc:sldMk cId="416007632" sldId="327"/>
            <ac:picMk id="9" creationId="{A7D42D63-B632-4192-9AF9-4120DFBDAFF3}"/>
          </ac:picMkLst>
        </pc:picChg>
        <pc:picChg chg="mod">
          <ac:chgData name="EVELYNSM.YONG" userId="S::evelynsm.yong_gmail.com#ext#@risebcg.onmicrosoft.com::67a27a72-2420-4d38-b745-316a53f4b99a" providerId="AD" clId="Web-{E24B95FD-1DFE-4B69-A5CF-BB3FE575966C}" dt="2022-01-12T08:24:44.796" v="1614"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E24B95FD-1DFE-4B69-A5CF-BB3FE575966C}" dt="2022-01-12T08:16:48.519" v="1435" actId="1076"/>
          <ac:picMkLst>
            <pc:docMk/>
            <pc:sldMk cId="416007632" sldId="327"/>
            <ac:picMk id="29" creationId="{4F6899D5-3109-4938-82DA-041DEA46D7EF}"/>
          </ac:picMkLst>
        </pc:picChg>
      </pc:sldChg>
      <pc:sldChg chg="addSp delSp modSp modNotes">
        <pc:chgData name="EVELYNSM.YONG" userId="S::evelynsm.yong_gmail.com#ext#@risebcg.onmicrosoft.com::67a27a72-2420-4d38-b745-316a53f4b99a" providerId="AD" clId="Web-{E24B95FD-1DFE-4B69-A5CF-BB3FE575966C}" dt="2022-01-12T09:15:29.400" v="2083" actId="20577"/>
        <pc:sldMkLst>
          <pc:docMk/>
          <pc:sldMk cId="3391215681" sldId="339"/>
        </pc:sldMkLst>
        <pc:spChg chg="mod">
          <ac:chgData name="EVELYNSM.YONG" userId="S::evelynsm.yong_gmail.com#ext#@risebcg.onmicrosoft.com::67a27a72-2420-4d38-b745-316a53f4b99a" providerId="AD" clId="Web-{E24B95FD-1DFE-4B69-A5CF-BB3FE575966C}" dt="2022-01-12T08:47:26.229" v="1884" actId="1076"/>
          <ac:spMkLst>
            <pc:docMk/>
            <pc:sldMk cId="3391215681" sldId="339"/>
            <ac:spMk id="49" creationId="{1A40ECD8-EC71-4C0D-A629-C5042C9FBE1B}"/>
          </ac:spMkLst>
        </pc:spChg>
        <pc:spChg chg="add mod">
          <ac:chgData name="EVELYNSM.YONG" userId="S::evelynsm.yong_gmail.com#ext#@risebcg.onmicrosoft.com::67a27a72-2420-4d38-b745-316a53f4b99a" providerId="AD" clId="Web-{E24B95FD-1DFE-4B69-A5CF-BB3FE575966C}" dt="2022-01-12T08:47:04.650" v="1880" actId="14100"/>
          <ac:spMkLst>
            <pc:docMk/>
            <pc:sldMk cId="3391215681" sldId="339"/>
            <ac:spMk id="19270" creationId="{D7F98B1E-399D-4B27-B39F-F1A610F49BA9}"/>
          </ac:spMkLst>
        </pc:spChg>
        <pc:grpChg chg="add del mod">
          <ac:chgData name="EVELYNSM.YONG" userId="S::evelynsm.yong_gmail.com#ext#@risebcg.onmicrosoft.com::67a27a72-2420-4d38-b745-316a53f4b99a" providerId="AD" clId="Web-{E24B95FD-1DFE-4B69-A5CF-BB3FE575966C}" dt="2022-01-12T09:14:36.366" v="2036" actId="1076"/>
          <ac:grpSpMkLst>
            <pc:docMk/>
            <pc:sldMk cId="3391215681" sldId="339"/>
            <ac:grpSpMk id="15152" creationId="{920701E5-CB08-4217-ACA3-DE3EB854DE24}"/>
          </ac:grpSpMkLst>
        </pc:grpChg>
        <pc:graphicFrameChg chg="mod modGraphic">
          <ac:chgData name="EVELYNSM.YONG" userId="S::evelynsm.yong_gmail.com#ext#@risebcg.onmicrosoft.com::67a27a72-2420-4d38-b745-316a53f4b99a" providerId="AD" clId="Web-{E24B95FD-1DFE-4B69-A5CF-BB3FE575966C}" dt="2022-01-12T09:15:29.400" v="2083" actId="20577"/>
          <ac:graphicFrameMkLst>
            <pc:docMk/>
            <pc:sldMk cId="3391215681" sldId="339"/>
            <ac:graphicFrameMk id="28" creationId="{9D58B7B4-DE29-4DDF-BB8A-729D2B705659}"/>
          </ac:graphicFrameMkLst>
        </pc:graphicFrameChg>
        <pc:picChg chg="mod">
          <ac:chgData name="EVELYNSM.YONG" userId="S::evelynsm.yong_gmail.com#ext#@risebcg.onmicrosoft.com::67a27a72-2420-4d38-b745-316a53f4b99a" providerId="AD" clId="Web-{E24B95FD-1DFE-4B69-A5CF-BB3FE575966C}" dt="2022-01-12T09:14:39.100" v="2037" actId="1076"/>
          <ac:picMkLst>
            <pc:docMk/>
            <pc:sldMk cId="3391215681" sldId="339"/>
            <ac:picMk id="107" creationId="{02601E91-3DEE-4781-ACC9-2A3154DCC85D}"/>
          </ac:picMkLst>
        </pc:picChg>
        <pc:picChg chg="mod">
          <ac:chgData name="EVELYNSM.YONG" userId="S::evelynsm.yong_gmail.com#ext#@risebcg.onmicrosoft.com::67a27a72-2420-4d38-b745-316a53f4b99a" providerId="AD" clId="Web-{E24B95FD-1DFE-4B69-A5CF-BB3FE575966C}" dt="2022-01-12T09:14:03.723" v="2021" actId="1076"/>
          <ac:picMkLst>
            <pc:docMk/>
            <pc:sldMk cId="3391215681" sldId="339"/>
            <ac:picMk id="108" creationId="{590458A9-D7D6-4978-B569-22D281AE5CF2}"/>
          </ac:picMkLst>
        </pc:picChg>
        <pc:picChg chg="mod">
          <ac:chgData name="EVELYNSM.YONG" userId="S::evelynsm.yong_gmail.com#ext#@risebcg.onmicrosoft.com::67a27a72-2420-4d38-b745-316a53f4b99a" providerId="AD" clId="Web-{E24B95FD-1DFE-4B69-A5CF-BB3FE575966C}" dt="2022-01-12T07:49:42.508" v="210" actId="1076"/>
          <ac:picMkLst>
            <pc:docMk/>
            <pc:sldMk cId="3391215681" sldId="339"/>
            <ac:picMk id="127" creationId="{50C2EFDE-AE92-48A3-8F2F-DEC4BC518951}"/>
          </ac:picMkLst>
        </pc:picChg>
        <pc:picChg chg="del mod">
          <ac:chgData name="EVELYNSM.YONG" userId="S::evelynsm.yong_gmail.com#ext#@risebcg.onmicrosoft.com::67a27a72-2420-4d38-b745-316a53f4b99a" providerId="AD" clId="Web-{E24B95FD-1DFE-4B69-A5CF-BB3FE575966C}" dt="2022-01-12T08:26:53.099" v="1640"/>
          <ac:picMkLst>
            <pc:docMk/>
            <pc:sldMk cId="3391215681" sldId="339"/>
            <ac:picMk id="1727" creationId="{4F4925B4-226E-4CE5-9A48-DF473BE5B5F7}"/>
          </ac:picMkLst>
        </pc:picChg>
        <pc:picChg chg="mod">
          <ac:chgData name="EVELYNSM.YONG" userId="S::evelynsm.yong_gmail.com#ext#@risebcg.onmicrosoft.com::67a27a72-2420-4d38-b745-316a53f4b99a" providerId="AD" clId="Web-{E24B95FD-1DFE-4B69-A5CF-BB3FE575966C}" dt="2022-01-12T09:11:17.948" v="1956" actId="1076"/>
          <ac:picMkLst>
            <pc:docMk/>
            <pc:sldMk cId="3391215681" sldId="339"/>
            <ac:picMk id="5328" creationId="{79187648-B5C6-4EDC-88C1-489201FB6DA0}"/>
          </ac:picMkLst>
        </pc:picChg>
        <pc:picChg chg="del mod">
          <ac:chgData name="EVELYNSM.YONG" userId="S::evelynsm.yong_gmail.com#ext#@risebcg.onmicrosoft.com::67a27a72-2420-4d38-b745-316a53f4b99a" providerId="AD" clId="Web-{E24B95FD-1DFE-4B69-A5CF-BB3FE575966C}" dt="2022-01-12T08:15:03.482" v="1402"/>
          <ac:picMkLst>
            <pc:docMk/>
            <pc:sldMk cId="3391215681" sldId="339"/>
            <ac:picMk id="9831" creationId="{166FEF12-DB29-4B45-8A48-6A11A089403F}"/>
          </ac:picMkLst>
        </pc:picChg>
        <pc:picChg chg="mod">
          <ac:chgData name="EVELYNSM.YONG" userId="S::evelynsm.yong_gmail.com#ext#@risebcg.onmicrosoft.com::67a27a72-2420-4d38-b745-316a53f4b99a" providerId="AD" clId="Web-{E24B95FD-1DFE-4B69-A5CF-BB3FE575966C}" dt="2022-01-12T08:27:18.241" v="1644" actId="1076"/>
          <ac:picMkLst>
            <pc:docMk/>
            <pc:sldMk cId="3391215681" sldId="339"/>
            <ac:picMk id="15150" creationId="{58639344-8BF3-4E6C-A81D-02B51D5DB36F}"/>
          </ac:picMkLst>
        </pc:picChg>
      </pc:sldChg>
      <pc:sldChg chg="delSp modNotes">
        <pc:chgData name="EVELYNSM.YONG" userId="S::evelynsm.yong_gmail.com#ext#@risebcg.onmicrosoft.com::67a27a72-2420-4d38-b745-316a53f4b99a" providerId="AD" clId="Web-{E24B95FD-1DFE-4B69-A5CF-BB3FE575966C}" dt="2022-01-12T08:49:16.564" v="1885"/>
        <pc:sldMkLst>
          <pc:docMk/>
          <pc:sldMk cId="3531645893" sldId="360"/>
        </pc:sldMkLst>
        <pc:spChg chg="del">
          <ac:chgData name="EVELYNSM.YONG" userId="S::evelynsm.yong_gmail.com#ext#@risebcg.onmicrosoft.com::67a27a72-2420-4d38-b745-316a53f4b99a" providerId="AD" clId="Web-{E24B95FD-1DFE-4B69-A5CF-BB3FE575966C}" dt="2022-01-12T08:49:16.564" v="1885"/>
          <ac:spMkLst>
            <pc:docMk/>
            <pc:sldMk cId="3531645893" sldId="360"/>
            <ac:spMk id="9" creationId="{E3C0B427-9E9D-47EC-AFD8-3D8F22D59FE9}"/>
          </ac:spMkLst>
        </pc:spChg>
      </pc:sldChg>
      <pc:sldChg chg="modSp">
        <pc:chgData name="EVELYNSM.YONG" userId="S::evelynsm.yong_gmail.com#ext#@risebcg.onmicrosoft.com::67a27a72-2420-4d38-b745-316a53f4b99a" providerId="AD" clId="Web-{E24B95FD-1DFE-4B69-A5CF-BB3FE575966C}" dt="2022-01-12T08:28:37.933" v="1660" actId="20577"/>
        <pc:sldMkLst>
          <pc:docMk/>
          <pc:sldMk cId="531825606" sldId="383"/>
        </pc:sldMkLst>
        <pc:spChg chg="mod">
          <ac:chgData name="EVELYNSM.YONG" userId="S::evelynsm.yong_gmail.com#ext#@risebcg.onmicrosoft.com::67a27a72-2420-4d38-b745-316a53f4b99a" providerId="AD" clId="Web-{E24B95FD-1DFE-4B69-A5CF-BB3FE575966C}" dt="2022-01-12T08:28:37.933" v="1660" actId="20577"/>
          <ac:spMkLst>
            <pc:docMk/>
            <pc:sldMk cId="531825606" sldId="383"/>
            <ac:spMk id="3" creationId="{9771EDC6-5C2F-4F03-A28A-6F11306CF575}"/>
          </ac:spMkLst>
        </pc:spChg>
        <pc:spChg chg="mod">
          <ac:chgData name="EVELYNSM.YONG" userId="S::evelynsm.yong_gmail.com#ext#@risebcg.onmicrosoft.com::67a27a72-2420-4d38-b745-316a53f4b99a" providerId="AD" clId="Web-{E24B95FD-1DFE-4B69-A5CF-BB3FE575966C}" dt="2022-01-12T08:28:12.901" v="1652" actId="1076"/>
          <ac:spMkLst>
            <pc:docMk/>
            <pc:sldMk cId="531825606" sldId="383"/>
            <ac:spMk id="6" creationId="{761B91DD-2C3B-47A2-8990-376057A7535F}"/>
          </ac:spMkLst>
        </pc:spChg>
      </pc:sldChg>
      <pc:sldChg chg="modSp modNotes">
        <pc:chgData name="EVELYNSM.YONG" userId="S::evelynsm.yong_gmail.com#ext#@risebcg.onmicrosoft.com::67a27a72-2420-4d38-b745-316a53f4b99a" providerId="AD" clId="Web-{E24B95FD-1DFE-4B69-A5CF-BB3FE575966C}" dt="2022-01-12T08:29:48.562" v="1664" actId="14100"/>
        <pc:sldMkLst>
          <pc:docMk/>
          <pc:sldMk cId="59737257" sldId="391"/>
        </pc:sldMkLst>
        <pc:spChg chg="mod">
          <ac:chgData name="EVELYNSM.YONG" userId="S::evelynsm.yong_gmail.com#ext#@risebcg.onmicrosoft.com::67a27a72-2420-4d38-b745-316a53f4b99a" providerId="AD" clId="Web-{E24B95FD-1DFE-4B69-A5CF-BB3FE575966C}" dt="2022-01-12T08:29:48.562" v="1664" actId="14100"/>
          <ac:spMkLst>
            <pc:docMk/>
            <pc:sldMk cId="59737257" sldId="391"/>
            <ac:spMk id="160" creationId="{129EBF9C-3DCE-40EC-8CFB-1CB201B252BE}"/>
          </ac:spMkLst>
        </pc:spChg>
        <pc:spChg chg="mod">
          <ac:chgData name="EVELYNSM.YONG" userId="S::evelynsm.yong_gmail.com#ext#@risebcg.onmicrosoft.com::67a27a72-2420-4d38-b745-316a53f4b99a" providerId="AD" clId="Web-{E24B95FD-1DFE-4B69-A5CF-BB3FE575966C}" dt="2022-01-12T08:29:45.734" v="1663" actId="1076"/>
          <ac:spMkLst>
            <pc:docMk/>
            <pc:sldMk cId="59737257" sldId="391"/>
            <ac:spMk id="211" creationId="{BE8EF75F-4A8F-4CC0-B3A0-4689491D690B}"/>
          </ac:spMkLst>
        </pc:spChg>
      </pc:sldChg>
      <pc:sldChg chg="modNotes">
        <pc:chgData name="EVELYNSM.YONG" userId="S::evelynsm.yong_gmail.com#ext#@risebcg.onmicrosoft.com::67a27a72-2420-4d38-b745-316a53f4b99a" providerId="AD" clId="Web-{E24B95FD-1DFE-4B69-A5CF-BB3FE575966C}" dt="2022-01-12T08:37:44.385" v="1786"/>
        <pc:sldMkLst>
          <pc:docMk/>
          <pc:sldMk cId="1898696112" sldId="393"/>
        </pc:sldMkLst>
      </pc:sldChg>
    </pc:docChg>
  </pc:docChgLst>
  <pc:docChgLst>
    <pc:chgData name="EVELYNSM.YONG" userId="S::evelynsm.yong_gmail.com#ext#@risebcg.onmicrosoft.com::67a27a72-2420-4d38-b745-316a53f4b99a" providerId="AD" clId="Web-{42D81030-C5C2-460C-A637-800465825350}"/>
    <pc:docChg chg="modSld">
      <pc:chgData name="EVELYNSM.YONG" userId="S::evelynsm.yong_gmail.com#ext#@risebcg.onmicrosoft.com::67a27a72-2420-4d38-b745-316a53f4b99a" providerId="AD" clId="Web-{42D81030-C5C2-460C-A637-800465825350}" dt="2022-01-07T16:02:55.108" v="305" actId="1076"/>
      <pc:docMkLst>
        <pc:docMk/>
      </pc:docMkLst>
      <pc:sldChg chg="addSp modSp">
        <pc:chgData name="EVELYNSM.YONG" userId="S::evelynsm.yong_gmail.com#ext#@risebcg.onmicrosoft.com::67a27a72-2420-4d38-b745-316a53f4b99a" providerId="AD" clId="Web-{42D81030-C5C2-460C-A637-800465825350}" dt="2022-01-07T16:02:55.108" v="305" actId="1076"/>
        <pc:sldMkLst>
          <pc:docMk/>
          <pc:sldMk cId="2651815169" sldId="283"/>
        </pc:sldMkLst>
        <pc:spChg chg="mod">
          <ac:chgData name="EVELYNSM.YONG" userId="S::evelynsm.yong_gmail.com#ext#@risebcg.onmicrosoft.com::67a27a72-2420-4d38-b745-316a53f4b99a" providerId="AD" clId="Web-{42D81030-C5C2-460C-A637-800465825350}" dt="2022-01-07T16:02:45.499" v="302" actId="20577"/>
          <ac:spMkLst>
            <pc:docMk/>
            <pc:sldMk cId="2651815169" sldId="283"/>
            <ac:spMk id="4" creationId="{C3F6C5B1-254F-4FE6-BDCC-5FB9103008E3}"/>
          </ac:spMkLst>
        </pc:spChg>
        <pc:spChg chg="mod">
          <ac:chgData name="EVELYNSM.YONG" userId="S::evelynsm.yong_gmail.com#ext#@risebcg.onmicrosoft.com::67a27a72-2420-4d38-b745-316a53f4b99a" providerId="AD" clId="Web-{42D81030-C5C2-460C-A637-800465825350}" dt="2022-01-07T15:59:54.073" v="149" actId="20577"/>
          <ac:spMkLst>
            <pc:docMk/>
            <pc:sldMk cId="2651815169" sldId="283"/>
            <ac:spMk id="7" creationId="{E61FCFC1-D89A-45B3-AC51-C90F2B6D8A09}"/>
          </ac:spMkLst>
        </pc:spChg>
        <pc:picChg chg="add mod">
          <ac:chgData name="EVELYNSM.YONG" userId="S::evelynsm.yong_gmail.com#ext#@risebcg.onmicrosoft.com::67a27a72-2420-4d38-b745-316a53f4b99a" providerId="AD" clId="Web-{42D81030-C5C2-460C-A637-800465825350}" dt="2022-01-07T16:02:55.108" v="305" actId="1076"/>
          <ac:picMkLst>
            <pc:docMk/>
            <pc:sldMk cId="2651815169" sldId="283"/>
            <ac:picMk id="3" creationId="{08FA628E-AD39-4DCF-A5CF-78CFA592FB2B}"/>
          </ac:picMkLst>
        </pc:picChg>
      </pc:sldChg>
      <pc:sldChg chg="addSp delSp modSp">
        <pc:chgData name="EVELYNSM.YONG" userId="S::evelynsm.yong_gmail.com#ext#@risebcg.onmicrosoft.com::67a27a72-2420-4d38-b745-316a53f4b99a" providerId="AD" clId="Web-{42D81030-C5C2-460C-A637-800465825350}" dt="2022-01-07T15:59:44.745" v="147"/>
        <pc:sldMkLst>
          <pc:docMk/>
          <pc:sldMk cId="2652119032" sldId="335"/>
        </pc:sldMkLst>
        <pc:spChg chg="mod">
          <ac:chgData name="EVELYNSM.YONG" userId="S::evelynsm.yong_gmail.com#ext#@risebcg.onmicrosoft.com::67a27a72-2420-4d38-b745-316a53f4b99a" providerId="AD" clId="Web-{42D81030-C5C2-460C-A637-800465825350}" dt="2022-01-07T15:59:25.885" v="142" actId="20577"/>
          <ac:spMkLst>
            <pc:docMk/>
            <pc:sldMk cId="2652119032" sldId="335"/>
            <ac:spMk id="9" creationId="{7E2F8E19-F56B-4CB8-9CA2-A1277727EBFD}"/>
          </ac:spMkLst>
        </pc:spChg>
        <pc:picChg chg="add del mod">
          <ac:chgData name="EVELYNSM.YONG" userId="S::evelynsm.yong_gmail.com#ext#@risebcg.onmicrosoft.com::67a27a72-2420-4d38-b745-316a53f4b99a" providerId="AD" clId="Web-{42D81030-C5C2-460C-A637-800465825350}" dt="2022-01-07T15:59:44.745" v="147"/>
          <ac:picMkLst>
            <pc:docMk/>
            <pc:sldMk cId="2652119032" sldId="335"/>
            <ac:picMk id="11" creationId="{21FEB314-45CB-4638-830C-4B44E32C1484}"/>
          </ac:picMkLst>
        </pc:picChg>
      </pc:sldChg>
    </pc:docChg>
  </pc:docChgLst>
  <pc:docChgLst>
    <pc:chgData name="COSMOSFREN" userId="S::cosmosfren_yahoo.com#ext#@risebcg.onmicrosoft.com::5462f5f4-f618-47aa-abd8-fd504e002570" providerId="AD" clId="Web-{35D5487B-20F6-4690-B7B5-A0BABE93271B}"/>
    <pc:docChg chg="modSld">
      <pc:chgData name="COSMOSFREN" userId="S::cosmosfren_yahoo.com#ext#@risebcg.onmicrosoft.com::5462f5f4-f618-47aa-abd8-fd504e002570" providerId="AD" clId="Web-{35D5487B-20F6-4690-B7B5-A0BABE93271B}" dt="2022-01-10T01:14:11.365" v="459"/>
      <pc:docMkLst>
        <pc:docMk/>
      </pc:docMkLst>
      <pc:sldChg chg="modSp modNotes">
        <pc:chgData name="COSMOSFREN" userId="S::cosmosfren_yahoo.com#ext#@risebcg.onmicrosoft.com::5462f5f4-f618-47aa-abd8-fd504e002570" providerId="AD" clId="Web-{35D5487B-20F6-4690-B7B5-A0BABE93271B}" dt="2022-01-10T01:12:14.737" v="231"/>
        <pc:sldMkLst>
          <pc:docMk/>
          <pc:sldMk cId="2067521295" sldId="323"/>
        </pc:sldMkLst>
        <pc:spChg chg="mod">
          <ac:chgData name="COSMOSFREN" userId="S::cosmosfren_yahoo.com#ext#@risebcg.onmicrosoft.com::5462f5f4-f618-47aa-abd8-fd504e002570" providerId="AD" clId="Web-{35D5487B-20F6-4690-B7B5-A0BABE93271B}" dt="2022-01-10T01:12:04.596" v="225" actId="20577"/>
          <ac:spMkLst>
            <pc:docMk/>
            <pc:sldMk cId="2067521295" sldId="323"/>
            <ac:spMk id="3" creationId="{FA2505BE-1A50-4419-9F3A-26EF66EDBF4F}"/>
          </ac:spMkLst>
        </pc:spChg>
      </pc:sldChg>
      <pc:sldChg chg="modNotes">
        <pc:chgData name="COSMOSFREN" userId="S::cosmosfren_yahoo.com#ext#@risebcg.onmicrosoft.com::5462f5f4-f618-47aa-abd8-fd504e002570" providerId="AD" clId="Web-{35D5487B-20F6-4690-B7B5-A0BABE93271B}" dt="2022-01-10T01:14:11.365" v="459"/>
        <pc:sldMkLst>
          <pc:docMk/>
          <pc:sldMk cId="3666302761" sldId="324"/>
        </pc:sldMkLst>
      </pc:sldChg>
      <pc:sldChg chg="modNotes">
        <pc:chgData name="COSMOSFREN" userId="S::cosmosfren_yahoo.com#ext#@risebcg.onmicrosoft.com::5462f5f4-f618-47aa-abd8-fd504e002570" providerId="AD" clId="Web-{35D5487B-20F6-4690-B7B5-A0BABE93271B}" dt="2022-01-10T01:10:35.828" v="203"/>
        <pc:sldMkLst>
          <pc:docMk/>
          <pc:sldMk cId="416007632" sldId="327"/>
        </pc:sldMkLst>
      </pc:sldChg>
    </pc:docChg>
  </pc:docChgLst>
  <pc:docChgLst>
    <pc:chgData name="EVELYNSM.YONG" userId="S::evelynsm.yong_gmail.com#ext#@risebcg.onmicrosoft.com::67a27a72-2420-4d38-b745-316a53f4b99a" providerId="AD" clId="Web-{EBBE918A-CD43-47AE-9637-5ACE8C97E877}"/>
    <pc:docChg chg="addSld delSld modSld sldOrd">
      <pc:chgData name="EVELYNSM.YONG" userId="S::evelynsm.yong_gmail.com#ext#@risebcg.onmicrosoft.com::67a27a72-2420-4d38-b745-316a53f4b99a" providerId="AD" clId="Web-{EBBE918A-CD43-47AE-9637-5ACE8C97E877}" dt="2022-01-07T12:56:47.011" v="368" actId="14100"/>
      <pc:docMkLst>
        <pc:docMk/>
      </pc:docMkLst>
      <pc:sldChg chg="addSp modSp">
        <pc:chgData name="EVELYNSM.YONG" userId="S::evelynsm.yong_gmail.com#ext#@risebcg.onmicrosoft.com::67a27a72-2420-4d38-b745-316a53f4b99a" providerId="AD" clId="Web-{EBBE918A-CD43-47AE-9637-5ACE8C97E877}" dt="2022-01-07T12:29:39.295" v="82" actId="1076"/>
        <pc:sldMkLst>
          <pc:docMk/>
          <pc:sldMk cId="873372039" sldId="275"/>
        </pc:sldMkLst>
        <pc:picChg chg="add mod">
          <ac:chgData name="EVELYNSM.YONG" userId="S::evelynsm.yong_gmail.com#ext#@risebcg.onmicrosoft.com::67a27a72-2420-4d38-b745-316a53f4b99a" providerId="AD" clId="Web-{EBBE918A-CD43-47AE-9637-5ACE8C97E877}" dt="2022-01-07T12:29:39.295" v="82" actId="1076"/>
          <ac:picMkLst>
            <pc:docMk/>
            <pc:sldMk cId="873372039" sldId="275"/>
            <ac:picMk id="6" creationId="{10A24290-E732-4617-AA59-875D328AC0B4}"/>
          </ac:picMkLst>
        </pc:picChg>
      </pc:sldChg>
      <pc:sldChg chg="addSp delSp modSp">
        <pc:chgData name="EVELYNSM.YONG" userId="S::evelynsm.yong_gmail.com#ext#@risebcg.onmicrosoft.com::67a27a72-2420-4d38-b745-316a53f4b99a" providerId="AD" clId="Web-{EBBE918A-CD43-47AE-9637-5ACE8C97E877}" dt="2022-01-07T12:41:12.682" v="236" actId="1076"/>
        <pc:sldMkLst>
          <pc:docMk/>
          <pc:sldMk cId="2256265757" sldId="315"/>
        </pc:sldMkLst>
        <pc:spChg chg="del mod">
          <ac:chgData name="EVELYNSM.YONG" userId="S::evelynsm.yong_gmail.com#ext#@risebcg.onmicrosoft.com::67a27a72-2420-4d38-b745-316a53f4b99a" providerId="AD" clId="Web-{EBBE918A-CD43-47AE-9637-5ACE8C97E877}" dt="2022-01-07T12:33:58.971" v="136"/>
          <ac:spMkLst>
            <pc:docMk/>
            <pc:sldMk cId="2256265757" sldId="315"/>
            <ac:spMk id="2" creationId="{1CAEE4F4-60D4-46CA-A79F-1CD22235EEA0}"/>
          </ac:spMkLst>
        </pc:spChg>
        <pc:spChg chg="mod">
          <ac:chgData name="EVELYNSM.YONG" userId="S::evelynsm.yong_gmail.com#ext#@risebcg.onmicrosoft.com::67a27a72-2420-4d38-b745-316a53f4b99a" providerId="AD" clId="Web-{EBBE918A-CD43-47AE-9637-5ACE8C97E877}" dt="2022-01-07T12:36:10.130" v="184" actId="14100"/>
          <ac:spMkLst>
            <pc:docMk/>
            <pc:sldMk cId="2256265757" sldId="315"/>
            <ac:spMk id="3" creationId="{3AAD55FA-63B7-4DBA-8DC0-293DEF7C309C}"/>
          </ac:spMkLst>
        </pc:spChg>
        <pc:spChg chg="add del">
          <ac:chgData name="EVELYNSM.YONG" userId="S::evelynsm.yong_gmail.com#ext#@risebcg.onmicrosoft.com::67a27a72-2420-4d38-b745-316a53f4b99a" providerId="AD" clId="Web-{EBBE918A-CD43-47AE-9637-5ACE8C97E877}" dt="2022-01-07T12:33:50.987" v="133"/>
          <ac:spMkLst>
            <pc:docMk/>
            <pc:sldMk cId="2256265757" sldId="315"/>
            <ac:spMk id="5" creationId="{BC548F5D-22A4-4AE1-AAE3-81EFDF7C85DD}"/>
          </ac:spMkLst>
        </pc:spChg>
        <pc:spChg chg="add del mod">
          <ac:chgData name="EVELYNSM.YONG" userId="S::evelynsm.yong_gmail.com#ext#@risebcg.onmicrosoft.com::67a27a72-2420-4d38-b745-316a53f4b99a" providerId="AD" clId="Web-{EBBE918A-CD43-47AE-9637-5ACE8C97E877}" dt="2022-01-07T12:34:04.393" v="140"/>
          <ac:spMkLst>
            <pc:docMk/>
            <pc:sldMk cId="2256265757" sldId="315"/>
            <ac:spMk id="7" creationId="{69F09AC7-6E7E-4BD5-98BE-95F8A10BB903}"/>
          </ac:spMkLst>
        </pc:spChg>
        <pc:spChg chg="add del mod">
          <ac:chgData name="EVELYNSM.YONG" userId="S::evelynsm.yong_gmail.com#ext#@risebcg.onmicrosoft.com::67a27a72-2420-4d38-b745-316a53f4b99a" providerId="AD" clId="Web-{EBBE918A-CD43-47AE-9637-5ACE8C97E877}" dt="2022-01-07T12:35:47.442" v="165"/>
          <ac:spMkLst>
            <pc:docMk/>
            <pc:sldMk cId="2256265757" sldId="315"/>
            <ac:spMk id="9" creationId="{AEF3B6E3-8290-43AD-A524-6723818C18A3}"/>
          </ac:spMkLst>
        </pc:spChg>
        <pc:spChg chg="add del">
          <ac:chgData name="EVELYNSM.YONG" userId="S::evelynsm.yong_gmail.com#ext#@risebcg.onmicrosoft.com::67a27a72-2420-4d38-b745-316a53f4b99a" providerId="AD" clId="Web-{EBBE918A-CD43-47AE-9637-5ACE8C97E877}" dt="2022-01-07T12:35:35.489" v="162"/>
          <ac:spMkLst>
            <pc:docMk/>
            <pc:sldMk cId="2256265757" sldId="315"/>
            <ac:spMk id="11" creationId="{30DA594D-7EAE-4555-8BD9-7C9A9AFC72A5}"/>
          </ac:spMkLst>
        </pc:spChg>
        <pc:spChg chg="add del">
          <ac:chgData name="EVELYNSM.YONG" userId="S::evelynsm.yong_gmail.com#ext#@risebcg.onmicrosoft.com::67a27a72-2420-4d38-b745-316a53f4b99a" providerId="AD" clId="Web-{EBBE918A-CD43-47AE-9637-5ACE8C97E877}" dt="2022-01-07T12:35:45.505" v="164"/>
          <ac:spMkLst>
            <pc:docMk/>
            <pc:sldMk cId="2256265757" sldId="315"/>
            <ac:spMk id="13" creationId="{34F96AA4-2FEE-46C5-A239-C854225AE188}"/>
          </ac:spMkLst>
        </pc:spChg>
        <pc:spChg chg="add mod">
          <ac:chgData name="EVELYNSM.YONG" userId="S::evelynsm.yong_gmail.com#ext#@risebcg.onmicrosoft.com::67a27a72-2420-4d38-b745-316a53f4b99a" providerId="AD" clId="Web-{EBBE918A-CD43-47AE-9637-5ACE8C97E877}" dt="2022-01-07T12:40:25.260" v="227" actId="20577"/>
          <ac:spMkLst>
            <pc:docMk/>
            <pc:sldMk cId="2256265757" sldId="315"/>
            <ac:spMk id="15" creationId="{16793C5A-1FE2-4545-A578-A16C2B6C45C4}"/>
          </ac:spMkLst>
        </pc:spChg>
        <pc:spChg chg="add mod">
          <ac:chgData name="EVELYNSM.YONG" userId="S::evelynsm.yong_gmail.com#ext#@risebcg.onmicrosoft.com::67a27a72-2420-4d38-b745-316a53f4b99a" providerId="AD" clId="Web-{EBBE918A-CD43-47AE-9637-5ACE8C97E877}" dt="2022-01-07T12:40:02.275" v="218" actId="20577"/>
          <ac:spMkLst>
            <pc:docMk/>
            <pc:sldMk cId="2256265757" sldId="315"/>
            <ac:spMk id="17" creationId="{BADD6901-4349-466A-837B-49CC2A6BB764}"/>
          </ac:spMkLst>
        </pc:spChg>
        <pc:graphicFrameChg chg="add mod modGraphic">
          <ac:chgData name="EVELYNSM.YONG" userId="S::evelynsm.yong_gmail.com#ext#@risebcg.onmicrosoft.com::67a27a72-2420-4d38-b745-316a53f4b99a" providerId="AD" clId="Web-{EBBE918A-CD43-47AE-9637-5ACE8C97E877}" dt="2022-01-07T12:40:30.447" v="228" actId="14100"/>
          <ac:graphicFrameMkLst>
            <pc:docMk/>
            <pc:sldMk cId="2256265757" sldId="315"/>
            <ac:graphicFrameMk id="18" creationId="{2289CFB1-4EE4-43EC-A8B5-4E5FC402B3C5}"/>
          </ac:graphicFrameMkLst>
        </pc:graphicFrameChg>
        <pc:picChg chg="add mod">
          <ac:chgData name="EVELYNSM.YONG" userId="S::evelynsm.yong_gmail.com#ext#@risebcg.onmicrosoft.com::67a27a72-2420-4d38-b745-316a53f4b99a" providerId="AD" clId="Web-{EBBE918A-CD43-47AE-9637-5ACE8C97E877}" dt="2022-01-07T12:41:12.682" v="236" actId="1076"/>
          <ac:picMkLst>
            <pc:docMk/>
            <pc:sldMk cId="2256265757" sldId="315"/>
            <ac:picMk id="60" creationId="{30AA7644-B695-49AF-A4E1-C86E1691F805}"/>
          </ac:picMkLst>
        </pc:picChg>
      </pc:sldChg>
      <pc:sldChg chg="modSp">
        <pc:chgData name="EVELYNSM.YONG" userId="S::evelynsm.yong_gmail.com#ext#@risebcg.onmicrosoft.com::67a27a72-2420-4d38-b745-316a53f4b99a" providerId="AD" clId="Web-{EBBE918A-CD43-47AE-9637-5ACE8C97E877}" dt="2022-01-07T12:37:55.429" v="202" actId="20577"/>
        <pc:sldMkLst>
          <pc:docMk/>
          <pc:sldMk cId="2761597836" sldId="317"/>
        </pc:sldMkLst>
        <pc:spChg chg="mod">
          <ac:chgData name="EVELYNSM.YONG" userId="S::evelynsm.yong_gmail.com#ext#@risebcg.onmicrosoft.com::67a27a72-2420-4d38-b745-316a53f4b99a" providerId="AD" clId="Web-{EBBE918A-CD43-47AE-9637-5ACE8C97E877}" dt="2022-01-07T12:37:55.429" v="202" actId="20577"/>
          <ac:spMkLst>
            <pc:docMk/>
            <pc:sldMk cId="2761597836" sldId="317"/>
            <ac:spMk id="3" creationId="{3AAD55FA-63B7-4DBA-8DC0-293DEF7C309C}"/>
          </ac:spMkLst>
        </pc:spChg>
      </pc:sldChg>
      <pc:sldChg chg="addSp delSp modSp">
        <pc:chgData name="EVELYNSM.YONG" userId="S::evelynsm.yong_gmail.com#ext#@risebcg.onmicrosoft.com::67a27a72-2420-4d38-b745-316a53f4b99a" providerId="AD" clId="Web-{EBBE918A-CD43-47AE-9637-5ACE8C97E877}" dt="2022-01-07T12:45:35.640" v="263"/>
        <pc:sldMkLst>
          <pc:docMk/>
          <pc:sldMk cId="4084366951" sldId="318"/>
        </pc:sldMkLst>
        <pc:spChg chg="add mod">
          <ac:chgData name="EVELYNSM.YONG" userId="S::evelynsm.yong_gmail.com#ext#@risebcg.onmicrosoft.com::67a27a72-2420-4d38-b745-316a53f4b99a" providerId="AD" clId="Web-{EBBE918A-CD43-47AE-9637-5ACE8C97E877}" dt="2022-01-07T12:41:54.542" v="251" actId="20577"/>
          <ac:spMkLst>
            <pc:docMk/>
            <pc:sldMk cId="4084366951" sldId="318"/>
            <ac:spMk id="6" creationId="{CF9E7E23-E6AE-4EAD-BC81-7763A524FABE}"/>
          </ac:spMkLst>
        </pc:spChg>
        <pc:grpChg chg="add">
          <ac:chgData name="EVELYNSM.YONG" userId="S::evelynsm.yong_gmail.com#ext#@risebcg.onmicrosoft.com::67a27a72-2420-4d38-b745-316a53f4b99a" providerId="AD" clId="Web-{EBBE918A-CD43-47AE-9637-5ACE8C97E877}" dt="2022-01-07T12:45:35.640" v="263"/>
          <ac:grpSpMkLst>
            <pc:docMk/>
            <pc:sldMk cId="4084366951" sldId="318"/>
            <ac:grpSpMk id="15" creationId="{55FFC18C-8093-41B4-9A1B-E8868316B7F3}"/>
          </ac:grpSpMkLst>
        </pc:grpChg>
        <pc:picChg chg="add del mod">
          <ac:chgData name="EVELYNSM.YONG" userId="S::evelynsm.yong_gmail.com#ext#@risebcg.onmicrosoft.com::67a27a72-2420-4d38-b745-316a53f4b99a" providerId="AD" clId="Web-{EBBE918A-CD43-47AE-9637-5ACE8C97E877}" dt="2022-01-07T12:41:00.135" v="232"/>
          <ac:picMkLst>
            <pc:docMk/>
            <pc:sldMk cId="4084366951" sldId="318"/>
            <ac:picMk id="8" creationId="{4679ED56-C946-4E6E-92C5-302D59B78B49}"/>
          </ac:picMkLst>
        </pc:picChg>
        <pc:picChg chg="add del">
          <ac:chgData name="EVELYNSM.YONG" userId="S::evelynsm.yong_gmail.com#ext#@risebcg.onmicrosoft.com::67a27a72-2420-4d38-b745-316a53f4b99a" providerId="AD" clId="Web-{EBBE918A-CD43-47AE-9637-5ACE8C97E877}" dt="2022-01-07T12:41:58.511" v="255"/>
          <ac:picMkLst>
            <pc:docMk/>
            <pc:sldMk cId="4084366951" sldId="318"/>
            <ac:picMk id="10" creationId="{8E3248CC-8B17-4C3E-AD2C-A36B9B332856}"/>
          </ac:picMkLst>
        </pc:picChg>
        <pc:picChg chg="add mod">
          <ac:chgData name="EVELYNSM.YONG" userId="S::evelynsm.yong_gmail.com#ext#@risebcg.onmicrosoft.com::67a27a72-2420-4d38-b745-316a53f4b99a" providerId="AD" clId="Web-{EBBE918A-CD43-47AE-9637-5ACE8C97E877}" dt="2022-01-07T12:42:05.355" v="258" actId="14100"/>
          <ac:picMkLst>
            <pc:docMk/>
            <pc:sldMk cId="4084366951" sldId="318"/>
            <ac:picMk id="12" creationId="{DFD7E0DD-9A8A-4E18-BA95-743EB51DCCD2}"/>
          </ac:picMkLst>
        </pc:picChg>
        <pc:picChg chg="add mod">
          <ac:chgData name="EVELYNSM.YONG" userId="S::evelynsm.yong_gmail.com#ext#@risebcg.onmicrosoft.com::67a27a72-2420-4d38-b745-316a53f4b99a" providerId="AD" clId="Web-{EBBE918A-CD43-47AE-9637-5ACE8C97E877}" dt="2022-01-07T12:44:45.639" v="262" actId="1076"/>
          <ac:picMkLst>
            <pc:docMk/>
            <pc:sldMk cId="4084366951" sldId="318"/>
            <ac:picMk id="14" creationId="{9E82A69E-4635-4809-8566-FFBDBAB122DE}"/>
          </ac:picMkLst>
        </pc:picChg>
      </pc:sldChg>
      <pc:sldChg chg="ord">
        <pc:chgData name="EVELYNSM.YONG" userId="S::evelynsm.yong_gmail.com#ext#@risebcg.onmicrosoft.com::67a27a72-2420-4d38-b745-316a53f4b99a" providerId="AD" clId="Web-{EBBE918A-CD43-47AE-9637-5ACE8C97E877}" dt="2022-01-07T12:29:31.232" v="81"/>
        <pc:sldMkLst>
          <pc:docMk/>
          <pc:sldMk cId="1791060006" sldId="319"/>
        </pc:sldMkLst>
      </pc:sldChg>
      <pc:sldChg chg="addSp delSp modSp">
        <pc:chgData name="EVELYNSM.YONG" userId="S::evelynsm.yong_gmail.com#ext#@risebcg.onmicrosoft.com::67a27a72-2420-4d38-b745-316a53f4b99a" providerId="AD" clId="Web-{EBBE918A-CD43-47AE-9637-5ACE8C97E877}" dt="2022-01-07T12:56:28.245" v="362" actId="14100"/>
        <pc:sldMkLst>
          <pc:docMk/>
          <pc:sldMk cId="3666302761" sldId="324"/>
        </pc:sldMkLst>
        <pc:spChg chg="add del mod">
          <ac:chgData name="EVELYNSM.YONG" userId="S::evelynsm.yong_gmail.com#ext#@risebcg.onmicrosoft.com::67a27a72-2420-4d38-b745-316a53f4b99a" providerId="AD" clId="Web-{EBBE918A-CD43-47AE-9637-5ACE8C97E877}" dt="2022-01-07T12:56:21.011" v="359"/>
          <ac:spMkLst>
            <pc:docMk/>
            <pc:sldMk cId="3666302761" sldId="324"/>
            <ac:spMk id="2" creationId="{98B2AA84-8D26-48D4-ACF1-F588A4D90ECE}"/>
          </ac:spMkLst>
        </pc:spChg>
        <pc:spChg chg="del mod">
          <ac:chgData name="EVELYNSM.YONG" userId="S::evelynsm.yong_gmail.com#ext#@risebcg.onmicrosoft.com::67a27a72-2420-4d38-b745-316a53f4b99a" providerId="AD" clId="Web-{EBBE918A-CD43-47AE-9637-5ACE8C97E877}" dt="2022-01-07T12:34:22.878" v="143"/>
          <ac:spMkLst>
            <pc:docMk/>
            <pc:sldMk cId="3666302761" sldId="324"/>
            <ac:spMk id="2" creationId="{ED14AA63-35D8-4136-8B2F-DE1837A583A2}"/>
          </ac:spMkLst>
        </pc:spChg>
        <pc:spChg chg="del mod">
          <ac:chgData name="EVELYNSM.YONG" userId="S::evelynsm.yong_gmail.com#ext#@risebcg.onmicrosoft.com::67a27a72-2420-4d38-b745-316a53f4b99a" providerId="AD" clId="Web-{EBBE918A-CD43-47AE-9637-5ACE8C97E877}" dt="2022-01-07T12:56:24.277" v="361"/>
          <ac:spMkLst>
            <pc:docMk/>
            <pc:sldMk cId="3666302761" sldId="324"/>
            <ac:spMk id="3" creationId="{586DE4D9-4048-428A-A0B8-BE3F71D34991}"/>
          </ac:spMkLst>
        </pc:spChg>
        <pc:spChg chg="mod">
          <ac:chgData name="EVELYNSM.YONG" userId="S::evelynsm.yong_gmail.com#ext#@risebcg.onmicrosoft.com::67a27a72-2420-4d38-b745-316a53f4b99a" providerId="AD" clId="Web-{EBBE918A-CD43-47AE-9637-5ACE8C97E877}" dt="2022-01-07T12:20:12.926" v="38" actId="1076"/>
          <ac:spMkLst>
            <pc:docMk/>
            <pc:sldMk cId="3666302761" sldId="324"/>
            <ac:spMk id="4" creationId="{19708EDC-3A90-4EC0-A789-51301070BDC6}"/>
          </ac:spMkLst>
        </pc:spChg>
        <pc:spChg chg="add mod">
          <ac:chgData name="EVELYNSM.YONG" userId="S::evelynsm.yong_gmail.com#ext#@risebcg.onmicrosoft.com::67a27a72-2420-4d38-b745-316a53f4b99a" providerId="AD" clId="Web-{EBBE918A-CD43-47AE-9637-5ACE8C97E877}" dt="2022-01-07T12:35:25.270" v="160" actId="20577"/>
          <ac:spMkLst>
            <pc:docMk/>
            <pc:sldMk cId="3666302761" sldId="324"/>
            <ac:spMk id="7" creationId="{5040411B-0A54-429E-94AB-0F4DA7C1917E}"/>
          </ac:spMkLst>
        </pc:spChg>
        <pc:spChg chg="add del mod">
          <ac:chgData name="EVELYNSM.YONG" userId="S::evelynsm.yong_gmail.com#ext#@risebcg.onmicrosoft.com::67a27a72-2420-4d38-b745-316a53f4b99a" providerId="AD" clId="Web-{EBBE918A-CD43-47AE-9637-5ACE8C97E877}" dt="2022-01-07T12:34:32.316" v="149"/>
          <ac:spMkLst>
            <pc:docMk/>
            <pc:sldMk cId="3666302761" sldId="324"/>
            <ac:spMk id="8" creationId="{436E6BAC-2B07-462C-8383-6D40DE037140}"/>
          </ac:spMkLst>
        </pc:spChg>
        <pc:spChg chg="mod">
          <ac:chgData name="EVELYNSM.YONG" userId="S::evelynsm.yong_gmail.com#ext#@risebcg.onmicrosoft.com::67a27a72-2420-4d38-b745-316a53f4b99a" providerId="AD" clId="Web-{EBBE918A-CD43-47AE-9637-5ACE8C97E877}" dt="2022-01-07T12:36:59.584" v="194" actId="20577"/>
          <ac:spMkLst>
            <pc:docMk/>
            <pc:sldMk cId="3666302761" sldId="324"/>
            <ac:spMk id="18" creationId="{4C8E7E93-D719-4D68-AF75-84A3D92DD60C}"/>
          </ac:spMkLst>
        </pc:spChg>
        <pc:spChg chg="mod">
          <ac:chgData name="EVELYNSM.YONG" userId="S::evelynsm.yong_gmail.com#ext#@risebcg.onmicrosoft.com::67a27a72-2420-4d38-b745-316a53f4b99a" providerId="AD" clId="Web-{EBBE918A-CD43-47AE-9637-5ACE8C97E877}" dt="2022-01-07T12:56:28.245" v="362" actId="14100"/>
          <ac:spMkLst>
            <pc:docMk/>
            <pc:sldMk cId="3666302761" sldId="324"/>
            <ac:spMk id="25" creationId="{A72C66DB-3DFA-4DD0-BB16-94A4A31F5E94}"/>
          </ac:spMkLst>
        </pc:spChg>
        <pc:spChg chg="mod">
          <ac:chgData name="EVELYNSM.YONG" userId="S::evelynsm.yong_gmail.com#ext#@risebcg.onmicrosoft.com::67a27a72-2420-4d38-b745-316a53f4b99a" providerId="AD" clId="Web-{EBBE918A-CD43-47AE-9637-5ACE8C97E877}" dt="2022-01-07T12:30:12.842" v="85" actId="1076"/>
          <ac:spMkLst>
            <pc:docMk/>
            <pc:sldMk cId="3666302761" sldId="324"/>
            <ac:spMk id="27" creationId="{B2BF4484-08EE-483A-BA89-BC8EDC410538}"/>
          </ac:spMkLst>
        </pc:spChg>
        <pc:picChg chg="del mod">
          <ac:chgData name="EVELYNSM.YONG" userId="S::evelynsm.yong_gmail.com#ext#@risebcg.onmicrosoft.com::67a27a72-2420-4d38-b745-316a53f4b99a" providerId="AD" clId="Web-{EBBE918A-CD43-47AE-9637-5ACE8C97E877}" dt="2022-01-07T12:50:28.130" v="308"/>
          <ac:picMkLst>
            <pc:docMk/>
            <pc:sldMk cId="3666302761" sldId="324"/>
            <ac:picMk id="5" creationId="{0DC6DA42-FA9C-46DF-89EE-4B312877E1A7}"/>
          </ac:picMkLst>
        </pc:picChg>
        <pc:picChg chg="mod">
          <ac:chgData name="EVELYNSM.YONG" userId="S::evelynsm.yong_gmail.com#ext#@risebcg.onmicrosoft.com::67a27a72-2420-4d38-b745-316a53f4b99a" providerId="AD" clId="Web-{EBBE918A-CD43-47AE-9637-5ACE8C97E877}" dt="2022-01-07T12:36:52.740" v="192" actId="1076"/>
          <ac:picMkLst>
            <pc:docMk/>
            <pc:sldMk cId="3666302761" sldId="324"/>
            <ac:picMk id="19" creationId="{34C08A26-CA1B-4581-85D4-0D95F9633BCA}"/>
          </ac:picMkLst>
        </pc:picChg>
      </pc:sldChg>
      <pc:sldChg chg="addSp delSp modSp">
        <pc:chgData name="EVELYNSM.YONG" userId="S::evelynsm.yong_gmail.com#ext#@risebcg.onmicrosoft.com::67a27a72-2420-4d38-b745-316a53f4b99a" providerId="AD" clId="Web-{EBBE918A-CD43-47AE-9637-5ACE8C97E877}" dt="2022-01-07T12:55:44.776" v="356" actId="14100"/>
        <pc:sldMkLst>
          <pc:docMk/>
          <pc:sldMk cId="2316358039" sldId="325"/>
        </pc:sldMkLst>
        <pc:spChg chg="del mod">
          <ac:chgData name="EVELYNSM.YONG" userId="S::evelynsm.yong_gmail.com#ext#@risebcg.onmicrosoft.com::67a27a72-2420-4d38-b745-316a53f4b99a" providerId="AD" clId="Web-{EBBE918A-CD43-47AE-9637-5ACE8C97E877}" dt="2022-01-07T12:32:58.049" v="123"/>
          <ac:spMkLst>
            <pc:docMk/>
            <pc:sldMk cId="2316358039" sldId="325"/>
            <ac:spMk id="2" creationId="{ED14AA63-35D8-4136-8B2F-DE1837A583A2}"/>
          </ac:spMkLst>
        </pc:spChg>
        <pc:spChg chg="del mod">
          <ac:chgData name="EVELYNSM.YONG" userId="S::evelynsm.yong_gmail.com#ext#@risebcg.onmicrosoft.com::67a27a72-2420-4d38-b745-316a53f4b99a" providerId="AD" clId="Web-{EBBE918A-CD43-47AE-9637-5ACE8C97E877}" dt="2022-01-07T12:54:34.603" v="342"/>
          <ac:spMkLst>
            <pc:docMk/>
            <pc:sldMk cId="2316358039" sldId="325"/>
            <ac:spMk id="3" creationId="{3EAAE696-94B0-42DC-B0E6-3874740CC294}"/>
          </ac:spMkLst>
        </pc:spChg>
        <pc:spChg chg="add mod">
          <ac:chgData name="EVELYNSM.YONG" userId="S::evelynsm.yong_gmail.com#ext#@risebcg.onmicrosoft.com::67a27a72-2420-4d38-b745-316a53f4b99a" providerId="AD" clId="Web-{EBBE918A-CD43-47AE-9637-5ACE8C97E877}" dt="2022-01-07T12:55:16.697" v="353" actId="14100"/>
          <ac:spMkLst>
            <pc:docMk/>
            <pc:sldMk cId="2316358039" sldId="325"/>
            <ac:spMk id="3" creationId="{424AF61A-30BE-4BE9-9F56-D2497C21C355}"/>
          </ac:spMkLst>
        </pc:spChg>
        <pc:spChg chg="add del">
          <ac:chgData name="EVELYNSM.YONG" userId="S::evelynsm.yong_gmail.com#ext#@risebcg.onmicrosoft.com::67a27a72-2420-4d38-b745-316a53f4b99a" providerId="AD" clId="Web-{EBBE918A-CD43-47AE-9637-5ACE8C97E877}" dt="2022-01-07T12:31:19.141" v="101"/>
          <ac:spMkLst>
            <pc:docMk/>
            <pc:sldMk cId="2316358039" sldId="325"/>
            <ac:spMk id="4" creationId="{A3E40BA0-991B-4576-B7A4-C0DA5FC2579C}"/>
          </ac:spMkLst>
        </pc:spChg>
        <pc:spChg chg="add mod">
          <ac:chgData name="EVELYNSM.YONG" userId="S::evelynsm.yong_gmail.com#ext#@risebcg.onmicrosoft.com::67a27a72-2420-4d38-b745-316a53f4b99a" providerId="AD" clId="Web-{EBBE918A-CD43-47AE-9637-5ACE8C97E877}" dt="2022-01-07T12:32:54.048" v="122" actId="14100"/>
          <ac:spMkLst>
            <pc:docMk/>
            <pc:sldMk cId="2316358039" sldId="325"/>
            <ac:spMk id="5" creationId="{66362E8C-07A8-4B97-87C8-091A9FDB599A}"/>
          </ac:spMkLst>
        </pc:spChg>
        <pc:spChg chg="del">
          <ac:chgData name="EVELYNSM.YONG" userId="S::evelynsm.yong_gmail.com#ext#@risebcg.onmicrosoft.com::67a27a72-2420-4d38-b745-316a53f4b99a" providerId="AD" clId="Web-{EBBE918A-CD43-47AE-9637-5ACE8C97E877}" dt="2022-01-07T12:13:42.856" v="10"/>
          <ac:spMkLst>
            <pc:docMk/>
            <pc:sldMk cId="2316358039" sldId="325"/>
            <ac:spMk id="7" creationId="{F3057648-3AD9-401B-8B8E-890A4F0B8BB8}"/>
          </ac:spMkLst>
        </pc:spChg>
        <pc:spChg chg="add del mod">
          <ac:chgData name="EVELYNSM.YONG" userId="S::evelynsm.yong_gmail.com#ext#@risebcg.onmicrosoft.com::67a27a72-2420-4d38-b745-316a53f4b99a" providerId="AD" clId="Web-{EBBE918A-CD43-47AE-9637-5ACE8C97E877}" dt="2022-01-07T12:33:40.393" v="130"/>
          <ac:spMkLst>
            <pc:docMk/>
            <pc:sldMk cId="2316358039" sldId="325"/>
            <ac:spMk id="10" creationId="{5ADDBDDC-0792-47A7-BC5D-13C03DA9A945}"/>
          </ac:spMkLst>
        </pc:spChg>
        <pc:spChg chg="del mod">
          <ac:chgData name="EVELYNSM.YONG" userId="S::evelynsm.yong_gmail.com#ext#@risebcg.onmicrosoft.com::67a27a72-2420-4d38-b745-316a53f4b99a" providerId="AD" clId="Web-{EBBE918A-CD43-47AE-9637-5ACE8C97E877}" dt="2022-01-07T12:49:03.628" v="289"/>
          <ac:spMkLst>
            <pc:docMk/>
            <pc:sldMk cId="2316358039" sldId="325"/>
            <ac:spMk id="11" creationId="{F659B4BD-50AD-4CA3-95ED-DEC3DABB4313}"/>
          </ac:spMkLst>
        </pc:spChg>
        <pc:spChg chg="add mod">
          <ac:chgData name="EVELYNSM.YONG" userId="S::evelynsm.yong_gmail.com#ext#@risebcg.onmicrosoft.com::67a27a72-2420-4d38-b745-316a53f4b99a" providerId="AD" clId="Web-{EBBE918A-CD43-47AE-9637-5ACE8C97E877}" dt="2022-01-07T12:53:33.789" v="328" actId="14100"/>
          <ac:spMkLst>
            <pc:docMk/>
            <pc:sldMk cId="2316358039" sldId="325"/>
            <ac:spMk id="14" creationId="{3C1C8EDA-91F1-403C-A371-164289F5FB16}"/>
          </ac:spMkLst>
        </pc:spChg>
        <pc:spChg chg="add del">
          <ac:chgData name="EVELYNSM.YONG" userId="S::evelynsm.yong_gmail.com#ext#@risebcg.onmicrosoft.com::67a27a72-2420-4d38-b745-316a53f4b99a" providerId="AD" clId="Web-{EBBE918A-CD43-47AE-9637-5ACE8C97E877}" dt="2022-01-07T12:54:00.587" v="335"/>
          <ac:spMkLst>
            <pc:docMk/>
            <pc:sldMk cId="2316358039" sldId="325"/>
            <ac:spMk id="15" creationId="{E649DBD4-55D8-4DAB-B729-9E11691B45F6}"/>
          </ac:spMkLst>
        </pc:spChg>
        <pc:spChg chg="del mod">
          <ac:chgData name="EVELYNSM.YONG" userId="S::evelynsm.yong_gmail.com#ext#@risebcg.onmicrosoft.com::67a27a72-2420-4d38-b745-316a53f4b99a" providerId="AD" clId="Web-{EBBE918A-CD43-47AE-9637-5ACE8C97E877}" dt="2022-01-07T12:49:04.894" v="291"/>
          <ac:spMkLst>
            <pc:docMk/>
            <pc:sldMk cId="2316358039" sldId="325"/>
            <ac:spMk id="16" creationId="{E9F09C74-B1ED-48F0-B094-FCB61FD07FD8}"/>
          </ac:spMkLst>
        </pc:spChg>
        <pc:spChg chg="add mod">
          <ac:chgData name="EVELYNSM.YONG" userId="S::evelynsm.yong_gmail.com#ext#@risebcg.onmicrosoft.com::67a27a72-2420-4d38-b745-316a53f4b99a" providerId="AD" clId="Web-{EBBE918A-CD43-47AE-9637-5ACE8C97E877}" dt="2022-01-07T12:55:44.776" v="356" actId="14100"/>
          <ac:spMkLst>
            <pc:docMk/>
            <pc:sldMk cId="2316358039" sldId="325"/>
            <ac:spMk id="21" creationId="{E9143E79-0358-464A-ACC6-31293226C369}"/>
          </ac:spMkLst>
        </pc:spChg>
        <pc:spChg chg="add del mod">
          <ac:chgData name="EVELYNSM.YONG" userId="S::evelynsm.yong_gmail.com#ext#@risebcg.onmicrosoft.com::67a27a72-2420-4d38-b745-316a53f4b99a" providerId="AD" clId="Web-{EBBE918A-CD43-47AE-9637-5ACE8C97E877}" dt="2022-01-07T12:54:43.572" v="347"/>
          <ac:spMkLst>
            <pc:docMk/>
            <pc:sldMk cId="2316358039" sldId="325"/>
            <ac:spMk id="22" creationId="{57E59C8D-E114-4ED4-8719-FCDA55E852FA}"/>
          </ac:spMkLst>
        </pc:spChg>
        <pc:picChg chg="mod">
          <ac:chgData name="EVELYNSM.YONG" userId="S::evelynsm.yong_gmail.com#ext#@risebcg.onmicrosoft.com::67a27a72-2420-4d38-b745-316a53f4b99a" providerId="AD" clId="Web-{EBBE918A-CD43-47AE-9637-5ACE8C97E877}" dt="2022-01-07T12:54:53.431" v="348" actId="1076"/>
          <ac:picMkLst>
            <pc:docMk/>
            <pc:sldMk cId="2316358039" sldId="325"/>
            <ac:picMk id="2" creationId="{69CF128B-0B09-4BF1-B2CA-1BA877B1F78B}"/>
          </ac:picMkLst>
        </pc:picChg>
        <pc:picChg chg="del mod">
          <ac:chgData name="EVELYNSM.YONG" userId="S::evelynsm.yong_gmail.com#ext#@risebcg.onmicrosoft.com::67a27a72-2420-4d38-b745-316a53f4b99a" providerId="AD" clId="Web-{EBBE918A-CD43-47AE-9637-5ACE8C97E877}" dt="2022-01-07T12:49:00.831" v="288"/>
          <ac:picMkLst>
            <pc:docMk/>
            <pc:sldMk cId="2316358039" sldId="325"/>
            <ac:picMk id="6" creationId="{3476209F-81B0-4A6C-8B12-F6D764D3E106}"/>
          </ac:picMkLst>
        </pc:picChg>
        <pc:picChg chg="del mod">
          <ac:chgData name="EVELYNSM.YONG" userId="S::evelynsm.yong_gmail.com#ext#@risebcg.onmicrosoft.com::67a27a72-2420-4d38-b745-316a53f4b99a" providerId="AD" clId="Web-{EBBE918A-CD43-47AE-9637-5ACE8C97E877}" dt="2022-01-07T12:49:04.175" v="290"/>
          <ac:picMkLst>
            <pc:docMk/>
            <pc:sldMk cId="2316358039" sldId="325"/>
            <ac:picMk id="9" creationId="{A76048B9-7E18-4DEE-8C9E-48B93DFE3F73}"/>
          </ac:picMkLst>
        </pc:picChg>
      </pc:sldChg>
      <pc:sldChg chg="addSp delSp modSp">
        <pc:chgData name="EVELYNSM.YONG" userId="S::evelynsm.yong_gmail.com#ext#@risebcg.onmicrosoft.com::67a27a72-2420-4d38-b745-316a53f4b99a" providerId="AD" clId="Web-{EBBE918A-CD43-47AE-9637-5ACE8C97E877}" dt="2022-01-07T12:47:45.814" v="282"/>
        <pc:sldMkLst>
          <pc:docMk/>
          <pc:sldMk cId="2160415509" sldId="326"/>
        </pc:sldMkLst>
        <pc:spChg chg="mod">
          <ac:chgData name="EVELYNSM.YONG" userId="S::evelynsm.yong_gmail.com#ext#@risebcg.onmicrosoft.com::67a27a72-2420-4d38-b745-316a53f4b99a" providerId="AD" clId="Web-{EBBE918A-CD43-47AE-9637-5ACE8C97E877}" dt="2022-01-07T12:30:23.546" v="86" actId="1076"/>
          <ac:spMkLst>
            <pc:docMk/>
            <pc:sldMk cId="2160415509" sldId="326"/>
            <ac:spMk id="3" creationId="{2A938E9D-39F3-463F-BEAD-B91F6168A34D}"/>
          </ac:spMkLst>
        </pc:spChg>
        <pc:spChg chg="add mod">
          <ac:chgData name="EVELYNSM.YONG" userId="S::evelynsm.yong_gmail.com#ext#@risebcg.onmicrosoft.com::67a27a72-2420-4d38-b745-316a53f4b99a" providerId="AD" clId="Web-{EBBE918A-CD43-47AE-9637-5ACE8C97E877}" dt="2022-01-07T12:31:41.688" v="114" actId="14100"/>
          <ac:spMkLst>
            <pc:docMk/>
            <pc:sldMk cId="2160415509" sldId="326"/>
            <ac:spMk id="4" creationId="{215644EC-E1A2-4B5F-BA53-79EB189605EC}"/>
          </ac:spMkLst>
        </pc:spChg>
        <pc:spChg chg="add del">
          <ac:chgData name="EVELYNSM.YONG" userId="S::evelynsm.yong_gmail.com#ext#@risebcg.onmicrosoft.com::67a27a72-2420-4d38-b745-316a53f4b99a" providerId="AD" clId="Web-{EBBE918A-CD43-47AE-9637-5ACE8C97E877}" dt="2022-01-07T12:30:48.546" v="93"/>
          <ac:spMkLst>
            <pc:docMk/>
            <pc:sldMk cId="2160415509" sldId="326"/>
            <ac:spMk id="5" creationId="{C35BBA10-0D37-4760-8898-CB2A401CB13F}"/>
          </ac:spMkLst>
        </pc:spChg>
        <pc:spChg chg="mod">
          <ac:chgData name="EVELYNSM.YONG" userId="S::evelynsm.yong_gmail.com#ext#@risebcg.onmicrosoft.com::67a27a72-2420-4d38-b745-316a53f4b99a" providerId="AD" clId="Web-{EBBE918A-CD43-47AE-9637-5ACE8C97E877}" dt="2022-01-07T12:47:45.814" v="282"/>
          <ac:spMkLst>
            <pc:docMk/>
            <pc:sldMk cId="2160415509" sldId="326"/>
            <ac:spMk id="15" creationId="{AAF3EE67-387A-430E-A8DA-4FF50FD506BC}"/>
          </ac:spMkLst>
        </pc:spChg>
      </pc:sldChg>
      <pc:sldChg chg="addSp delSp modSp">
        <pc:chgData name="EVELYNSM.YONG" userId="S::evelynsm.yong_gmail.com#ext#@risebcg.onmicrosoft.com::67a27a72-2420-4d38-b745-316a53f4b99a" providerId="AD" clId="Web-{EBBE918A-CD43-47AE-9637-5ACE8C97E877}" dt="2022-01-07T12:41:38.151" v="242" actId="1076"/>
        <pc:sldMkLst>
          <pc:docMk/>
          <pc:sldMk cId="416007632" sldId="327"/>
        </pc:sldMkLst>
        <pc:spChg chg="mod">
          <ac:chgData name="EVELYNSM.YONG" userId="S::evelynsm.yong_gmail.com#ext#@risebcg.onmicrosoft.com::67a27a72-2420-4d38-b745-316a53f4b99a" providerId="AD" clId="Web-{EBBE918A-CD43-47AE-9637-5ACE8C97E877}" dt="2022-01-07T12:29:10.841" v="78" actId="20577"/>
          <ac:spMkLst>
            <pc:docMk/>
            <pc:sldMk cId="416007632" sldId="327"/>
            <ac:spMk id="2" creationId="{ED14AA63-35D8-4136-8B2F-DE1837A583A2}"/>
          </ac:spMkLst>
        </pc:spChg>
        <pc:spChg chg="mod">
          <ac:chgData name="EVELYNSM.YONG" userId="S::evelynsm.yong_gmail.com#ext#@risebcg.onmicrosoft.com::67a27a72-2420-4d38-b745-316a53f4b99a" providerId="AD" clId="Web-{EBBE918A-CD43-47AE-9637-5ACE8C97E877}" dt="2022-01-07T12:27:39.527" v="71"/>
          <ac:spMkLst>
            <pc:docMk/>
            <pc:sldMk cId="416007632" sldId="327"/>
            <ac:spMk id="4" creationId="{F2781DB5-90E2-4089-BA07-2F83778C3F07}"/>
          </ac:spMkLst>
        </pc:spChg>
        <pc:spChg chg="mod">
          <ac:chgData name="EVELYNSM.YONG" userId="S::evelynsm.yong_gmail.com#ext#@risebcg.onmicrosoft.com::67a27a72-2420-4d38-b745-316a53f4b99a" providerId="AD" clId="Web-{EBBE918A-CD43-47AE-9637-5ACE8C97E877}" dt="2022-01-07T12:27:39.543" v="72"/>
          <ac:spMkLst>
            <pc:docMk/>
            <pc:sldMk cId="416007632" sldId="327"/>
            <ac:spMk id="5" creationId="{AA1B9715-B961-42AF-90C9-79A87F13D1B8}"/>
          </ac:spMkLst>
        </pc:spChg>
        <pc:spChg chg="mod">
          <ac:chgData name="EVELYNSM.YONG" userId="S::evelynsm.yong_gmail.com#ext#@risebcg.onmicrosoft.com::67a27a72-2420-4d38-b745-316a53f4b99a" providerId="AD" clId="Web-{EBBE918A-CD43-47AE-9637-5ACE8C97E877}" dt="2022-01-07T12:36:26.208" v="186" actId="20577"/>
          <ac:spMkLst>
            <pc:docMk/>
            <pc:sldMk cId="416007632" sldId="327"/>
            <ac:spMk id="10" creationId="{6903E9BF-EB5F-4900-A7C3-8046B86C2485}"/>
          </ac:spMkLst>
        </pc:spChg>
        <pc:spChg chg="mod">
          <ac:chgData name="EVELYNSM.YONG" userId="S::evelynsm.yong_gmail.com#ext#@risebcg.onmicrosoft.com::67a27a72-2420-4d38-b745-316a53f4b99a" providerId="AD" clId="Web-{EBBE918A-CD43-47AE-9637-5ACE8C97E877}" dt="2022-01-07T12:27:39.590" v="74"/>
          <ac:spMkLst>
            <pc:docMk/>
            <pc:sldMk cId="416007632" sldId="327"/>
            <ac:spMk id="11" creationId="{41409821-5DD4-4CE8-8A23-90E7022670FB}"/>
          </ac:spMkLst>
        </pc:spChg>
        <pc:spChg chg="mod">
          <ac:chgData name="EVELYNSM.YONG" userId="S::evelynsm.yong_gmail.com#ext#@risebcg.onmicrosoft.com::67a27a72-2420-4d38-b745-316a53f4b99a" providerId="AD" clId="Web-{EBBE918A-CD43-47AE-9637-5ACE8C97E877}" dt="2022-01-07T12:27:39.605" v="75"/>
          <ac:spMkLst>
            <pc:docMk/>
            <pc:sldMk cId="416007632" sldId="327"/>
            <ac:spMk id="17" creationId="{A342E76F-CBEB-45ED-8735-A83C6AD5D2B1}"/>
          </ac:spMkLst>
        </pc:spChg>
        <pc:spChg chg="mod">
          <ac:chgData name="EVELYNSM.YONG" userId="S::evelynsm.yong_gmail.com#ext#@risebcg.onmicrosoft.com::67a27a72-2420-4d38-b745-316a53f4b99a" providerId="AD" clId="Web-{EBBE918A-CD43-47AE-9637-5ACE8C97E877}" dt="2022-01-07T12:38:14.070" v="204" actId="1076"/>
          <ac:spMkLst>
            <pc:docMk/>
            <pc:sldMk cId="416007632" sldId="327"/>
            <ac:spMk id="32" creationId="{19924F50-9976-41A7-88C1-641F1509CEE0}"/>
          </ac:spMkLst>
        </pc:spChg>
        <pc:spChg chg="mod">
          <ac:chgData name="EVELYNSM.YONG" userId="S::evelynsm.yong_gmail.com#ext#@risebcg.onmicrosoft.com::67a27a72-2420-4d38-b745-316a53f4b99a" providerId="AD" clId="Web-{EBBE918A-CD43-47AE-9637-5ACE8C97E877}" dt="2022-01-07T12:38:16.710" v="205" actId="1076"/>
          <ac:spMkLst>
            <pc:docMk/>
            <pc:sldMk cId="416007632" sldId="327"/>
            <ac:spMk id="33" creationId="{C9B7F08E-D629-47BA-B28C-40CF22219379}"/>
          </ac:spMkLst>
        </pc:spChg>
        <pc:spChg chg="mod">
          <ac:chgData name="EVELYNSM.YONG" userId="S::evelynsm.yong_gmail.com#ext#@risebcg.onmicrosoft.com::67a27a72-2420-4d38-b745-316a53f4b99a" providerId="AD" clId="Web-{EBBE918A-CD43-47AE-9637-5ACE8C97E877}" dt="2022-01-07T12:38:24.132" v="206" actId="1076"/>
          <ac:spMkLst>
            <pc:docMk/>
            <pc:sldMk cId="416007632" sldId="327"/>
            <ac:spMk id="34" creationId="{06D19D76-F677-4AAA-AA6A-7CA4B9DAF436}"/>
          </ac:spMkLst>
        </pc:spChg>
        <pc:picChg chg="add del mod">
          <ac:chgData name="EVELYNSM.YONG" userId="S::evelynsm.yong_gmail.com#ext#@risebcg.onmicrosoft.com::67a27a72-2420-4d38-b745-316a53f4b99a" providerId="AD" clId="Web-{EBBE918A-CD43-47AE-9637-5ACE8C97E877}" dt="2022-01-07T12:29:15.591" v="79"/>
          <ac:picMkLst>
            <pc:docMk/>
            <pc:sldMk cId="416007632" sldId="327"/>
            <ac:picMk id="3" creationId="{1EE72CB4-04A3-4292-A220-270C05FC4D98}"/>
          </ac:picMkLst>
        </pc:picChg>
        <pc:picChg chg="mod">
          <ac:chgData name="EVELYNSM.YONG" userId="S::evelynsm.yong_gmail.com#ext#@risebcg.onmicrosoft.com::67a27a72-2420-4d38-b745-316a53f4b99a" providerId="AD" clId="Web-{EBBE918A-CD43-47AE-9637-5ACE8C97E877}" dt="2022-01-07T12:36:26.568" v="187"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EBBE918A-CD43-47AE-9637-5ACE8C97E877}" dt="2022-01-07T12:41:38.151" v="242" actId="1076"/>
          <ac:picMkLst>
            <pc:docMk/>
            <pc:sldMk cId="416007632" sldId="327"/>
            <ac:picMk id="21" creationId="{270AFCE7-EE99-4D66-AE35-2E7503A46115}"/>
          </ac:picMkLst>
        </pc:picChg>
        <pc:picChg chg="mod">
          <ac:chgData name="EVELYNSM.YONG" userId="S::evelynsm.yong_gmail.com#ext#@risebcg.onmicrosoft.com::67a27a72-2420-4d38-b745-316a53f4b99a" providerId="AD" clId="Web-{EBBE918A-CD43-47AE-9637-5ACE8C97E877}" dt="2022-01-07T12:41:38.151" v="241" actId="1076"/>
          <ac:picMkLst>
            <pc:docMk/>
            <pc:sldMk cId="416007632" sldId="327"/>
            <ac:picMk id="23" creationId="{AEC9587C-3F93-4045-ACEB-A1A4AFB0FC11}"/>
          </ac:picMkLst>
        </pc:picChg>
        <pc:picChg chg="mod">
          <ac:chgData name="EVELYNSM.YONG" userId="S::evelynsm.yong_gmail.com#ext#@risebcg.onmicrosoft.com::67a27a72-2420-4d38-b745-316a53f4b99a" providerId="AD" clId="Web-{EBBE918A-CD43-47AE-9637-5ACE8C97E877}" dt="2022-01-07T12:41:38.151" v="240" actId="1076"/>
          <ac:picMkLst>
            <pc:docMk/>
            <pc:sldMk cId="416007632" sldId="327"/>
            <ac:picMk id="29" creationId="{4F6899D5-3109-4938-82DA-041DEA46D7EF}"/>
          </ac:picMkLst>
        </pc:picChg>
      </pc:sldChg>
      <pc:sldChg chg="addSp delSp modSp">
        <pc:chgData name="EVELYNSM.YONG" userId="S::evelynsm.yong_gmail.com#ext#@risebcg.onmicrosoft.com::67a27a72-2420-4d38-b745-316a53f4b99a" providerId="AD" clId="Web-{EBBE918A-CD43-47AE-9637-5ACE8C97E877}" dt="2022-01-07T12:46:08.141" v="278"/>
        <pc:sldMkLst>
          <pc:docMk/>
          <pc:sldMk cId="4276505800" sldId="329"/>
        </pc:sldMkLst>
        <pc:spChg chg="add mod">
          <ac:chgData name="EVELYNSM.YONG" userId="S::evelynsm.yong_gmail.com#ext#@risebcg.onmicrosoft.com::67a27a72-2420-4d38-b745-316a53f4b99a" providerId="AD" clId="Web-{EBBE918A-CD43-47AE-9637-5ACE8C97E877}" dt="2022-01-07T12:32:34.814" v="115" actId="14100"/>
          <ac:spMkLst>
            <pc:docMk/>
            <pc:sldMk cId="4276505800" sldId="329"/>
            <ac:spMk id="3" creationId="{FA363FAE-9C13-49DF-A86A-6D93D63F5439}"/>
          </ac:spMkLst>
        </pc:spChg>
        <pc:spChg chg="add del">
          <ac:chgData name="EVELYNSM.YONG" userId="S::evelynsm.yong_gmail.com#ext#@risebcg.onmicrosoft.com::67a27a72-2420-4d38-b745-316a53f4b99a" providerId="AD" clId="Web-{EBBE918A-CD43-47AE-9637-5ACE8C97E877}" dt="2022-01-07T12:33:28.362" v="126"/>
          <ac:spMkLst>
            <pc:docMk/>
            <pc:sldMk cId="4276505800" sldId="329"/>
            <ac:spMk id="4" creationId="{9F126676-ECFC-424B-A66A-2CE8BBE8AF31}"/>
          </ac:spMkLst>
        </pc:spChg>
        <pc:spChg chg="mod">
          <ac:chgData name="EVELYNSM.YONG" userId="S::evelynsm.yong_gmail.com#ext#@risebcg.onmicrosoft.com::67a27a72-2420-4d38-b745-316a53f4b99a" providerId="AD" clId="Web-{EBBE918A-CD43-47AE-9637-5ACE8C97E877}" dt="2022-01-07T12:46:08.141" v="278"/>
          <ac:spMkLst>
            <pc:docMk/>
            <pc:sldMk cId="4276505800" sldId="329"/>
            <ac:spMk id="15" creationId="{AAF3EE67-387A-430E-A8DA-4FF50FD506BC}"/>
          </ac:spMkLst>
        </pc:spChg>
      </pc:sldChg>
      <pc:sldChg chg="addSp modSp">
        <pc:chgData name="EVELYNSM.YONG" userId="S::evelynsm.yong_gmail.com#ext#@risebcg.onmicrosoft.com::67a27a72-2420-4d38-b745-316a53f4b99a" providerId="AD" clId="Web-{EBBE918A-CD43-47AE-9637-5ACE8C97E877}" dt="2022-01-07T12:46:04.172" v="272"/>
        <pc:sldMkLst>
          <pc:docMk/>
          <pc:sldMk cId="2728944561" sldId="333"/>
        </pc:sldMkLst>
        <pc:spChg chg="add mod">
          <ac:chgData name="EVELYNSM.YONG" userId="S::evelynsm.yong_gmail.com#ext#@risebcg.onmicrosoft.com::67a27a72-2420-4d38-b745-316a53f4b99a" providerId="AD" clId="Web-{EBBE918A-CD43-47AE-9637-5ACE8C97E877}" dt="2022-01-07T12:33:44.331" v="131" actId="14100"/>
          <ac:spMkLst>
            <pc:docMk/>
            <pc:sldMk cId="2728944561" sldId="333"/>
            <ac:spMk id="3" creationId="{9C545F2D-9E52-4C81-8BAE-363F523739FD}"/>
          </ac:spMkLst>
        </pc:spChg>
        <pc:spChg chg="mod">
          <ac:chgData name="EVELYNSM.YONG" userId="S::evelynsm.yong_gmail.com#ext#@risebcg.onmicrosoft.com::67a27a72-2420-4d38-b745-316a53f4b99a" providerId="AD" clId="Web-{EBBE918A-CD43-47AE-9637-5ACE8C97E877}" dt="2022-01-07T12:46:04.172" v="272"/>
          <ac:spMkLst>
            <pc:docMk/>
            <pc:sldMk cId="2728944561" sldId="333"/>
            <ac:spMk id="15" creationId="{AAF3EE67-387A-430E-A8DA-4FF50FD506BC}"/>
          </ac:spMkLst>
        </pc:spChg>
      </pc:sldChg>
      <pc:sldChg chg="addSp">
        <pc:chgData name="EVELYNSM.YONG" userId="S::evelynsm.yong_gmail.com#ext#@risebcg.onmicrosoft.com::67a27a72-2420-4d38-b745-316a53f4b99a" providerId="AD" clId="Web-{EBBE918A-CD43-47AE-9637-5ACE8C97E877}" dt="2022-01-07T12:45:39.359" v="264"/>
        <pc:sldMkLst>
          <pc:docMk/>
          <pc:sldMk cId="1249418479" sldId="334"/>
        </pc:sldMkLst>
        <pc:grpChg chg="add">
          <ac:chgData name="EVELYNSM.YONG" userId="S::evelynsm.yong_gmail.com#ext#@risebcg.onmicrosoft.com::67a27a72-2420-4d38-b745-316a53f4b99a" providerId="AD" clId="Web-{EBBE918A-CD43-47AE-9637-5ACE8C97E877}" dt="2022-01-07T12:45:39.359" v="264"/>
          <ac:grpSpMkLst>
            <pc:docMk/>
            <pc:sldMk cId="1249418479" sldId="334"/>
            <ac:grpSpMk id="8" creationId="{0BA96E81-F16A-4482-9E7E-049FDFCE8DF3}"/>
          </ac:grpSpMkLst>
        </pc:grpChg>
      </pc:sldChg>
      <pc:sldChg chg="addSp">
        <pc:chgData name="EVELYNSM.YONG" userId="S::evelynsm.yong_gmail.com#ext#@risebcg.onmicrosoft.com::67a27a72-2420-4d38-b745-316a53f4b99a" providerId="AD" clId="Web-{EBBE918A-CD43-47AE-9637-5ACE8C97E877}" dt="2022-01-07T12:45:41.421" v="265"/>
        <pc:sldMkLst>
          <pc:docMk/>
          <pc:sldMk cId="2652119032" sldId="335"/>
        </pc:sldMkLst>
        <pc:grpChg chg="add">
          <ac:chgData name="EVELYNSM.YONG" userId="S::evelynsm.yong_gmail.com#ext#@risebcg.onmicrosoft.com::67a27a72-2420-4d38-b745-316a53f4b99a" providerId="AD" clId="Web-{EBBE918A-CD43-47AE-9637-5ACE8C97E877}" dt="2022-01-07T12:45:41.421" v="265"/>
          <ac:grpSpMkLst>
            <pc:docMk/>
            <pc:sldMk cId="2652119032" sldId="335"/>
            <ac:grpSpMk id="8" creationId="{CAEC6CD7-B066-4DF9-94AD-FBA7CF3B0107}"/>
          </ac:grpSpMkLst>
        </pc:grpChg>
      </pc:sldChg>
      <pc:sldChg chg="addSp modSp new del">
        <pc:chgData name="EVELYNSM.YONG" userId="S::evelynsm.yong_gmail.com#ext#@risebcg.onmicrosoft.com::67a27a72-2420-4d38-b745-316a53f4b99a" providerId="AD" clId="Web-{EBBE918A-CD43-47AE-9637-5ACE8C97E877}" dt="2022-01-07T12:29:21.310" v="80"/>
        <pc:sldMkLst>
          <pc:docMk/>
          <pc:sldMk cId="521801073" sldId="337"/>
        </pc:sldMkLst>
        <pc:spChg chg="add mod">
          <ac:chgData name="EVELYNSM.YONG" userId="S::evelynsm.yong_gmail.com#ext#@risebcg.onmicrosoft.com::67a27a72-2420-4d38-b745-316a53f4b99a" providerId="AD" clId="Web-{EBBE918A-CD43-47AE-9637-5ACE8C97E877}" dt="2022-01-07T12:22:04.334" v="57"/>
          <ac:spMkLst>
            <pc:docMk/>
            <pc:sldMk cId="521801073" sldId="337"/>
            <ac:spMk id="3" creationId="{478B85C6-5C34-4090-9D82-FDF63D74953C}"/>
          </ac:spMkLst>
        </pc:spChg>
        <pc:spChg chg="add">
          <ac:chgData name="EVELYNSM.YONG" userId="S::evelynsm.yong_gmail.com#ext#@risebcg.onmicrosoft.com::67a27a72-2420-4d38-b745-316a53f4b99a" providerId="AD" clId="Web-{EBBE918A-CD43-47AE-9637-5ACE8C97E877}" dt="2022-01-07T12:21:54.255" v="46"/>
          <ac:spMkLst>
            <pc:docMk/>
            <pc:sldMk cId="521801073" sldId="337"/>
            <ac:spMk id="5" creationId="{7ADF128F-F334-41F9-8EF9-27C034101E42}"/>
          </ac:spMkLst>
        </pc:spChg>
        <pc:spChg chg="add">
          <ac:chgData name="EVELYNSM.YONG" userId="S::evelynsm.yong_gmail.com#ext#@risebcg.onmicrosoft.com::67a27a72-2420-4d38-b745-316a53f4b99a" providerId="AD" clId="Web-{EBBE918A-CD43-47AE-9637-5ACE8C97E877}" dt="2022-01-07T12:21:54.255" v="47"/>
          <ac:spMkLst>
            <pc:docMk/>
            <pc:sldMk cId="521801073" sldId="337"/>
            <ac:spMk id="7" creationId="{EFD5A8D2-20D6-466F-AE9C-657391450584}"/>
          </ac:spMkLst>
        </pc:spChg>
        <pc:spChg chg="add mod">
          <ac:chgData name="EVELYNSM.YONG" userId="S::evelynsm.yong_gmail.com#ext#@risebcg.onmicrosoft.com::67a27a72-2420-4d38-b745-316a53f4b99a" providerId="AD" clId="Web-{EBBE918A-CD43-47AE-9637-5ACE8C97E877}" dt="2022-01-07T12:22:25.084" v="58"/>
          <ac:spMkLst>
            <pc:docMk/>
            <pc:sldMk cId="521801073" sldId="337"/>
            <ac:spMk id="13" creationId="{38A3CF76-0189-49A8-8564-1C1F8BECE4A6}"/>
          </ac:spMkLst>
        </pc:spChg>
        <pc:spChg chg="add mod">
          <ac:chgData name="EVELYNSM.YONG" userId="S::evelynsm.yong_gmail.com#ext#@risebcg.onmicrosoft.com::67a27a72-2420-4d38-b745-316a53f4b99a" providerId="AD" clId="Web-{EBBE918A-CD43-47AE-9637-5ACE8C97E877}" dt="2022-01-07T12:22:25.100" v="59"/>
          <ac:spMkLst>
            <pc:docMk/>
            <pc:sldMk cId="521801073" sldId="337"/>
            <ac:spMk id="15" creationId="{45F12D8B-794B-4507-9348-930CD28BC1CF}"/>
          </ac:spMkLst>
        </pc:spChg>
        <pc:spChg chg="add mod">
          <ac:chgData name="EVELYNSM.YONG" userId="S::evelynsm.yong_gmail.com#ext#@risebcg.onmicrosoft.com::67a27a72-2420-4d38-b745-316a53f4b99a" providerId="AD" clId="Web-{EBBE918A-CD43-47AE-9637-5ACE8C97E877}" dt="2022-01-07T12:22:25.100" v="60"/>
          <ac:spMkLst>
            <pc:docMk/>
            <pc:sldMk cId="521801073" sldId="337"/>
            <ac:spMk id="19" creationId="{3E07C347-64C7-4F14-8CF3-2E07888F3E0E}"/>
          </ac:spMkLst>
        </pc:spChg>
        <pc:picChg chg="add">
          <ac:chgData name="EVELYNSM.YONG" userId="S::evelynsm.yong_gmail.com#ext#@risebcg.onmicrosoft.com::67a27a72-2420-4d38-b745-316a53f4b99a" providerId="AD" clId="Web-{EBBE918A-CD43-47AE-9637-5ACE8C97E877}" dt="2022-01-07T12:21:54.271" v="48"/>
          <ac:picMkLst>
            <pc:docMk/>
            <pc:sldMk cId="521801073" sldId="337"/>
            <ac:picMk id="9" creationId="{13A86501-E993-470B-BF99-D2164F5A32BF}"/>
          </ac:picMkLst>
        </pc:picChg>
        <pc:picChg chg="add">
          <ac:chgData name="EVELYNSM.YONG" userId="S::evelynsm.yong_gmail.com#ext#@risebcg.onmicrosoft.com::67a27a72-2420-4d38-b745-316a53f4b99a" providerId="AD" clId="Web-{EBBE918A-CD43-47AE-9637-5ACE8C97E877}" dt="2022-01-07T12:21:54.287" v="49"/>
          <ac:picMkLst>
            <pc:docMk/>
            <pc:sldMk cId="521801073" sldId="337"/>
            <ac:picMk id="11" creationId="{0F2441DD-BC38-4495-88F8-60611C49F8B9}"/>
          </ac:picMkLst>
        </pc:picChg>
        <pc:picChg chg="add">
          <ac:chgData name="EVELYNSM.YONG" userId="S::evelynsm.yong_gmail.com#ext#@risebcg.onmicrosoft.com::67a27a72-2420-4d38-b745-316a53f4b99a" providerId="AD" clId="Web-{EBBE918A-CD43-47AE-9637-5ACE8C97E877}" dt="2022-01-07T12:21:54.318" v="52"/>
          <ac:picMkLst>
            <pc:docMk/>
            <pc:sldMk cId="521801073" sldId="337"/>
            <ac:picMk id="17" creationId="{55178E69-B1A8-4A52-8CEA-BC84FEBD4124}"/>
          </ac:picMkLst>
        </pc:picChg>
        <pc:picChg chg="add">
          <ac:chgData name="EVELYNSM.YONG" userId="S::evelynsm.yong_gmail.com#ext#@risebcg.onmicrosoft.com::67a27a72-2420-4d38-b745-316a53f4b99a" providerId="AD" clId="Web-{EBBE918A-CD43-47AE-9637-5ACE8C97E877}" dt="2022-01-07T12:21:54.349" v="54"/>
          <ac:picMkLst>
            <pc:docMk/>
            <pc:sldMk cId="521801073" sldId="337"/>
            <ac:picMk id="21" creationId="{54734CB3-D5AD-4492-ACE9-6E373EB1A605}"/>
          </ac:picMkLst>
        </pc:picChg>
        <pc:picChg chg="add">
          <ac:chgData name="EVELYNSM.YONG" userId="S::evelynsm.yong_gmail.com#ext#@risebcg.onmicrosoft.com::67a27a72-2420-4d38-b745-316a53f4b99a" providerId="AD" clId="Web-{EBBE918A-CD43-47AE-9637-5ACE8C97E877}" dt="2022-01-07T12:21:54.365" v="55"/>
          <ac:picMkLst>
            <pc:docMk/>
            <pc:sldMk cId="521801073" sldId="337"/>
            <ac:picMk id="23" creationId="{9A98F5FB-494D-4C7F-B860-EE91316C9D4E}"/>
          </ac:picMkLst>
        </pc:picChg>
        <pc:picChg chg="add">
          <ac:chgData name="EVELYNSM.YONG" userId="S::evelynsm.yong_gmail.com#ext#@risebcg.onmicrosoft.com::67a27a72-2420-4d38-b745-316a53f4b99a" providerId="AD" clId="Web-{EBBE918A-CD43-47AE-9637-5ACE8C97E877}" dt="2022-01-07T12:21:54.365" v="56"/>
          <ac:picMkLst>
            <pc:docMk/>
            <pc:sldMk cId="521801073" sldId="337"/>
            <ac:picMk id="25" creationId="{6A9C6F5B-69A9-4DC0-9124-E31F04230A02}"/>
          </ac:picMkLst>
        </pc:picChg>
      </pc:sldChg>
      <pc:sldChg chg="addSp delSp modSp add ord replId">
        <pc:chgData name="EVELYNSM.YONG" userId="S::evelynsm.yong_gmail.com#ext#@risebcg.onmicrosoft.com::67a27a72-2420-4d38-b745-316a53f4b99a" providerId="AD" clId="Web-{EBBE918A-CD43-47AE-9637-5ACE8C97E877}" dt="2022-01-07T12:56:47.011" v="368" actId="14100"/>
        <pc:sldMkLst>
          <pc:docMk/>
          <pc:sldMk cId="855648020" sldId="337"/>
        </pc:sldMkLst>
        <pc:spChg chg="del mod">
          <ac:chgData name="EVELYNSM.YONG" userId="S::evelynsm.yong_gmail.com#ext#@risebcg.onmicrosoft.com::67a27a72-2420-4d38-b745-316a53f4b99a" providerId="AD" clId="Web-{EBBE918A-CD43-47AE-9637-5ACE8C97E877}" dt="2022-01-07T12:50:36.770" v="310"/>
          <ac:spMkLst>
            <pc:docMk/>
            <pc:sldMk cId="855648020" sldId="337"/>
            <ac:spMk id="3" creationId="{3EAAE696-94B0-42DC-B0E6-3874740CC294}"/>
          </ac:spMkLst>
        </pc:spChg>
        <pc:spChg chg="add mod">
          <ac:chgData name="EVELYNSM.YONG" userId="S::evelynsm.yong_gmail.com#ext#@risebcg.onmicrosoft.com::67a27a72-2420-4d38-b745-316a53f4b99a" providerId="AD" clId="Web-{EBBE918A-CD43-47AE-9637-5ACE8C97E877}" dt="2022-01-07T12:56:47.011" v="368" actId="14100"/>
          <ac:spMkLst>
            <pc:docMk/>
            <pc:sldMk cId="855648020" sldId="337"/>
            <ac:spMk id="10" creationId="{07073218-5F15-4EF5-A452-773E04940AE9}"/>
          </ac:spMkLst>
        </pc:spChg>
        <pc:spChg chg="mod">
          <ac:chgData name="EVELYNSM.YONG" userId="S::evelynsm.yong_gmail.com#ext#@risebcg.onmicrosoft.com::67a27a72-2420-4d38-b745-316a53f4b99a" providerId="AD" clId="Web-{EBBE918A-CD43-47AE-9637-5ACE8C97E877}" dt="2022-01-07T12:50:56.505" v="319" actId="1076"/>
          <ac:spMkLst>
            <pc:docMk/>
            <pc:sldMk cId="855648020" sldId="337"/>
            <ac:spMk id="11" creationId="{F659B4BD-50AD-4CA3-95ED-DEC3DABB4313}"/>
          </ac:spMkLst>
        </pc:spChg>
        <pc:spChg chg="mod">
          <ac:chgData name="EVELYNSM.YONG" userId="S::evelynsm.yong_gmail.com#ext#@risebcg.onmicrosoft.com::67a27a72-2420-4d38-b745-316a53f4b99a" providerId="AD" clId="Web-{EBBE918A-CD43-47AE-9637-5ACE8C97E877}" dt="2022-01-07T12:51:06.708" v="323" actId="1076"/>
          <ac:spMkLst>
            <pc:docMk/>
            <pc:sldMk cId="855648020" sldId="337"/>
            <ac:spMk id="16" creationId="{E9F09C74-B1ED-48F0-B094-FCB61FD07FD8}"/>
          </ac:spMkLst>
        </pc:spChg>
        <pc:picChg chg="del">
          <ac:chgData name="EVELYNSM.YONG" userId="S::evelynsm.yong_gmail.com#ext#@risebcg.onmicrosoft.com::67a27a72-2420-4d38-b745-316a53f4b99a" providerId="AD" clId="Web-{EBBE918A-CD43-47AE-9637-5ACE8C97E877}" dt="2022-01-07T12:49:56.113" v="302"/>
          <ac:picMkLst>
            <pc:docMk/>
            <pc:sldMk cId="855648020" sldId="337"/>
            <ac:picMk id="2" creationId="{69CF128B-0B09-4BF1-B2CA-1BA877B1F78B}"/>
          </ac:picMkLst>
        </pc:picChg>
        <pc:picChg chg="add mod">
          <ac:chgData name="EVELYNSM.YONG" userId="S::evelynsm.yong_gmail.com#ext#@risebcg.onmicrosoft.com::67a27a72-2420-4d38-b745-316a53f4b99a" providerId="AD" clId="Web-{EBBE918A-CD43-47AE-9637-5ACE8C97E877}" dt="2022-01-07T12:56:39.136" v="365" actId="1076"/>
          <ac:picMkLst>
            <pc:docMk/>
            <pc:sldMk cId="855648020" sldId="337"/>
            <ac:picMk id="4" creationId="{D1E8906C-F7B4-4B64-A4F6-A75BD1D8E774}"/>
          </ac:picMkLst>
        </pc:picChg>
        <pc:picChg chg="mod">
          <ac:chgData name="EVELYNSM.YONG" userId="S::evelynsm.yong_gmail.com#ext#@risebcg.onmicrosoft.com::67a27a72-2420-4d38-b745-316a53f4b99a" providerId="AD" clId="Web-{EBBE918A-CD43-47AE-9637-5ACE8C97E877}" dt="2022-01-07T12:50:53.568" v="318" actId="1076"/>
          <ac:picMkLst>
            <pc:docMk/>
            <pc:sldMk cId="855648020" sldId="337"/>
            <ac:picMk id="6" creationId="{3476209F-81B0-4A6C-8B12-F6D764D3E106}"/>
          </ac:picMkLst>
        </pc:picChg>
        <pc:picChg chg="mod">
          <ac:chgData name="EVELYNSM.YONG" userId="S::evelynsm.yong_gmail.com#ext#@risebcg.onmicrosoft.com::67a27a72-2420-4d38-b745-316a53f4b99a" providerId="AD" clId="Web-{EBBE918A-CD43-47AE-9637-5ACE8C97E877}" dt="2022-01-07T12:51:02.287" v="322" actId="14100"/>
          <ac:picMkLst>
            <pc:docMk/>
            <pc:sldMk cId="855648020" sldId="337"/>
            <ac:picMk id="9" creationId="{A76048B9-7E18-4DEE-8C9E-48B93DFE3F73}"/>
          </ac:picMkLst>
        </pc:picChg>
      </pc:sldChg>
    </pc:docChg>
  </pc:docChgLst>
  <pc:docChgLst>
    <pc:chgData name="EVELYNSM.YONG" userId="S::evelynsm.yong_gmail.com#ext#@risebcg.onmicrosoft.com::67a27a72-2420-4d38-b745-316a53f4b99a" providerId="AD" clId="Web-{B1695F6B-E229-47A3-B13F-79B478ED93D2}"/>
    <pc:docChg chg="modSld">
      <pc:chgData name="EVELYNSM.YONG" userId="S::evelynsm.yong_gmail.com#ext#@risebcg.onmicrosoft.com::67a27a72-2420-4d38-b745-316a53f4b99a" providerId="AD" clId="Web-{B1695F6B-E229-47A3-B13F-79B478ED93D2}" dt="2022-01-10T10:54:53.607" v="98"/>
      <pc:docMkLst>
        <pc:docMk/>
      </pc:docMkLst>
      <pc:sldChg chg="addSp delSp modSp">
        <pc:chgData name="EVELYNSM.YONG" userId="S::evelynsm.yong_gmail.com#ext#@risebcg.onmicrosoft.com::67a27a72-2420-4d38-b745-316a53f4b99a" providerId="AD" clId="Web-{B1695F6B-E229-47A3-B13F-79B478ED93D2}" dt="2022-01-10T10:47:57.475" v="14"/>
        <pc:sldMkLst>
          <pc:docMk/>
          <pc:sldMk cId="3391215681" sldId="339"/>
        </pc:sldMkLst>
        <pc:spChg chg="mod">
          <ac:chgData name="EVELYNSM.YONG" userId="S::evelynsm.yong_gmail.com#ext#@risebcg.onmicrosoft.com::67a27a72-2420-4d38-b745-316a53f4b99a" providerId="AD" clId="Web-{B1695F6B-E229-47A3-B13F-79B478ED93D2}" dt="2022-01-10T10:47:52.491" v="13"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B1695F6B-E229-47A3-B13F-79B478ED93D2}" dt="2022-01-10T10:46:43.317" v="4"/>
          <ac:spMkLst>
            <pc:docMk/>
            <pc:sldMk cId="3391215681" sldId="339"/>
            <ac:spMk id="49" creationId="{1A40ECD8-EC71-4C0D-A629-C5042C9FBE1B}"/>
          </ac:spMkLst>
        </pc:spChg>
        <pc:spChg chg="mod topLvl">
          <ac:chgData name="EVELYNSM.YONG" userId="S::evelynsm.yong_gmail.com#ext#@risebcg.onmicrosoft.com::67a27a72-2420-4d38-b745-316a53f4b99a" providerId="AD" clId="Web-{B1695F6B-E229-47A3-B13F-79B478ED93D2}" dt="2022-01-10T10:47:47.397" v="12" actId="14100"/>
          <ac:spMkLst>
            <pc:docMk/>
            <pc:sldMk cId="3391215681" sldId="339"/>
            <ac:spMk id="160" creationId="{129EBF9C-3DCE-40EC-8CFB-1CB201B252BE}"/>
          </ac:spMkLst>
        </pc:spChg>
        <pc:spChg chg="mod topLvl">
          <ac:chgData name="EVELYNSM.YONG" userId="S::evelynsm.yong_gmail.com#ext#@risebcg.onmicrosoft.com::67a27a72-2420-4d38-b745-316a53f4b99a" providerId="AD" clId="Web-{B1695F6B-E229-47A3-B13F-79B478ED93D2}" dt="2022-01-10T10:47:38.349" v="11"/>
          <ac:spMkLst>
            <pc:docMk/>
            <pc:sldMk cId="3391215681" sldId="339"/>
            <ac:spMk id="211" creationId="{BE8EF75F-4A8F-4CC0-B3A0-4689491D690B}"/>
          </ac:spMkLst>
        </pc:spChg>
        <pc:spChg chg="topLvl">
          <ac:chgData name="EVELYNSM.YONG" userId="S::evelynsm.yong_gmail.com#ext#@risebcg.onmicrosoft.com::67a27a72-2420-4d38-b745-316a53f4b99a" providerId="AD" clId="Web-{B1695F6B-E229-47A3-B13F-79B478ED93D2}" dt="2022-01-10T10:47:38.349" v="11"/>
          <ac:spMkLst>
            <pc:docMk/>
            <pc:sldMk cId="3391215681" sldId="339"/>
            <ac:spMk id="3097" creationId="{B43BCD4D-C119-4545-A18A-03EFECDDCAC1}"/>
          </ac:spMkLst>
        </pc:spChg>
        <pc:grpChg chg="del mod">
          <ac:chgData name="EVELYNSM.YONG" userId="S::evelynsm.yong_gmail.com#ext#@risebcg.onmicrosoft.com::67a27a72-2420-4d38-b745-316a53f4b99a" providerId="AD" clId="Web-{B1695F6B-E229-47A3-B13F-79B478ED93D2}" dt="2022-01-10T10:47:38.349" v="11"/>
          <ac:grpSpMkLst>
            <pc:docMk/>
            <pc:sldMk cId="3391215681" sldId="339"/>
            <ac:grpSpMk id="46" creationId="{4ABE6692-7EE9-44C2-9397-CB90DBA38CB3}"/>
          </ac:grpSpMkLst>
        </pc:grpChg>
        <pc:grpChg chg="add">
          <ac:chgData name="EVELYNSM.YONG" userId="S::evelynsm.yong_gmail.com#ext#@risebcg.onmicrosoft.com::67a27a72-2420-4d38-b745-316a53f4b99a" providerId="AD" clId="Web-{B1695F6B-E229-47A3-B13F-79B478ED93D2}" dt="2022-01-10T10:47:57.475" v="14"/>
          <ac:grpSpMkLst>
            <pc:docMk/>
            <pc:sldMk cId="3391215681" sldId="339"/>
            <ac:grpSpMk id="159" creationId="{6CF11143-2C2D-41F3-A344-0766ACFE591C}"/>
          </ac:grpSpMkLst>
        </pc:grpChg>
        <pc:graphicFrameChg chg="modGraphic">
          <ac:chgData name="EVELYNSM.YONG" userId="S::evelynsm.yong_gmail.com#ext#@risebcg.onmicrosoft.com::67a27a72-2420-4d38-b745-316a53f4b99a" providerId="AD" clId="Web-{B1695F6B-E229-47A3-B13F-79B478ED93D2}" dt="2022-01-10T10:46:55.378" v="6" actId="20577"/>
          <ac:graphicFrameMkLst>
            <pc:docMk/>
            <pc:sldMk cId="3391215681" sldId="339"/>
            <ac:graphicFrameMk id="28" creationId="{9D58B7B4-DE29-4DDF-BB8A-729D2B705659}"/>
          </ac:graphicFrameMkLst>
        </pc:graphicFrameChg>
      </pc:sldChg>
      <pc:sldChg chg="addSp delSp modSp">
        <pc:chgData name="EVELYNSM.YONG" userId="S::evelynsm.yong_gmail.com#ext#@risebcg.onmicrosoft.com::67a27a72-2420-4d38-b745-316a53f4b99a" providerId="AD" clId="Web-{B1695F6B-E229-47A3-B13F-79B478ED93D2}" dt="2022-01-10T10:54:53.607" v="98"/>
        <pc:sldMkLst>
          <pc:docMk/>
          <pc:sldMk cId="3531645893" sldId="360"/>
        </pc:sldMkLst>
        <pc:spChg chg="mod">
          <ac:chgData name="EVELYNSM.YONG" userId="S::evelynsm.yong_gmail.com#ext#@risebcg.onmicrosoft.com::67a27a72-2420-4d38-b745-316a53f4b99a" providerId="AD" clId="Web-{B1695F6B-E229-47A3-B13F-79B478ED93D2}" dt="2022-01-10T10:54:09.854" v="95"/>
          <ac:spMkLst>
            <pc:docMk/>
            <pc:sldMk cId="3531645893" sldId="360"/>
            <ac:spMk id="3" creationId="{FC2A26BC-6E3B-4E2F-9C36-577BA7E9132E}"/>
          </ac:spMkLst>
        </pc:spChg>
        <pc:spChg chg="mod">
          <ac:chgData name="EVELYNSM.YONG" userId="S::evelynsm.yong_gmail.com#ext#@risebcg.onmicrosoft.com::67a27a72-2420-4d38-b745-316a53f4b99a" providerId="AD" clId="Web-{B1695F6B-E229-47A3-B13F-79B478ED93D2}" dt="2022-01-10T10:50:11.357" v="59" actId="1076"/>
          <ac:spMkLst>
            <pc:docMk/>
            <pc:sldMk cId="3531645893" sldId="360"/>
            <ac:spMk id="5" creationId="{1999C9A4-8C8B-43CC-B77D-B8C58575D4DE}"/>
          </ac:spMkLst>
        </pc:spChg>
        <pc:spChg chg="mod">
          <ac:chgData name="EVELYNSM.YONG" userId="S::evelynsm.yong_gmail.com#ext#@risebcg.onmicrosoft.com::67a27a72-2420-4d38-b745-316a53f4b99a" providerId="AD" clId="Web-{B1695F6B-E229-47A3-B13F-79B478ED93D2}" dt="2022-01-10T10:46:25.049" v="1"/>
          <ac:spMkLst>
            <pc:docMk/>
            <pc:sldMk cId="3531645893" sldId="360"/>
            <ac:spMk id="15" creationId="{EA512C5C-B61E-4EDE-A2CD-308BFA2920DA}"/>
          </ac:spMkLst>
        </pc:spChg>
        <pc:spChg chg="mod">
          <ac:chgData name="EVELYNSM.YONG" userId="S::evelynsm.yong_gmail.com#ext#@risebcg.onmicrosoft.com::67a27a72-2420-4d38-b745-316a53f4b99a" providerId="AD" clId="Web-{B1695F6B-E229-47A3-B13F-79B478ED93D2}" dt="2022-01-10T10:51:32.627" v="72"/>
          <ac:spMkLst>
            <pc:docMk/>
            <pc:sldMk cId="3531645893" sldId="360"/>
            <ac:spMk id="18" creationId="{83C6C493-EE06-4670-B1AB-91DD5175B793}"/>
          </ac:spMkLst>
        </pc:spChg>
        <pc:spChg chg="mod">
          <ac:chgData name="EVELYNSM.YONG" userId="S::evelynsm.yong_gmail.com#ext#@risebcg.onmicrosoft.com::67a27a72-2420-4d38-b745-316a53f4b99a" providerId="AD" clId="Web-{B1695F6B-E229-47A3-B13F-79B478ED93D2}" dt="2022-01-10T10:50:11.373" v="60" actId="1076"/>
          <ac:spMkLst>
            <pc:docMk/>
            <pc:sldMk cId="3531645893" sldId="360"/>
            <ac:spMk id="19" creationId="{950C64E7-6661-4AEA-8068-716AD3707128}"/>
          </ac:spMkLst>
        </pc:spChg>
        <pc:spChg chg="mod">
          <ac:chgData name="EVELYNSM.YONG" userId="S::evelynsm.yong_gmail.com#ext#@risebcg.onmicrosoft.com::67a27a72-2420-4d38-b745-316a53f4b99a" providerId="AD" clId="Web-{B1695F6B-E229-47A3-B13F-79B478ED93D2}" dt="2022-01-10T10:51:21.502" v="69"/>
          <ac:spMkLst>
            <pc:docMk/>
            <pc:sldMk cId="3531645893" sldId="360"/>
            <ac:spMk id="25" creationId="{F2D8752B-46CF-482C-9E54-5BF79DDF6A1D}"/>
          </ac:spMkLst>
        </pc:spChg>
        <pc:spChg chg="mod">
          <ac:chgData name="EVELYNSM.YONG" userId="S::evelynsm.yong_gmail.com#ext#@risebcg.onmicrosoft.com::67a27a72-2420-4d38-b745-316a53f4b99a" providerId="AD" clId="Web-{B1695F6B-E229-47A3-B13F-79B478ED93D2}" dt="2022-01-10T10:53:35.134" v="90"/>
          <ac:spMkLst>
            <pc:docMk/>
            <pc:sldMk cId="3531645893" sldId="360"/>
            <ac:spMk id="27" creationId="{9C31BED3-CE5F-440A-A9B8-F5924562E1BA}"/>
          </ac:spMkLst>
        </pc:spChg>
        <pc:spChg chg="mod">
          <ac:chgData name="EVELYNSM.YONG" userId="S::evelynsm.yong_gmail.com#ext#@risebcg.onmicrosoft.com::67a27a72-2420-4d38-b745-316a53f4b99a" providerId="AD" clId="Web-{B1695F6B-E229-47A3-B13F-79B478ED93D2}" dt="2022-01-10T10:54:53.607" v="98"/>
          <ac:spMkLst>
            <pc:docMk/>
            <pc:sldMk cId="3531645893" sldId="360"/>
            <ac:spMk id="29" creationId="{C9BEC35E-523C-4554-8EBD-4475698ECF55}"/>
          </ac:spMkLst>
        </pc:spChg>
        <pc:spChg chg="mod">
          <ac:chgData name="EVELYNSM.YONG" userId="S::evelynsm.yong_gmail.com#ext#@risebcg.onmicrosoft.com::67a27a72-2420-4d38-b745-316a53f4b99a" providerId="AD" clId="Web-{B1695F6B-E229-47A3-B13F-79B478ED93D2}" dt="2022-01-10T10:50:26.577" v="63" actId="1076"/>
          <ac:spMkLst>
            <pc:docMk/>
            <pc:sldMk cId="3531645893" sldId="360"/>
            <ac:spMk id="32" creationId="{643819E7-FC5A-44D2-A6BA-F2C1071FA836}"/>
          </ac:spMkLst>
        </pc:spChg>
        <pc:spChg chg="mod">
          <ac:chgData name="EVELYNSM.YONG" userId="S::evelynsm.yong_gmail.com#ext#@risebcg.onmicrosoft.com::67a27a72-2420-4d38-b745-316a53f4b99a" providerId="AD" clId="Web-{B1695F6B-E229-47A3-B13F-79B478ED93D2}" dt="2022-01-10T10:52:32.724" v="77"/>
          <ac:spMkLst>
            <pc:docMk/>
            <pc:sldMk cId="3531645893" sldId="360"/>
            <ac:spMk id="35" creationId="{BEBA2DB5-D01A-45D1-B10F-CDA2A5C3CE6D}"/>
          </ac:spMkLst>
        </pc:spChg>
        <pc:spChg chg="mod">
          <ac:chgData name="EVELYNSM.YONG" userId="S::evelynsm.yong_gmail.com#ext#@risebcg.onmicrosoft.com::67a27a72-2420-4d38-b745-316a53f4b99a" providerId="AD" clId="Web-{B1695F6B-E229-47A3-B13F-79B478ED93D2}" dt="2022-01-10T10:53:02.601" v="85" actId="14100"/>
          <ac:spMkLst>
            <pc:docMk/>
            <pc:sldMk cId="3531645893" sldId="360"/>
            <ac:spMk id="36" creationId="{078A3856-3300-433F-A501-B031E92BEAC1}"/>
          </ac:spMkLst>
        </pc:spChg>
        <pc:spChg chg="mod ord">
          <ac:chgData name="EVELYNSM.YONG" userId="S::evelynsm.yong_gmail.com#ext#@risebcg.onmicrosoft.com::67a27a72-2420-4d38-b745-316a53f4b99a" providerId="AD" clId="Web-{B1695F6B-E229-47A3-B13F-79B478ED93D2}" dt="2022-01-10T10:52:39.756" v="78"/>
          <ac:spMkLst>
            <pc:docMk/>
            <pc:sldMk cId="3531645893" sldId="360"/>
            <ac:spMk id="37" creationId="{4AB50FB2-2592-4F25-B501-5E5ED17825ED}"/>
          </ac:spMkLst>
        </pc:spChg>
        <pc:spChg chg="mod ord">
          <ac:chgData name="EVELYNSM.YONG" userId="S::evelynsm.yong_gmail.com#ext#@risebcg.onmicrosoft.com::67a27a72-2420-4d38-b745-316a53f4b99a" providerId="AD" clId="Web-{B1695F6B-E229-47A3-B13F-79B478ED93D2}" dt="2022-01-10T10:53:21.321" v="87" actId="1076"/>
          <ac:spMkLst>
            <pc:docMk/>
            <pc:sldMk cId="3531645893" sldId="360"/>
            <ac:spMk id="38" creationId="{CB428AE9-51B3-41CB-A62A-62EA6128CCE3}"/>
          </ac:spMkLst>
        </pc:spChg>
        <pc:spChg chg="mod">
          <ac:chgData name="EVELYNSM.YONG" userId="S::evelynsm.yong_gmail.com#ext#@risebcg.onmicrosoft.com::67a27a72-2420-4d38-b745-316a53f4b99a" providerId="AD" clId="Web-{B1695F6B-E229-47A3-B13F-79B478ED93D2}" dt="2022-01-10T10:53:39.587" v="91"/>
          <ac:spMkLst>
            <pc:docMk/>
            <pc:sldMk cId="3531645893" sldId="360"/>
            <ac:spMk id="40" creationId="{ECF14FD3-8E08-4762-B1DE-BECAD18D177B}"/>
          </ac:spMkLst>
        </pc:spChg>
        <pc:picChg chg="mod">
          <ac:chgData name="EVELYNSM.YONG" userId="S::evelynsm.yong_gmail.com#ext#@risebcg.onmicrosoft.com::67a27a72-2420-4d38-b745-316a53f4b99a" providerId="AD" clId="Web-{B1695F6B-E229-47A3-B13F-79B478ED93D2}" dt="2022-01-10T10:50:14.561" v="61" actId="14100"/>
          <ac:picMkLst>
            <pc:docMk/>
            <pc:sldMk cId="3531645893" sldId="360"/>
            <ac:picMk id="6" creationId="{EF6EAEC0-2A43-4308-9642-0428A55E7A00}"/>
          </ac:picMkLst>
        </pc:picChg>
        <pc:picChg chg="ord">
          <ac:chgData name="EVELYNSM.YONG" userId="S::evelynsm.yong_gmail.com#ext#@risebcg.onmicrosoft.com::67a27a72-2420-4d38-b745-316a53f4b99a" providerId="AD" clId="Web-{B1695F6B-E229-47A3-B13F-79B478ED93D2}" dt="2022-01-10T10:49:13.979" v="42"/>
          <ac:picMkLst>
            <pc:docMk/>
            <pc:sldMk cId="3531645893" sldId="360"/>
            <ac:picMk id="7" creationId="{3D126662-F659-4393-8605-1D4F939D289C}"/>
          </ac:picMkLst>
        </pc:picChg>
        <pc:cxnChg chg="del mod">
          <ac:chgData name="EVELYNSM.YONG" userId="S::evelynsm.yong_gmail.com#ext#@risebcg.onmicrosoft.com::67a27a72-2420-4d38-b745-316a53f4b99a" providerId="AD" clId="Web-{B1695F6B-E229-47A3-B13F-79B478ED93D2}" dt="2022-01-10T10:50:37.953" v="64"/>
          <ac:cxnSpMkLst>
            <pc:docMk/>
            <pc:sldMk cId="3531645893" sldId="360"/>
            <ac:cxnSpMk id="4" creationId="{BAA273B8-78B6-46B8-9FDB-2FE8E5FFAA59}"/>
          </ac:cxnSpMkLst>
        </pc:cxnChg>
        <pc:cxnChg chg="add mod ord">
          <ac:chgData name="EVELYNSM.YONG" userId="S::evelynsm.yong_gmail.com#ext#@risebcg.onmicrosoft.com::67a27a72-2420-4d38-b745-316a53f4b99a" providerId="AD" clId="Web-{B1695F6B-E229-47A3-B13F-79B478ED93D2}" dt="2022-01-10T10:53:26.133" v="88" actId="14100"/>
          <ac:cxnSpMkLst>
            <pc:docMk/>
            <pc:sldMk cId="3531645893" sldId="360"/>
            <ac:cxnSpMk id="31" creationId="{F4074082-46FF-4E13-BA1B-8AFDF7803860}"/>
          </ac:cxnSpMkLst>
        </pc:cxnChg>
        <pc:cxnChg chg="mod ord">
          <ac:chgData name="EVELYNSM.YONG" userId="S::evelynsm.yong_gmail.com#ext#@risebcg.onmicrosoft.com::67a27a72-2420-4d38-b745-316a53f4b99a" providerId="AD" clId="Web-{B1695F6B-E229-47A3-B13F-79B478ED93D2}" dt="2022-01-10T10:52:51.006" v="81"/>
          <ac:cxnSpMkLst>
            <pc:docMk/>
            <pc:sldMk cId="3531645893" sldId="360"/>
            <ac:cxnSpMk id="39" creationId="{C02C1C41-DC87-44F6-B172-862875871040}"/>
          </ac:cxnSpMkLst>
        </pc:cxnChg>
      </pc:sldChg>
    </pc:docChg>
  </pc:docChgLst>
  <pc:docChgLst>
    <pc:chgData name="EVELYNSM.YONG" userId="S::evelynsm.yong_gmail.com#ext#@risebcg.onmicrosoft.com::67a27a72-2420-4d38-b745-316a53f4b99a" providerId="AD" clId="Web-{CD146A5B-B186-475E-8C29-997FD5E6FBB0}"/>
    <pc:docChg chg="modSld">
      <pc:chgData name="EVELYNSM.YONG" userId="S::evelynsm.yong_gmail.com#ext#@risebcg.onmicrosoft.com::67a27a72-2420-4d38-b745-316a53f4b99a" providerId="AD" clId="Web-{CD146A5B-B186-475E-8C29-997FD5E6FBB0}" dt="2022-01-10T02:07:23.339" v="92" actId="1076"/>
      <pc:docMkLst>
        <pc:docMk/>
      </pc:docMkLst>
      <pc:sldChg chg="addSp delSp modSp">
        <pc:chgData name="EVELYNSM.YONG" userId="S::evelynsm.yong_gmail.com#ext#@risebcg.onmicrosoft.com::67a27a72-2420-4d38-b745-316a53f4b99a" providerId="AD" clId="Web-{CD146A5B-B186-475E-8C29-997FD5E6FBB0}" dt="2022-01-10T02:07:23.339" v="92" actId="1076"/>
        <pc:sldMkLst>
          <pc:docMk/>
          <pc:sldMk cId="3531645893" sldId="360"/>
        </pc:sldMkLst>
        <pc:spChg chg="add mod">
          <ac:chgData name="EVELYNSM.YONG" userId="S::evelynsm.yong_gmail.com#ext#@risebcg.onmicrosoft.com::67a27a72-2420-4d38-b745-316a53f4b99a" providerId="AD" clId="Web-{CD146A5B-B186-475E-8C29-997FD5E6FBB0}" dt="2022-01-10T02:07:20.355" v="91" actId="14100"/>
          <ac:spMkLst>
            <pc:docMk/>
            <pc:sldMk cId="3531645893" sldId="360"/>
            <ac:spMk id="5" creationId="{1999C9A4-8C8B-43CC-B77D-B8C58575D4DE}"/>
          </ac:spMkLst>
        </pc:spChg>
        <pc:spChg chg="mod">
          <ac:chgData name="EVELYNSM.YONG" userId="S::evelynsm.yong_gmail.com#ext#@risebcg.onmicrosoft.com::67a27a72-2420-4d38-b745-316a53f4b99a" providerId="AD" clId="Web-{CD146A5B-B186-475E-8C29-997FD5E6FBB0}" dt="2022-01-10T02:05:43.681" v="75" actId="1076"/>
          <ac:spMkLst>
            <pc:docMk/>
            <pc:sldMk cId="3531645893" sldId="360"/>
            <ac:spMk id="9" creationId="{E3C0B427-9E9D-47EC-AFD8-3D8F22D59FE9}"/>
          </ac:spMkLst>
        </pc:spChg>
        <pc:spChg chg="mod">
          <ac:chgData name="EVELYNSM.YONG" userId="S::evelynsm.yong_gmail.com#ext#@risebcg.onmicrosoft.com::67a27a72-2420-4d38-b745-316a53f4b99a" providerId="AD" clId="Web-{CD146A5B-B186-475E-8C29-997FD5E6FBB0}" dt="2022-01-10T02:03:19.803" v="36" actId="1076"/>
          <ac:spMkLst>
            <pc:docMk/>
            <pc:sldMk cId="3531645893" sldId="360"/>
            <ac:spMk id="15" creationId="{EA512C5C-B61E-4EDE-A2CD-308BFA2920DA}"/>
          </ac:spMkLst>
        </pc:spChg>
        <pc:spChg chg="mod">
          <ac:chgData name="EVELYNSM.YONG" userId="S::evelynsm.yong_gmail.com#ext#@risebcg.onmicrosoft.com::67a27a72-2420-4d38-b745-316a53f4b99a" providerId="AD" clId="Web-{CD146A5B-B186-475E-8C29-997FD5E6FBB0}" dt="2022-01-10T02:07:23.339" v="92" actId="1076"/>
          <ac:spMkLst>
            <pc:docMk/>
            <pc:sldMk cId="3531645893" sldId="360"/>
            <ac:spMk id="19" creationId="{950C64E7-6661-4AEA-8068-716AD3707128}"/>
          </ac:spMkLst>
        </pc:spChg>
        <pc:spChg chg="mod">
          <ac:chgData name="EVELYNSM.YONG" userId="S::evelynsm.yong_gmail.com#ext#@risebcg.onmicrosoft.com::67a27a72-2420-4d38-b745-316a53f4b99a" providerId="AD" clId="Web-{CD146A5B-B186-475E-8C29-997FD5E6FBB0}" dt="2022-01-10T02:04:47.821" v="54"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CD146A5B-B186-475E-8C29-997FD5E6FBB0}" dt="2022-01-10T02:04:44.899" v="53" actId="1076"/>
          <ac:spMkLst>
            <pc:docMk/>
            <pc:sldMk cId="3531645893" sldId="360"/>
            <ac:spMk id="22" creationId="{31E2D2F4-E28C-4B52-9C47-E50AD68240D1}"/>
          </ac:spMkLst>
        </pc:spChg>
        <pc:spChg chg="mod">
          <ac:chgData name="EVELYNSM.YONG" userId="S::evelynsm.yong_gmail.com#ext#@risebcg.onmicrosoft.com::67a27a72-2420-4d38-b745-316a53f4b99a" providerId="AD" clId="Web-{CD146A5B-B186-475E-8C29-997FD5E6FBB0}" dt="2022-01-10T02:04:42.930" v="52"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CD146A5B-B186-475E-8C29-997FD5E6FBB0}" dt="2022-01-10T02:04:41.024" v="51" actId="1076"/>
          <ac:spMkLst>
            <pc:docMk/>
            <pc:sldMk cId="3531645893" sldId="360"/>
            <ac:spMk id="24" creationId="{CEFC4E90-FB9D-4E3E-86B1-5712D705BC99}"/>
          </ac:spMkLst>
        </pc:spChg>
        <pc:grpChg chg="add del mod">
          <ac:chgData name="EVELYNSM.YONG" userId="S::evelynsm.yong_gmail.com#ext#@risebcg.onmicrosoft.com::67a27a72-2420-4d38-b745-316a53f4b99a" providerId="AD" clId="Web-{CD146A5B-B186-475E-8C29-997FD5E6FBB0}" dt="2022-01-10T02:04:07.039" v="42"/>
          <ac:grpSpMkLst>
            <pc:docMk/>
            <pc:sldMk cId="3531645893" sldId="360"/>
            <ac:grpSpMk id="2" creationId="{54BD664D-AC17-428F-B75D-77CB92BF5F53}"/>
          </ac:grpSpMkLst>
        </pc:grpChg>
        <pc:grpChg chg="add mod">
          <ac:chgData name="EVELYNSM.YONG" userId="S::evelynsm.yong_gmail.com#ext#@risebcg.onmicrosoft.com::67a27a72-2420-4d38-b745-316a53f4b99a" providerId="AD" clId="Web-{CD146A5B-B186-475E-8C29-997FD5E6FBB0}" dt="2022-01-10T02:04:30.914" v="46" actId="1076"/>
          <ac:grpSpMkLst>
            <pc:docMk/>
            <pc:sldMk cId="3531645893" sldId="360"/>
            <ac:grpSpMk id="4" creationId="{61B1B73A-FFA9-4E13-9361-87D7D06DE48D}"/>
          </ac:grpSpMkLst>
        </pc:grpChg>
        <pc:picChg chg="add mod ord">
          <ac:chgData name="EVELYNSM.YONG" userId="S::evelynsm.yong_gmail.com#ext#@risebcg.onmicrosoft.com::67a27a72-2420-4d38-b745-316a53f4b99a" providerId="AD" clId="Web-{CD146A5B-B186-475E-8C29-997FD5E6FBB0}" dt="2022-01-10T02:07:05.589" v="87" actId="14100"/>
          <ac:picMkLst>
            <pc:docMk/>
            <pc:sldMk cId="3531645893" sldId="360"/>
            <ac:picMk id="3" creationId="{D5FC14B1-A770-4155-9046-CEE54A573DFA}"/>
          </ac:picMkLst>
        </pc:picChg>
        <pc:picChg chg="mod topLvl modCrop">
          <ac:chgData name="EVELYNSM.YONG" userId="S::evelynsm.yong_gmail.com#ext#@risebcg.onmicrosoft.com::67a27a72-2420-4d38-b745-316a53f4b99a" providerId="AD" clId="Web-{CD146A5B-B186-475E-8C29-997FD5E6FBB0}" dt="2022-01-10T02:04:14.086" v="44"/>
          <ac:picMkLst>
            <pc:docMk/>
            <pc:sldMk cId="3531645893" sldId="360"/>
            <ac:picMk id="10" creationId="{584F5D47-ED1E-4045-A0B2-EF545696BD41}"/>
          </ac:picMkLst>
        </pc:picChg>
        <pc:picChg chg="mod topLvl modCrop">
          <ac:chgData name="EVELYNSM.YONG" userId="S::evelynsm.yong_gmail.com#ext#@risebcg.onmicrosoft.com::67a27a72-2420-4d38-b745-316a53f4b99a" providerId="AD" clId="Web-{CD146A5B-B186-475E-8C29-997FD5E6FBB0}" dt="2022-01-10T02:04:07.039" v="42"/>
          <ac:picMkLst>
            <pc:docMk/>
            <pc:sldMk cId="3531645893" sldId="360"/>
            <ac:picMk id="11" creationId="{6CC5917A-A4A9-45C7-865C-75F5E21300B8}"/>
          </ac:picMkLst>
        </pc:picChg>
      </pc:sldChg>
    </pc:docChg>
  </pc:docChgLst>
  <pc:docChgLst>
    <pc:chgData name="WONGYONGLIN91" userId="S::wongyonglin91_gmail.com#ext#@risebcg.onmicrosoft.com::b2d94f93-e580-4f0d-9dda-2138509d25ae" providerId="AD" clId="Web-{C6B74C6D-491E-41E5-B73F-A02C1ED83FFA}"/>
    <pc:docChg chg="modSld">
      <pc:chgData name="WONGYONGLIN91" userId="S::wongyonglin91_gmail.com#ext#@risebcg.onmicrosoft.com::b2d94f93-e580-4f0d-9dda-2138509d25ae" providerId="AD" clId="Web-{C6B74C6D-491E-41E5-B73F-A02C1ED83FFA}" dt="2022-01-09T08:32:09.601" v="164"/>
      <pc:docMkLst>
        <pc:docMk/>
      </pc:docMkLst>
      <pc:sldChg chg="addSp delSp modSp">
        <pc:chgData name="WONGYONGLIN91" userId="S::wongyonglin91_gmail.com#ext#@risebcg.onmicrosoft.com::b2d94f93-e580-4f0d-9dda-2138509d25ae" providerId="AD" clId="Web-{C6B74C6D-491E-41E5-B73F-A02C1ED83FFA}" dt="2022-01-09T08:32:09.601" v="164"/>
        <pc:sldMkLst>
          <pc:docMk/>
          <pc:sldMk cId="3391215681" sldId="339"/>
        </pc:sldMkLst>
        <pc:spChg chg="mod">
          <ac:chgData name="WONGYONGLIN91" userId="S::wongyonglin91_gmail.com#ext#@risebcg.onmicrosoft.com::b2d94f93-e580-4f0d-9dda-2138509d25ae" providerId="AD" clId="Web-{C6B74C6D-491E-41E5-B73F-A02C1ED83FFA}" dt="2022-01-09T07:44:52.570" v="131" actId="20577"/>
          <ac:spMkLst>
            <pc:docMk/>
            <pc:sldMk cId="3391215681" sldId="339"/>
            <ac:spMk id="160" creationId="{129EBF9C-3DCE-40EC-8CFB-1CB201B252BE}"/>
          </ac:spMkLst>
        </pc:spChg>
        <pc:picChg chg="add del mod">
          <ac:chgData name="WONGYONGLIN91" userId="S::wongyonglin91_gmail.com#ext#@risebcg.onmicrosoft.com::b2d94f93-e580-4f0d-9dda-2138509d25ae" providerId="AD" clId="Web-{C6B74C6D-491E-41E5-B73F-A02C1ED83FFA}" dt="2022-01-09T08:32:09.601" v="164"/>
          <ac:picMkLst>
            <pc:docMk/>
            <pc:sldMk cId="3391215681" sldId="339"/>
            <ac:picMk id="3194" creationId="{D4A0E8E6-C6FE-4F6C-8A47-D508562A3090}"/>
          </ac:picMkLst>
        </pc:picChg>
        <pc:inkChg chg="add del">
          <ac:chgData name="WONGYONGLIN91" userId="S::wongyonglin91_gmail.com#ext#@risebcg.onmicrosoft.com::b2d94f93-e580-4f0d-9dda-2138509d25ae" providerId="AD" clId="Web-{C6B74C6D-491E-41E5-B73F-A02C1ED83FFA}" dt="2022-01-09T07:45:34.384" v="142"/>
          <ac:inkMkLst>
            <pc:docMk/>
            <pc:sldMk cId="3391215681" sldId="339"/>
            <ac:inkMk id="3020" creationId="{34A32C8C-6797-46B9-A8EB-15C533EBE5A9}"/>
          </ac:inkMkLst>
        </pc:inkChg>
        <pc:inkChg chg="add del">
          <ac:chgData name="WONGYONGLIN91" userId="S::wongyonglin91_gmail.com#ext#@risebcg.onmicrosoft.com::b2d94f93-e580-4f0d-9dda-2138509d25ae" providerId="AD" clId="Web-{C6B74C6D-491E-41E5-B73F-A02C1ED83FFA}" dt="2022-01-09T07:45:36.540" v="147"/>
          <ac:inkMkLst>
            <pc:docMk/>
            <pc:sldMk cId="3391215681" sldId="339"/>
            <ac:inkMk id="3038" creationId="{19A6B60C-E6EB-4D3E-ABD1-AA4B81E0BF12}"/>
          </ac:inkMkLst>
        </pc:inkChg>
        <pc:inkChg chg="add del">
          <ac:chgData name="WONGYONGLIN91" userId="S::wongyonglin91_gmail.com#ext#@risebcg.onmicrosoft.com::b2d94f93-e580-4f0d-9dda-2138509d25ae" providerId="AD" clId="Web-{C6B74C6D-491E-41E5-B73F-A02C1ED83FFA}" dt="2022-01-09T07:45:34.884" v="143"/>
          <ac:inkMkLst>
            <pc:docMk/>
            <pc:sldMk cId="3391215681" sldId="339"/>
            <ac:inkMk id="3039" creationId="{811A4DAE-D128-4BF1-BBA6-0C4E3DE6F774}"/>
          </ac:inkMkLst>
        </pc:inkChg>
        <pc:inkChg chg="add del">
          <ac:chgData name="WONGYONGLIN91" userId="S::wongyonglin91_gmail.com#ext#@risebcg.onmicrosoft.com::b2d94f93-e580-4f0d-9dda-2138509d25ae" providerId="AD" clId="Web-{C6B74C6D-491E-41E5-B73F-A02C1ED83FFA}" dt="2022-01-09T07:45:34.384" v="141"/>
          <ac:inkMkLst>
            <pc:docMk/>
            <pc:sldMk cId="3391215681" sldId="339"/>
            <ac:inkMk id="3040" creationId="{EA121CB6-EC4E-4BAB-B8DE-F73977D5534E}"/>
          </ac:inkMkLst>
        </pc:inkChg>
        <pc:inkChg chg="add del">
          <ac:chgData name="WONGYONGLIN91" userId="S::wongyonglin91_gmail.com#ext#@risebcg.onmicrosoft.com::b2d94f93-e580-4f0d-9dda-2138509d25ae" providerId="AD" clId="Web-{C6B74C6D-491E-41E5-B73F-A02C1ED83FFA}" dt="2022-01-09T07:45:34.384" v="140"/>
          <ac:inkMkLst>
            <pc:docMk/>
            <pc:sldMk cId="3391215681" sldId="339"/>
            <ac:inkMk id="3041" creationId="{7326D55F-C5A6-4F9A-A556-52949139B5B8}"/>
          </ac:inkMkLst>
        </pc:inkChg>
        <pc:inkChg chg="add del">
          <ac:chgData name="WONGYONGLIN91" userId="S::wongyonglin91_gmail.com#ext#@risebcg.onmicrosoft.com::b2d94f93-e580-4f0d-9dda-2138509d25ae" providerId="AD" clId="Web-{C6B74C6D-491E-41E5-B73F-A02C1ED83FFA}" dt="2022-01-09T07:45:35.446" v="145"/>
          <ac:inkMkLst>
            <pc:docMk/>
            <pc:sldMk cId="3391215681" sldId="339"/>
            <ac:inkMk id="3042" creationId="{D9DF966D-3159-4FCC-9560-969DCB84E98C}"/>
          </ac:inkMkLst>
        </pc:inkChg>
        <pc:inkChg chg="add del">
          <ac:chgData name="WONGYONGLIN91" userId="S::wongyonglin91_gmail.com#ext#@risebcg.onmicrosoft.com::b2d94f93-e580-4f0d-9dda-2138509d25ae" providerId="AD" clId="Web-{C6B74C6D-491E-41E5-B73F-A02C1ED83FFA}" dt="2022-01-09T07:45:35.446" v="144"/>
          <ac:inkMkLst>
            <pc:docMk/>
            <pc:sldMk cId="3391215681" sldId="339"/>
            <ac:inkMk id="3043" creationId="{833FEF53-3C21-40A1-A0BC-7921998FEF2E}"/>
          </ac:inkMkLst>
        </pc:inkChg>
        <pc:inkChg chg="add del">
          <ac:chgData name="WONGYONGLIN91" userId="S::wongyonglin91_gmail.com#ext#@risebcg.onmicrosoft.com::b2d94f93-e580-4f0d-9dda-2138509d25ae" providerId="AD" clId="Web-{C6B74C6D-491E-41E5-B73F-A02C1ED83FFA}" dt="2022-01-09T07:45:35.618" v="146"/>
          <ac:inkMkLst>
            <pc:docMk/>
            <pc:sldMk cId="3391215681" sldId="339"/>
            <ac:inkMk id="3044" creationId="{0BFFA006-0A42-474C-8E3C-112731733D28}"/>
          </ac:inkMkLst>
        </pc:inkChg>
        <pc:inkChg chg="add del">
          <ac:chgData name="WONGYONGLIN91" userId="S::wongyonglin91_gmail.com#ext#@risebcg.onmicrosoft.com::b2d94f93-e580-4f0d-9dda-2138509d25ae" providerId="AD" clId="Web-{C6B74C6D-491E-41E5-B73F-A02C1ED83FFA}" dt="2022-01-09T07:46:09.650" v="149"/>
          <ac:inkMkLst>
            <pc:docMk/>
            <pc:sldMk cId="3391215681" sldId="339"/>
            <ac:inkMk id="3062" creationId="{031403EA-9769-459E-96D3-2F5BD546E543}"/>
          </ac:inkMkLst>
        </pc:inkChg>
      </pc:sldChg>
      <pc:sldChg chg="modSp">
        <pc:chgData name="WONGYONGLIN91" userId="S::wongyonglin91_gmail.com#ext#@risebcg.onmicrosoft.com::b2d94f93-e580-4f0d-9dda-2138509d25ae" providerId="AD" clId="Web-{C6B74C6D-491E-41E5-B73F-A02C1ED83FFA}" dt="2022-01-09T07:35:15.162" v="57" actId="20577"/>
        <pc:sldMkLst>
          <pc:docMk/>
          <pc:sldMk cId="3971465157" sldId="345"/>
        </pc:sldMkLst>
        <pc:spChg chg="mod">
          <ac:chgData name="WONGYONGLIN91" userId="S::wongyonglin91_gmail.com#ext#@risebcg.onmicrosoft.com::b2d94f93-e580-4f0d-9dda-2138509d25ae" providerId="AD" clId="Web-{C6B74C6D-491E-41E5-B73F-A02C1ED83FFA}" dt="2022-01-09T07:35:15.162" v="57" actId="20577"/>
          <ac:spMkLst>
            <pc:docMk/>
            <pc:sldMk cId="3971465157" sldId="345"/>
            <ac:spMk id="2" creationId="{ED14AA63-35D8-4136-8B2F-DE1837A583A2}"/>
          </ac:spMkLst>
        </pc:spChg>
      </pc:sldChg>
      <pc:sldChg chg="modSp">
        <pc:chgData name="WONGYONGLIN91" userId="S::wongyonglin91_gmail.com#ext#@risebcg.onmicrosoft.com::b2d94f93-e580-4f0d-9dda-2138509d25ae" providerId="AD" clId="Web-{C6B74C6D-491E-41E5-B73F-A02C1ED83FFA}" dt="2022-01-09T07:35:18.834" v="67" actId="20577"/>
        <pc:sldMkLst>
          <pc:docMk/>
          <pc:sldMk cId="2149037765" sldId="346"/>
        </pc:sldMkLst>
        <pc:spChg chg="mod">
          <ac:chgData name="WONGYONGLIN91" userId="S::wongyonglin91_gmail.com#ext#@risebcg.onmicrosoft.com::b2d94f93-e580-4f0d-9dda-2138509d25ae" providerId="AD" clId="Web-{C6B74C6D-491E-41E5-B73F-A02C1ED83FFA}" dt="2022-01-09T07:35:18.834" v="67" actId="20577"/>
          <ac:spMkLst>
            <pc:docMk/>
            <pc:sldMk cId="2149037765" sldId="346"/>
            <ac:spMk id="2" creationId="{ED14AA63-35D8-4136-8B2F-DE1837A583A2}"/>
          </ac:spMkLst>
        </pc:spChg>
      </pc:sldChg>
      <pc:sldChg chg="modSp modNotes">
        <pc:chgData name="WONGYONGLIN91" userId="S::wongyonglin91_gmail.com#ext#@risebcg.onmicrosoft.com::b2d94f93-e580-4f0d-9dda-2138509d25ae" providerId="AD" clId="Web-{C6B74C6D-491E-41E5-B73F-A02C1ED83FFA}" dt="2022-01-09T08:24:27.412" v="162"/>
        <pc:sldMkLst>
          <pc:docMk/>
          <pc:sldMk cId="1894441827" sldId="358"/>
        </pc:sldMkLst>
        <pc:spChg chg="mod">
          <ac:chgData name="WONGYONGLIN91" userId="S::wongyonglin91_gmail.com#ext#@risebcg.onmicrosoft.com::b2d94f93-e580-4f0d-9dda-2138509d25ae" providerId="AD" clId="Web-{C6B74C6D-491E-41E5-B73F-A02C1ED83FFA}" dt="2022-01-09T07:14:20.587" v="42" actId="20577"/>
          <ac:spMkLst>
            <pc:docMk/>
            <pc:sldMk cId="1894441827" sldId="358"/>
            <ac:spMk id="17" creationId="{815F3179-193A-4F5E-A1A9-12297C608458}"/>
          </ac:spMkLst>
        </pc:spChg>
        <pc:picChg chg="mod">
          <ac:chgData name="WONGYONGLIN91" userId="S::wongyonglin91_gmail.com#ext#@risebcg.onmicrosoft.com::b2d94f93-e580-4f0d-9dda-2138509d25ae" providerId="AD" clId="Web-{C6B74C6D-491E-41E5-B73F-A02C1ED83FFA}" dt="2022-01-09T07:34:09.065" v="43" actId="14100"/>
          <ac:picMkLst>
            <pc:docMk/>
            <pc:sldMk cId="1894441827" sldId="358"/>
            <ac:picMk id="6" creationId="{5F5024CD-EB7B-49D0-9E4B-B6BFDC4F5683}"/>
          </ac:picMkLst>
        </pc:picChg>
      </pc:sldChg>
    </pc:docChg>
  </pc:docChgLst>
  <pc:docChgLst>
    <pc:chgData name="wei yuan" userId="S::pwy_92_hotmail.com#ext#@risebcg.onmicrosoft.com::ca38e7f8-9ace-4d94-b37a-86e65e91f2b0" providerId="AD" clId="Web-{BCBC7DAA-9194-4E0F-B355-1B8AC41DDAA0}"/>
    <pc:docChg chg="addSld delSld modSld">
      <pc:chgData name="wei yuan" userId="S::pwy_92_hotmail.com#ext#@risebcg.onmicrosoft.com::ca38e7f8-9ace-4d94-b37a-86e65e91f2b0" providerId="AD" clId="Web-{BCBC7DAA-9194-4E0F-B355-1B8AC41DDAA0}" dt="2022-01-07T12:45:06.721" v="11" actId="1076"/>
      <pc:docMkLst>
        <pc:docMk/>
      </pc:docMkLst>
      <pc:sldChg chg="addSp modSp">
        <pc:chgData name="wei yuan" userId="S::pwy_92_hotmail.com#ext#@risebcg.onmicrosoft.com::ca38e7f8-9ace-4d94-b37a-86e65e91f2b0" providerId="AD" clId="Web-{BCBC7DAA-9194-4E0F-B355-1B8AC41DDAA0}" dt="2022-01-07T12:45:06.721" v="11" actId="1076"/>
        <pc:sldMkLst>
          <pc:docMk/>
          <pc:sldMk cId="2316358039" sldId="325"/>
        </pc:sldMkLst>
        <pc:picChg chg="add mod">
          <ac:chgData name="wei yuan" userId="S::pwy_92_hotmail.com#ext#@risebcg.onmicrosoft.com::ca38e7f8-9ace-4d94-b37a-86e65e91f2b0" providerId="AD" clId="Web-{BCBC7DAA-9194-4E0F-B355-1B8AC41DDAA0}" dt="2022-01-07T12:45:06.721" v="11" actId="1076"/>
          <ac:picMkLst>
            <pc:docMk/>
            <pc:sldMk cId="2316358039" sldId="325"/>
            <ac:picMk id="2" creationId="{69CF128B-0B09-4BF1-B2CA-1BA877B1F78B}"/>
          </ac:picMkLst>
        </pc:picChg>
      </pc:sldChg>
      <pc:sldChg chg="add del replId">
        <pc:chgData name="wei yuan" userId="S::pwy_92_hotmail.com#ext#@risebcg.onmicrosoft.com::ca38e7f8-9ace-4d94-b37a-86e65e91f2b0" providerId="AD" clId="Web-{BCBC7DAA-9194-4E0F-B355-1B8AC41DDAA0}" dt="2022-01-07T12:44:35.767" v="2"/>
        <pc:sldMkLst>
          <pc:docMk/>
          <pc:sldMk cId="3512342733" sldId="337"/>
        </pc:sldMkLst>
      </pc:sldChg>
      <pc:sldChg chg="add del replId">
        <pc:chgData name="wei yuan" userId="S::pwy_92_hotmail.com#ext#@risebcg.onmicrosoft.com::ca38e7f8-9ace-4d94-b37a-86e65e91f2b0" providerId="AD" clId="Web-{BCBC7DAA-9194-4E0F-B355-1B8AC41DDAA0}" dt="2022-01-07T12:44:39.048" v="3"/>
        <pc:sldMkLst>
          <pc:docMk/>
          <pc:sldMk cId="1930631681" sldId="338"/>
        </pc:sldMkLst>
      </pc:sldChg>
    </pc:docChg>
  </pc:docChgLst>
  <pc:docChgLst>
    <pc:chgData name="EVELYNSM.YONG" userId="S::evelynsm.yong_gmail.com#ext#@risebcg.onmicrosoft.com::67a27a72-2420-4d38-b745-316a53f4b99a" providerId="AD" clId="Web-{6981EFE4-3ADF-4E20-BA36-B81A1510612B}"/>
    <pc:docChg chg="modSld">
      <pc:chgData name="EVELYNSM.YONG" userId="S::evelynsm.yong_gmail.com#ext#@risebcg.onmicrosoft.com::67a27a72-2420-4d38-b745-316a53f4b99a" providerId="AD" clId="Web-{6981EFE4-3ADF-4E20-BA36-B81A1510612B}" dt="2022-01-10T15:57:59.784" v="33" actId="14100"/>
      <pc:docMkLst>
        <pc:docMk/>
      </pc:docMkLst>
      <pc:sldChg chg="addSp modSp">
        <pc:chgData name="EVELYNSM.YONG" userId="S::evelynsm.yong_gmail.com#ext#@risebcg.onmicrosoft.com::67a27a72-2420-4d38-b745-316a53f4b99a" providerId="AD" clId="Web-{6981EFE4-3ADF-4E20-BA36-B81A1510612B}" dt="2022-01-10T15:57:59.784" v="33" actId="14100"/>
        <pc:sldMkLst>
          <pc:docMk/>
          <pc:sldMk cId="2160415509" sldId="326"/>
        </pc:sldMkLst>
        <pc:spChg chg="mod">
          <ac:chgData name="EVELYNSM.YONG" userId="S::evelynsm.yong_gmail.com#ext#@risebcg.onmicrosoft.com::67a27a72-2420-4d38-b745-316a53f4b99a" providerId="AD" clId="Web-{6981EFE4-3ADF-4E20-BA36-B81A1510612B}" dt="2022-01-10T15:56:53.736" v="14" actId="1076"/>
          <ac:spMkLst>
            <pc:docMk/>
            <pc:sldMk cId="2160415509" sldId="326"/>
            <ac:spMk id="3" creationId="{A06E2C6C-AA2D-4DBA-B448-457815C4CAD3}"/>
          </ac:spMkLst>
        </pc:spChg>
        <pc:spChg chg="mod">
          <ac:chgData name="EVELYNSM.YONG" userId="S::evelynsm.yong_gmail.com#ext#@risebcg.onmicrosoft.com::67a27a72-2420-4d38-b745-316a53f4b99a" providerId="AD" clId="Web-{6981EFE4-3ADF-4E20-BA36-B81A1510612B}" dt="2022-01-10T15:57:59.784" v="33" actId="14100"/>
          <ac:spMkLst>
            <pc:docMk/>
            <pc:sldMk cId="2160415509" sldId="326"/>
            <ac:spMk id="7" creationId="{EE72E06D-8EAE-4242-B1FE-DB5A60BCC68C}"/>
          </ac:spMkLst>
        </pc:spChg>
        <pc:spChg chg="mod">
          <ac:chgData name="EVELYNSM.YONG" userId="S::evelynsm.yong_gmail.com#ext#@risebcg.onmicrosoft.com::67a27a72-2420-4d38-b745-316a53f4b99a" providerId="AD" clId="Web-{6981EFE4-3ADF-4E20-BA36-B81A1510612B}" dt="2022-01-10T15:57:30.830" v="24"/>
          <ac:spMkLst>
            <pc:docMk/>
            <pc:sldMk cId="2160415509" sldId="326"/>
            <ac:spMk id="10" creationId="{F403E5AA-CAF9-429E-AF8A-D6CAE94AE104}"/>
          </ac:spMkLst>
        </pc:spChg>
        <pc:spChg chg="mod">
          <ac:chgData name="EVELYNSM.YONG" userId="S::evelynsm.yong_gmail.com#ext#@risebcg.onmicrosoft.com::67a27a72-2420-4d38-b745-316a53f4b99a" providerId="AD" clId="Web-{6981EFE4-3ADF-4E20-BA36-B81A1510612B}" dt="2022-01-10T15:57:35.549" v="26" actId="1076"/>
          <ac:spMkLst>
            <pc:docMk/>
            <pc:sldMk cId="2160415509" sldId="326"/>
            <ac:spMk id="12" creationId="{E8C9A459-A11F-4DB3-BC61-E14A0DC903CB}"/>
          </ac:spMkLst>
        </pc:spChg>
        <pc:spChg chg="mod">
          <ac:chgData name="EVELYNSM.YONG" userId="S::evelynsm.yong_gmail.com#ext#@risebcg.onmicrosoft.com::67a27a72-2420-4d38-b745-316a53f4b99a" providerId="AD" clId="Web-{6981EFE4-3ADF-4E20-BA36-B81A1510612B}" dt="2022-01-10T15:56:27.220" v="4" actId="1076"/>
          <ac:spMkLst>
            <pc:docMk/>
            <pc:sldMk cId="2160415509" sldId="326"/>
            <ac:spMk id="14" creationId="{12CD60CA-AC80-48C2-9831-7C24A5BBDBE7}"/>
          </ac:spMkLst>
        </pc:spChg>
        <pc:spChg chg="mod">
          <ac:chgData name="EVELYNSM.YONG" userId="S::evelynsm.yong_gmail.com#ext#@risebcg.onmicrosoft.com::67a27a72-2420-4d38-b745-316a53f4b99a" providerId="AD" clId="Web-{6981EFE4-3ADF-4E20-BA36-B81A1510612B}" dt="2022-01-10T15:56:32.923" v="7"/>
          <ac:spMkLst>
            <pc:docMk/>
            <pc:sldMk cId="2160415509" sldId="326"/>
            <ac:spMk id="15" creationId="{1F2C1FDF-EED7-4160-A26E-17CDC484D1F4}"/>
          </ac:spMkLst>
        </pc:spChg>
        <pc:spChg chg="mod">
          <ac:chgData name="EVELYNSM.YONG" userId="S::evelynsm.yong_gmail.com#ext#@risebcg.onmicrosoft.com::67a27a72-2420-4d38-b745-316a53f4b99a" providerId="AD" clId="Web-{6981EFE4-3ADF-4E20-BA36-B81A1510612B}" dt="2022-01-10T15:57:24.065" v="22" actId="1076"/>
          <ac:spMkLst>
            <pc:docMk/>
            <pc:sldMk cId="2160415509" sldId="326"/>
            <ac:spMk id="16" creationId="{61F108A6-436D-4F03-92A9-5601D56E72A0}"/>
          </ac:spMkLst>
        </pc:spChg>
        <pc:spChg chg="add mod">
          <ac:chgData name="EVELYNSM.YONG" userId="S::evelynsm.yong_gmail.com#ext#@risebcg.onmicrosoft.com::67a27a72-2420-4d38-b745-316a53f4b99a" providerId="AD" clId="Web-{6981EFE4-3ADF-4E20-BA36-B81A1510612B}" dt="2022-01-10T15:57:55.534" v="32" actId="14100"/>
          <ac:spMkLst>
            <pc:docMk/>
            <pc:sldMk cId="2160415509" sldId="326"/>
            <ac:spMk id="17" creationId="{DDF5B590-7633-4FDD-B31B-61FFF495E327}"/>
          </ac:spMkLst>
        </pc:spChg>
        <pc:picChg chg="mod">
          <ac:chgData name="EVELYNSM.YONG" userId="S::evelynsm.yong_gmail.com#ext#@risebcg.onmicrosoft.com::67a27a72-2420-4d38-b745-316a53f4b99a" providerId="AD" clId="Web-{6981EFE4-3ADF-4E20-BA36-B81A1510612B}" dt="2022-01-10T15:57:13.408" v="19" actId="14100"/>
          <ac:picMkLst>
            <pc:docMk/>
            <pc:sldMk cId="2160415509" sldId="326"/>
            <ac:picMk id="8" creationId="{1F3B5E8D-69F3-429F-8C72-BA870189EF2F}"/>
          </ac:picMkLst>
        </pc:picChg>
      </pc:sldChg>
    </pc:docChg>
  </pc:docChgLst>
  <pc:docChgLst>
    <pc:chgData name="COSMOSFREN" userId="S::cosmosfren_yahoo.com#ext#@risebcg.onmicrosoft.com::5462f5f4-f618-47aa-abd8-fd504e002570" providerId="AD" clId="Web-{DCEE5406-83BB-48F0-AF89-99663C2BD9DB}"/>
    <pc:docChg chg="addSld delSld modSld sldOrd">
      <pc:chgData name="COSMOSFREN" userId="S::cosmosfren_yahoo.com#ext#@risebcg.onmicrosoft.com::5462f5f4-f618-47aa-abd8-fd504e002570" providerId="AD" clId="Web-{DCEE5406-83BB-48F0-AF89-99663C2BD9DB}" dt="2022-01-08T16:29:50.092" v="2212" actId="1076"/>
      <pc:docMkLst>
        <pc:docMk/>
      </pc:docMkLst>
      <pc:sldChg chg="ord">
        <pc:chgData name="COSMOSFREN" userId="S::cosmosfren_yahoo.com#ext#@risebcg.onmicrosoft.com::5462f5f4-f618-47aa-abd8-fd504e002570" providerId="AD" clId="Web-{DCEE5406-83BB-48F0-AF89-99663C2BD9DB}" dt="2022-01-08T16:11:32.085" v="1152"/>
        <pc:sldMkLst>
          <pc:docMk/>
          <pc:sldMk cId="2997843956" sldId="282"/>
        </pc:sldMkLst>
      </pc:sldChg>
      <pc:sldChg chg="delSp modSp ord">
        <pc:chgData name="COSMOSFREN" userId="S::cosmosfren_yahoo.com#ext#@risebcg.onmicrosoft.com::5462f5f4-f618-47aa-abd8-fd504e002570" providerId="AD" clId="Web-{DCEE5406-83BB-48F0-AF89-99663C2BD9DB}" dt="2022-01-08T16:20:46.579" v="1538" actId="1076"/>
        <pc:sldMkLst>
          <pc:docMk/>
          <pc:sldMk cId="2651815169" sldId="283"/>
        </pc:sldMkLst>
        <pc:spChg chg="mod">
          <ac:chgData name="COSMOSFREN" userId="S::cosmosfren_yahoo.com#ext#@risebcg.onmicrosoft.com::5462f5f4-f618-47aa-abd8-fd504e002570" providerId="AD" clId="Web-{DCEE5406-83BB-48F0-AF89-99663C2BD9DB}" dt="2022-01-08T15:42:31.851" v="943" actId="20577"/>
          <ac:spMkLst>
            <pc:docMk/>
            <pc:sldMk cId="2651815169" sldId="283"/>
            <ac:spMk id="4" creationId="{C3F6C5B1-254F-4FE6-BDCC-5FB9103008E3}"/>
          </ac:spMkLst>
        </pc:spChg>
        <pc:spChg chg="del">
          <ac:chgData name="COSMOSFREN" userId="S::cosmosfren_yahoo.com#ext#@risebcg.onmicrosoft.com::5462f5f4-f618-47aa-abd8-fd504e002570" providerId="AD" clId="Web-{DCEE5406-83BB-48F0-AF89-99663C2BD9DB}" dt="2022-01-08T16:19:38.703" v="1522"/>
          <ac:spMkLst>
            <pc:docMk/>
            <pc:sldMk cId="2651815169" sldId="283"/>
            <ac:spMk id="5" creationId="{860E882A-0BA4-44D6-AAB6-065F26C5A510}"/>
          </ac:spMkLst>
        </pc:spChg>
        <pc:spChg chg="del">
          <ac:chgData name="COSMOSFREN" userId="S::cosmosfren_yahoo.com#ext#@risebcg.onmicrosoft.com::5462f5f4-f618-47aa-abd8-fd504e002570" providerId="AD" clId="Web-{DCEE5406-83BB-48F0-AF89-99663C2BD9DB}" dt="2022-01-08T16:19:44.781" v="1524"/>
          <ac:spMkLst>
            <pc:docMk/>
            <pc:sldMk cId="2651815169" sldId="283"/>
            <ac:spMk id="6" creationId="{C19CDE0B-BC03-436C-B994-4E622170A517}"/>
          </ac:spMkLst>
        </pc:spChg>
        <pc:spChg chg="mod">
          <ac:chgData name="COSMOSFREN" userId="S::cosmosfren_yahoo.com#ext#@risebcg.onmicrosoft.com::5462f5f4-f618-47aa-abd8-fd504e002570" providerId="AD" clId="Web-{DCEE5406-83BB-48F0-AF89-99663C2BD9DB}" dt="2022-01-08T16:20:46.579" v="1538" actId="1076"/>
          <ac:spMkLst>
            <pc:docMk/>
            <pc:sldMk cId="2651815169" sldId="283"/>
            <ac:spMk id="7" creationId="{E61FCFC1-D89A-45B3-AC51-C90F2B6D8A09}"/>
          </ac:spMkLst>
        </pc:spChg>
        <pc:spChg chg="mod">
          <ac:chgData name="COSMOSFREN" userId="S::cosmosfren_yahoo.com#ext#@risebcg.onmicrosoft.com::5462f5f4-f618-47aa-abd8-fd504e002570" providerId="AD" clId="Web-{DCEE5406-83BB-48F0-AF89-99663C2BD9DB}" dt="2022-01-08T16:20:43.517" v="1537" actId="1076"/>
          <ac:spMkLst>
            <pc:docMk/>
            <pc:sldMk cId="2651815169" sldId="283"/>
            <ac:spMk id="8" creationId="{0B2D1DB4-275D-4442-B3F2-C378D29324DA}"/>
          </ac:spMkLst>
        </pc:spChg>
        <pc:spChg chg="del">
          <ac:chgData name="COSMOSFREN" userId="S::cosmosfren_yahoo.com#ext#@risebcg.onmicrosoft.com::5462f5f4-f618-47aa-abd8-fd504e002570" providerId="AD" clId="Web-{DCEE5406-83BB-48F0-AF89-99663C2BD9DB}" dt="2022-01-08T16:20:38.548" v="1535"/>
          <ac:spMkLst>
            <pc:docMk/>
            <pc:sldMk cId="2651815169" sldId="283"/>
            <ac:spMk id="9" creationId="{266A93B1-3355-4627-BD3B-DFC8B5544E1F}"/>
          </ac:spMkLst>
        </pc:spChg>
        <pc:spChg chg="mod">
          <ac:chgData name="COSMOSFREN" userId="S::cosmosfren_yahoo.com#ext#@risebcg.onmicrosoft.com::5462f5f4-f618-47aa-abd8-fd504e002570" providerId="AD" clId="Web-{DCEE5406-83BB-48F0-AF89-99663C2BD9DB}" dt="2022-01-08T16:20:41.188" v="1536" actId="1076"/>
          <ac:spMkLst>
            <pc:docMk/>
            <pc:sldMk cId="2651815169" sldId="283"/>
            <ac:spMk id="12" creationId="{325314B2-7B51-4562-8DBD-8B937B7D6B5C}"/>
          </ac:spMkLst>
        </pc:spChg>
        <pc:spChg chg="del">
          <ac:chgData name="COSMOSFREN" userId="S::cosmosfren_yahoo.com#ext#@risebcg.onmicrosoft.com::5462f5f4-f618-47aa-abd8-fd504e002570" providerId="AD" clId="Web-{DCEE5406-83BB-48F0-AF89-99663C2BD9DB}" dt="2022-01-08T16:19:47.859" v="1525"/>
          <ac:spMkLst>
            <pc:docMk/>
            <pc:sldMk cId="2651815169" sldId="283"/>
            <ac:spMk id="38" creationId="{17452DE5-A056-4E6A-8B53-E5726A915E05}"/>
          </ac:spMkLst>
        </pc:spChg>
        <pc:grpChg chg="del">
          <ac:chgData name="COSMOSFREN" userId="S::cosmosfren_yahoo.com#ext#@risebcg.onmicrosoft.com::5462f5f4-f618-47aa-abd8-fd504e002570" providerId="AD" clId="Web-{DCEE5406-83BB-48F0-AF89-99663C2BD9DB}" dt="2022-01-08T16:19:43.078" v="1523"/>
          <ac:grpSpMkLst>
            <pc:docMk/>
            <pc:sldMk cId="2651815169" sldId="283"/>
            <ac:grpSpMk id="29" creationId="{CD4A0C46-304C-4267-88B8-C4CD5B48E36C}"/>
          </ac:grpSpMkLst>
        </pc:grpChg>
        <pc:grpChg chg="del">
          <ac:chgData name="COSMOSFREN" userId="S::cosmosfren_yahoo.com#ext#@risebcg.onmicrosoft.com::5462f5f4-f618-47aa-abd8-fd504e002570" providerId="AD" clId="Web-{DCEE5406-83BB-48F0-AF89-99663C2BD9DB}" dt="2022-01-08T16:20:35.860" v="1534"/>
          <ac:grpSpMkLst>
            <pc:docMk/>
            <pc:sldMk cId="2651815169" sldId="283"/>
            <ac:grpSpMk id="34" creationId="{4087CC36-C158-47EB-BAF4-D71516D3E5DA}"/>
          </ac:grpSpMkLst>
        </pc:grpChg>
      </pc:sldChg>
      <pc:sldChg chg="ord">
        <pc:chgData name="COSMOSFREN" userId="S::cosmosfren_yahoo.com#ext#@risebcg.onmicrosoft.com::5462f5f4-f618-47aa-abd8-fd504e002570" providerId="AD" clId="Web-{DCEE5406-83BB-48F0-AF89-99663C2BD9DB}" dt="2022-01-08T16:10:11.006" v="1150"/>
        <pc:sldMkLst>
          <pc:docMk/>
          <pc:sldMk cId="2307665363" sldId="309"/>
        </pc:sldMkLst>
      </pc:sldChg>
      <pc:sldChg chg="modSp modNotes">
        <pc:chgData name="COSMOSFREN" userId="S::cosmosfren_yahoo.com#ext#@risebcg.onmicrosoft.com::5462f5f4-f618-47aa-abd8-fd504e002570" providerId="AD" clId="Web-{DCEE5406-83BB-48F0-AF89-99663C2BD9DB}" dt="2022-01-08T16:01:25.355" v="1146" actId="20577"/>
        <pc:sldMkLst>
          <pc:docMk/>
          <pc:sldMk cId="4084366951" sldId="318"/>
        </pc:sldMkLst>
        <pc:spChg chg="mod">
          <ac:chgData name="COSMOSFREN" userId="S::cosmosfren_yahoo.com#ext#@risebcg.onmicrosoft.com::5462f5f4-f618-47aa-abd8-fd504e002570" providerId="AD" clId="Web-{DCEE5406-83BB-48F0-AF89-99663C2BD9DB}" dt="2022-01-08T16:01:25.355" v="1146" actId="20577"/>
          <ac:spMkLst>
            <pc:docMk/>
            <pc:sldMk cId="4084366951" sldId="318"/>
            <ac:spMk id="32" creationId="{41E099E5-F68B-4939-9F7A-B9CC2E5F333A}"/>
          </ac:spMkLst>
        </pc:spChg>
      </pc:sldChg>
      <pc:sldChg chg="ord">
        <pc:chgData name="COSMOSFREN" userId="S::cosmosfren_yahoo.com#ext#@risebcg.onmicrosoft.com::5462f5f4-f618-47aa-abd8-fd504e002570" providerId="AD" clId="Web-{DCEE5406-83BB-48F0-AF89-99663C2BD9DB}" dt="2022-01-08T16:10:14.662" v="1151"/>
        <pc:sldMkLst>
          <pc:docMk/>
          <pc:sldMk cId="1791060006" sldId="319"/>
        </pc:sldMkLst>
      </pc:sldChg>
      <pc:sldChg chg="addSp delSp modSp">
        <pc:chgData name="COSMOSFREN" userId="S::cosmosfren_yahoo.com#ext#@risebcg.onmicrosoft.com::5462f5f4-f618-47aa-abd8-fd504e002570" providerId="AD" clId="Web-{DCEE5406-83BB-48F0-AF89-99663C2BD9DB}" dt="2022-01-08T14:47:15.587" v="547" actId="14100"/>
        <pc:sldMkLst>
          <pc:docMk/>
          <pc:sldMk cId="3666302761" sldId="324"/>
        </pc:sldMkLst>
        <pc:spChg chg="del">
          <ac:chgData name="COSMOSFREN" userId="S::cosmosfren_yahoo.com#ext#@risebcg.onmicrosoft.com::5462f5f4-f618-47aa-abd8-fd504e002570" providerId="AD" clId="Web-{DCEE5406-83BB-48F0-AF89-99663C2BD9DB}" dt="2022-01-08T14:21:04.279" v="78"/>
          <ac:spMkLst>
            <pc:docMk/>
            <pc:sldMk cId="3666302761" sldId="324"/>
            <ac:spMk id="4" creationId="{19708EDC-3A90-4EC0-A789-51301070BDC6}"/>
          </ac:spMkLst>
        </pc:spChg>
        <pc:spChg chg="add mod">
          <ac:chgData name="COSMOSFREN" userId="S::cosmosfren_yahoo.com#ext#@risebcg.onmicrosoft.com::5462f5f4-f618-47aa-abd8-fd504e002570" providerId="AD" clId="Web-{DCEE5406-83BB-48F0-AF89-99663C2BD9DB}" dt="2022-01-08T14:25:40.190" v="208" actId="1076"/>
          <ac:spMkLst>
            <pc:docMk/>
            <pc:sldMk cId="3666302761" sldId="324"/>
            <ac:spMk id="5" creationId="{0A784A15-5CA4-4DDF-B588-22BE7AFBC9A8}"/>
          </ac:spMkLst>
        </pc:spChg>
        <pc:spChg chg="mod">
          <ac:chgData name="COSMOSFREN" userId="S::cosmosfren_yahoo.com#ext#@risebcg.onmicrosoft.com::5462f5f4-f618-47aa-abd8-fd504e002570" providerId="AD" clId="Web-{DCEE5406-83BB-48F0-AF89-99663C2BD9DB}" dt="2022-01-08T14:43:04.349" v="482" actId="1076"/>
          <ac:spMkLst>
            <pc:docMk/>
            <pc:sldMk cId="3666302761" sldId="324"/>
            <ac:spMk id="6" creationId="{2421FA36-AD2A-4740-8B15-775BD01D9062}"/>
          </ac:spMkLst>
        </pc:spChg>
        <pc:spChg chg="mod">
          <ac:chgData name="COSMOSFREN" userId="S::cosmosfren_yahoo.com#ext#@risebcg.onmicrosoft.com::5462f5f4-f618-47aa-abd8-fd504e002570" providerId="AD" clId="Web-{DCEE5406-83BB-48F0-AF89-99663C2BD9DB}" dt="2022-01-08T14:18:28.870" v="64" actId="1076"/>
          <ac:spMkLst>
            <pc:docMk/>
            <pc:sldMk cId="3666302761" sldId="324"/>
            <ac:spMk id="7" creationId="{5040411B-0A54-429E-94AB-0F4DA7C1917E}"/>
          </ac:spMkLst>
        </pc:spChg>
        <pc:spChg chg="add del mod">
          <ac:chgData name="COSMOSFREN" userId="S::cosmosfren_yahoo.com#ext#@risebcg.onmicrosoft.com::5462f5f4-f618-47aa-abd8-fd504e002570" providerId="AD" clId="Web-{DCEE5406-83BB-48F0-AF89-99663C2BD9DB}" dt="2022-01-08T14:42:33.645" v="481"/>
          <ac:spMkLst>
            <pc:docMk/>
            <pc:sldMk cId="3666302761" sldId="324"/>
            <ac:spMk id="10" creationId="{BA5A4344-237C-4981-843D-17E5A74D5601}"/>
          </ac:spMkLst>
        </pc:spChg>
        <pc:spChg chg="mod">
          <ac:chgData name="COSMOSFREN" userId="S::cosmosfren_yahoo.com#ext#@risebcg.onmicrosoft.com::5462f5f4-f618-47aa-abd8-fd504e002570" providerId="AD" clId="Web-{DCEE5406-83BB-48F0-AF89-99663C2BD9DB}" dt="2022-01-08T14:18:30.886" v="65" actId="1076"/>
          <ac:spMkLst>
            <pc:docMk/>
            <pc:sldMk cId="3666302761" sldId="324"/>
            <ac:spMk id="12" creationId="{844D08C5-3EE5-4BAC-9392-6CA8001CAD4E}"/>
          </ac:spMkLst>
        </pc:spChg>
        <pc:spChg chg="del">
          <ac:chgData name="COSMOSFREN" userId="S::cosmosfren_yahoo.com#ext#@risebcg.onmicrosoft.com::5462f5f4-f618-47aa-abd8-fd504e002570" providerId="AD" clId="Web-{DCEE5406-83BB-48F0-AF89-99663C2BD9DB}" dt="2022-01-08T14:17:52.667" v="60"/>
          <ac:spMkLst>
            <pc:docMk/>
            <pc:sldMk cId="3666302761" sldId="324"/>
            <ac:spMk id="13" creationId="{003E35E4-DB87-4D35-8663-60FF12DD7B69}"/>
          </ac:spMkLst>
        </pc:spChg>
        <pc:spChg chg="del mod">
          <ac:chgData name="COSMOSFREN" userId="S::cosmosfren_yahoo.com#ext#@risebcg.onmicrosoft.com::5462f5f4-f618-47aa-abd8-fd504e002570" providerId="AD" clId="Web-{DCEE5406-83BB-48F0-AF89-99663C2BD9DB}" dt="2022-01-08T14:17:49.963" v="59"/>
          <ac:spMkLst>
            <pc:docMk/>
            <pc:sldMk cId="3666302761" sldId="324"/>
            <ac:spMk id="14" creationId="{CD92118D-BCDA-4C90-B9D2-09972FA65EE3}"/>
          </ac:spMkLst>
        </pc:spChg>
        <pc:spChg chg="del">
          <ac:chgData name="COSMOSFREN" userId="S::cosmosfren_yahoo.com#ext#@risebcg.onmicrosoft.com::5462f5f4-f618-47aa-abd8-fd504e002570" providerId="AD" clId="Web-{DCEE5406-83BB-48F0-AF89-99663C2BD9DB}" dt="2022-01-08T14:17:56.839" v="62"/>
          <ac:spMkLst>
            <pc:docMk/>
            <pc:sldMk cId="3666302761" sldId="324"/>
            <ac:spMk id="21" creationId="{46156451-ECB4-4520-895C-009D1F9E8343}"/>
          </ac:spMkLst>
        </pc:spChg>
        <pc:spChg chg="del">
          <ac:chgData name="COSMOSFREN" userId="S::cosmosfren_yahoo.com#ext#@risebcg.onmicrosoft.com::5462f5f4-f618-47aa-abd8-fd504e002570" providerId="AD" clId="Web-{DCEE5406-83BB-48F0-AF89-99663C2BD9DB}" dt="2022-01-08T14:14:26.241" v="3"/>
          <ac:spMkLst>
            <pc:docMk/>
            <pc:sldMk cId="3666302761" sldId="324"/>
            <ac:spMk id="22" creationId="{C16AF6E1-B243-4B07-9F33-544B588862C6}"/>
          </ac:spMkLst>
        </pc:spChg>
        <pc:spChg chg="del mod">
          <ac:chgData name="COSMOSFREN" userId="S::cosmosfren_yahoo.com#ext#@risebcg.onmicrosoft.com::5462f5f4-f618-47aa-abd8-fd504e002570" providerId="AD" clId="Web-{DCEE5406-83BB-48F0-AF89-99663C2BD9DB}" dt="2022-01-08T14:17:55.604" v="61"/>
          <ac:spMkLst>
            <pc:docMk/>
            <pc:sldMk cId="3666302761" sldId="324"/>
            <ac:spMk id="23" creationId="{437837FB-28C6-4D49-A0CB-199C96E6B187}"/>
          </ac:spMkLst>
        </pc:spChg>
        <pc:spChg chg="del">
          <ac:chgData name="COSMOSFREN" userId="S::cosmosfren_yahoo.com#ext#@risebcg.onmicrosoft.com::5462f5f4-f618-47aa-abd8-fd504e002570" providerId="AD" clId="Web-{DCEE5406-83BB-48F0-AF89-99663C2BD9DB}" dt="2022-01-08T14:14:24.366" v="2"/>
          <ac:spMkLst>
            <pc:docMk/>
            <pc:sldMk cId="3666302761" sldId="324"/>
            <ac:spMk id="24" creationId="{3A5B42D3-2732-4D38-8D3A-233FB4F41BD0}"/>
          </ac:spMkLst>
        </pc:spChg>
        <pc:spChg chg="del mod">
          <ac:chgData name="COSMOSFREN" userId="S::cosmosfren_yahoo.com#ext#@risebcg.onmicrosoft.com::5462f5f4-f618-47aa-abd8-fd504e002570" providerId="AD" clId="Web-{DCEE5406-83BB-48F0-AF89-99663C2BD9DB}" dt="2022-01-08T14:46:28.118" v="540"/>
          <ac:spMkLst>
            <pc:docMk/>
            <pc:sldMk cId="3666302761" sldId="324"/>
            <ac:spMk id="25" creationId="{A72C66DB-3DFA-4DD0-BB16-94A4A31F5E94}"/>
          </ac:spMkLst>
        </pc:spChg>
        <pc:spChg chg="del">
          <ac:chgData name="COSMOSFREN" userId="S::cosmosfren_yahoo.com#ext#@risebcg.onmicrosoft.com::5462f5f4-f618-47aa-abd8-fd504e002570" providerId="AD" clId="Web-{DCEE5406-83BB-48F0-AF89-99663C2BD9DB}" dt="2022-01-08T14:17:39.307" v="57"/>
          <ac:spMkLst>
            <pc:docMk/>
            <pc:sldMk cId="3666302761" sldId="324"/>
            <ac:spMk id="26" creationId="{22DD1760-D9EC-405F-9AAD-63EC690DC033}"/>
          </ac:spMkLst>
        </pc:spChg>
        <pc:spChg chg="del mod">
          <ac:chgData name="COSMOSFREN" userId="S::cosmosfren_yahoo.com#ext#@risebcg.onmicrosoft.com::5462f5f4-f618-47aa-abd8-fd504e002570" providerId="AD" clId="Web-{DCEE5406-83BB-48F0-AF89-99663C2BD9DB}" dt="2022-01-08T14:17:40.995" v="58"/>
          <ac:spMkLst>
            <pc:docMk/>
            <pc:sldMk cId="3666302761" sldId="324"/>
            <ac:spMk id="27" creationId="{B2BF4484-08EE-483A-BA89-BC8EDC410538}"/>
          </ac:spMkLst>
        </pc:spChg>
        <pc:spChg chg="add mod">
          <ac:chgData name="COSMOSFREN" userId="S::cosmosfren_yahoo.com#ext#@risebcg.onmicrosoft.com::5462f5f4-f618-47aa-abd8-fd504e002570" providerId="AD" clId="Web-{DCEE5406-83BB-48F0-AF89-99663C2BD9DB}" dt="2022-01-08T14:47:15.587" v="547" actId="14100"/>
          <ac:spMkLst>
            <pc:docMk/>
            <pc:sldMk cId="3666302761" sldId="324"/>
            <ac:spMk id="28" creationId="{5BEF8CBE-6A99-4BE1-8789-ABAC27A176FF}"/>
          </ac:spMkLst>
        </pc:spChg>
        <pc:picChg chg="add del mod">
          <ac:chgData name="COSMOSFREN" userId="S::cosmosfren_yahoo.com#ext#@risebcg.onmicrosoft.com::5462f5f4-f618-47aa-abd8-fd504e002570" providerId="AD" clId="Web-{DCEE5406-83BB-48F0-AF89-99663C2BD9DB}" dt="2022-01-08T14:23:28.172" v="147"/>
          <ac:picMkLst>
            <pc:docMk/>
            <pc:sldMk cId="3666302761" sldId="324"/>
            <ac:picMk id="2" creationId="{88762641-72FA-4693-B862-FC23B606047C}"/>
          </ac:picMkLst>
        </pc:picChg>
        <pc:picChg chg="add del mod">
          <ac:chgData name="COSMOSFREN" userId="S::cosmosfren_yahoo.com#ext#@risebcg.onmicrosoft.com::5462f5f4-f618-47aa-abd8-fd504e002570" providerId="AD" clId="Web-{DCEE5406-83BB-48F0-AF89-99663C2BD9DB}" dt="2022-01-08T14:24:42.939" v="196"/>
          <ac:picMkLst>
            <pc:docMk/>
            <pc:sldMk cId="3666302761" sldId="324"/>
            <ac:picMk id="3" creationId="{4E5F2E46-8730-40D6-B3BE-CE1B16367A34}"/>
          </ac:picMkLst>
        </pc:picChg>
        <pc:picChg chg="del">
          <ac:chgData name="COSMOSFREN" userId="S::cosmosfren_yahoo.com#ext#@risebcg.onmicrosoft.com::5462f5f4-f618-47aa-abd8-fd504e002570" providerId="AD" clId="Web-{DCEE5406-83BB-48F0-AF89-99663C2BD9DB}" dt="2022-01-08T14:17:35.135" v="56"/>
          <ac:picMkLst>
            <pc:docMk/>
            <pc:sldMk cId="3666302761" sldId="324"/>
            <ac:picMk id="11" creationId="{CD86A313-65D2-4D12-B76F-922156737525}"/>
          </ac:picMkLst>
        </pc:picChg>
        <pc:picChg chg="mod">
          <ac:chgData name="COSMOSFREN" userId="S::cosmosfren_yahoo.com#ext#@risebcg.onmicrosoft.com::5462f5f4-f618-47aa-abd8-fd504e002570" providerId="AD" clId="Web-{DCEE5406-83BB-48F0-AF89-99663C2BD9DB}" dt="2022-01-08T14:25:35.565" v="207" actId="14100"/>
          <ac:picMkLst>
            <pc:docMk/>
            <pc:sldMk cId="3666302761" sldId="324"/>
            <ac:picMk id="15" creationId="{5D59DB1C-172C-47ED-95FD-1E3F001466CE}"/>
          </ac:picMkLst>
        </pc:picChg>
        <pc:picChg chg="add del">
          <ac:chgData name="COSMOSFREN" userId="S::cosmosfren_yahoo.com#ext#@risebcg.onmicrosoft.com::5462f5f4-f618-47aa-abd8-fd504e002570" providerId="AD" clId="Web-{DCEE5406-83BB-48F0-AF89-99663C2BD9DB}" dt="2022-01-08T14:22:55.141" v="139"/>
          <ac:picMkLst>
            <pc:docMk/>
            <pc:sldMk cId="3666302761" sldId="324"/>
            <ac:picMk id="20" creationId="{AC1AE87E-05CA-4ABD-ADB8-D114BBAF3D4D}"/>
          </ac:picMkLst>
        </pc:picChg>
      </pc:sldChg>
      <pc:sldChg chg="delSp modSp ord">
        <pc:chgData name="COSMOSFREN" userId="S::cosmosfren_yahoo.com#ext#@risebcg.onmicrosoft.com::5462f5f4-f618-47aa-abd8-fd504e002570" providerId="AD" clId="Web-{DCEE5406-83BB-48F0-AF89-99663C2BD9DB}" dt="2022-01-08T14:58:13.583" v="564"/>
        <pc:sldMkLst>
          <pc:docMk/>
          <pc:sldMk cId="2316358039" sldId="325"/>
        </pc:sldMkLst>
        <pc:spChg chg="del mod">
          <ac:chgData name="COSMOSFREN" userId="S::cosmosfren_yahoo.com#ext#@risebcg.onmicrosoft.com::5462f5f4-f618-47aa-abd8-fd504e002570" providerId="AD" clId="Web-{DCEE5406-83BB-48F0-AF89-99663C2BD9DB}" dt="2022-01-08T14:13:47.662" v="1"/>
          <ac:spMkLst>
            <pc:docMk/>
            <pc:sldMk cId="2316358039" sldId="325"/>
            <ac:spMk id="3" creationId="{424AF61A-30BE-4BE9-9F56-D2497C21C355}"/>
          </ac:spMkLst>
        </pc:spChg>
        <pc:spChg chg="mod">
          <ac:chgData name="COSMOSFREN" userId="S::cosmosfren_yahoo.com#ext#@risebcg.onmicrosoft.com::5462f5f4-f618-47aa-abd8-fd504e002570" providerId="AD" clId="Web-{DCEE5406-83BB-48F0-AF89-99663C2BD9DB}" dt="2022-01-08T14:55:35.971" v="563" actId="14100"/>
          <ac:spMkLst>
            <pc:docMk/>
            <pc:sldMk cId="2316358039" sldId="325"/>
            <ac:spMk id="6" creationId="{208993E5-B009-40A8-BC89-286E139EA12D}"/>
          </ac:spMkLst>
        </pc:spChg>
        <pc:spChg chg="del mod">
          <ac:chgData name="COSMOSFREN" userId="S::cosmosfren_yahoo.com#ext#@risebcg.onmicrosoft.com::5462f5f4-f618-47aa-abd8-fd504e002570" providerId="AD" clId="Web-{DCEE5406-83BB-48F0-AF89-99663C2BD9DB}" dt="2022-01-08T14:52:17.155" v="557"/>
          <ac:spMkLst>
            <pc:docMk/>
            <pc:sldMk cId="2316358039" sldId="325"/>
            <ac:spMk id="11" creationId="{2EFF56F4-3D9E-4EE7-83BA-042A94F63CC3}"/>
          </ac:spMkLst>
        </pc:spChg>
        <pc:spChg chg="del mod">
          <ac:chgData name="COSMOSFREN" userId="S::cosmosfren_yahoo.com#ext#@risebcg.onmicrosoft.com::5462f5f4-f618-47aa-abd8-fd504e002570" providerId="AD" clId="Web-{DCEE5406-83BB-48F0-AF89-99663C2BD9DB}" dt="2022-01-08T14:52:13.639" v="556"/>
          <ac:spMkLst>
            <pc:docMk/>
            <pc:sldMk cId="2316358039" sldId="325"/>
            <ac:spMk id="21" creationId="{E9143E79-0358-464A-ACC6-31293226C369}"/>
          </ac:spMkLst>
        </pc:spChg>
        <pc:picChg chg="mod">
          <ac:chgData name="COSMOSFREN" userId="S::cosmosfren_yahoo.com#ext#@risebcg.onmicrosoft.com::5462f5f4-f618-47aa-abd8-fd504e002570" providerId="AD" clId="Web-{DCEE5406-83BB-48F0-AF89-99663C2BD9DB}" dt="2022-01-08T14:52:43.952" v="558" actId="14100"/>
          <ac:picMkLst>
            <pc:docMk/>
            <pc:sldMk cId="2316358039" sldId="325"/>
            <ac:picMk id="2" creationId="{69CF128B-0B09-4BF1-B2CA-1BA877B1F78B}"/>
          </ac:picMkLst>
        </pc:picChg>
      </pc:sldChg>
      <pc:sldChg chg="addSp delSp modSp ord modNotes">
        <pc:chgData name="COSMOSFREN" userId="S::cosmosfren_yahoo.com#ext#@risebcg.onmicrosoft.com::5462f5f4-f618-47aa-abd8-fd504e002570" providerId="AD" clId="Web-{DCEE5406-83BB-48F0-AF89-99663C2BD9DB}" dt="2022-01-08T16:29:50.092" v="2212" actId="1076"/>
        <pc:sldMkLst>
          <pc:docMk/>
          <pc:sldMk cId="2652119032" sldId="335"/>
        </pc:sldMkLst>
        <pc:spChg chg="del mod">
          <ac:chgData name="COSMOSFREN" userId="S::cosmosfren_yahoo.com#ext#@risebcg.onmicrosoft.com::5462f5f4-f618-47aa-abd8-fd504e002570" providerId="AD" clId="Web-{DCEE5406-83BB-48F0-AF89-99663C2BD9DB}" dt="2022-01-08T16:14:20.401" v="1163"/>
          <ac:spMkLst>
            <pc:docMk/>
            <pc:sldMk cId="2652119032" sldId="335"/>
            <ac:spMk id="3" creationId="{CB7BAFB0-445F-4F96-BCE3-50C0E2AB21AD}"/>
          </ac:spMkLst>
        </pc:spChg>
        <pc:spChg chg="mod">
          <ac:chgData name="COSMOSFREN" userId="S::cosmosfren_yahoo.com#ext#@risebcg.onmicrosoft.com::5462f5f4-f618-47aa-abd8-fd504e002570" providerId="AD" clId="Web-{DCEE5406-83BB-48F0-AF89-99663C2BD9DB}" dt="2022-01-08T16:25:38.928" v="1907" actId="20577"/>
          <ac:spMkLst>
            <pc:docMk/>
            <pc:sldMk cId="2652119032" sldId="335"/>
            <ac:spMk id="4" creationId="{7BCAFA08-4D06-4459-BDE0-CAB790C8CB40}"/>
          </ac:spMkLst>
        </pc:spChg>
        <pc:spChg chg="del mod">
          <ac:chgData name="COSMOSFREN" userId="S::cosmosfren_yahoo.com#ext#@risebcg.onmicrosoft.com::5462f5f4-f618-47aa-abd8-fd504e002570" providerId="AD" clId="Web-{DCEE5406-83BB-48F0-AF89-99663C2BD9DB}" dt="2022-01-08T16:20:51.032" v="1539"/>
          <ac:spMkLst>
            <pc:docMk/>
            <pc:sldMk cId="2652119032" sldId="335"/>
            <ac:spMk id="9" creationId="{7E2F8E19-F56B-4CB8-9CA2-A1277727EBFD}"/>
          </ac:spMkLst>
        </pc:spChg>
        <pc:spChg chg="add mod">
          <ac:chgData name="COSMOSFREN" userId="S::cosmosfren_yahoo.com#ext#@risebcg.onmicrosoft.com::5462f5f4-f618-47aa-abd8-fd504e002570" providerId="AD" clId="Web-{DCEE5406-83BB-48F0-AF89-99663C2BD9DB}" dt="2022-01-08T16:29:50.092" v="2212" actId="1076"/>
          <ac:spMkLst>
            <pc:docMk/>
            <pc:sldMk cId="2652119032" sldId="335"/>
            <ac:spMk id="10" creationId="{5B136050-0C52-4973-B00A-9438EBC773F2}"/>
          </ac:spMkLst>
        </pc:spChg>
      </pc:sldChg>
      <pc:sldChg chg="modSp">
        <pc:chgData name="COSMOSFREN" userId="S::cosmosfren_yahoo.com#ext#@risebcg.onmicrosoft.com::5462f5f4-f618-47aa-abd8-fd504e002570" providerId="AD" clId="Web-{DCEE5406-83BB-48F0-AF89-99663C2BD9DB}" dt="2022-01-08T16:12:22.274" v="1161" actId="20577"/>
        <pc:sldMkLst>
          <pc:docMk/>
          <pc:sldMk cId="2538826858" sldId="336"/>
        </pc:sldMkLst>
        <pc:spChg chg="mod">
          <ac:chgData name="COSMOSFREN" userId="S::cosmosfren_yahoo.com#ext#@risebcg.onmicrosoft.com::5462f5f4-f618-47aa-abd8-fd504e002570" providerId="AD" clId="Web-{DCEE5406-83BB-48F0-AF89-99663C2BD9DB}" dt="2022-01-08T16:12:22.274" v="1161" actId="20577"/>
          <ac:spMkLst>
            <pc:docMk/>
            <pc:sldMk cId="2538826858" sldId="336"/>
            <ac:spMk id="3" creationId="{164E3C0E-342F-4895-87DC-B14BCB7446FE}"/>
          </ac:spMkLst>
        </pc:spChg>
      </pc:sldChg>
      <pc:sldChg chg="addSp delSp modSp">
        <pc:chgData name="COSMOSFREN" userId="S::cosmosfren_yahoo.com#ext#@risebcg.onmicrosoft.com::5462f5f4-f618-47aa-abd8-fd504e002570" providerId="AD" clId="Web-{DCEE5406-83BB-48F0-AF89-99663C2BD9DB}" dt="2022-01-08T15:47:56.872" v="1082" actId="20577"/>
        <pc:sldMkLst>
          <pc:docMk/>
          <pc:sldMk cId="3391215681" sldId="339"/>
        </pc:sldMkLst>
        <pc:spChg chg="mod">
          <ac:chgData name="COSMOSFREN" userId="S::cosmosfren_yahoo.com#ext#@risebcg.onmicrosoft.com::5462f5f4-f618-47aa-abd8-fd504e002570" providerId="AD" clId="Web-{DCEE5406-83BB-48F0-AF89-99663C2BD9DB}" dt="2022-01-08T15:45:36.651" v="1008" actId="20577"/>
          <ac:spMkLst>
            <pc:docMk/>
            <pc:sldMk cId="3391215681" sldId="339"/>
            <ac:spMk id="49" creationId="{1A40ECD8-EC71-4C0D-A629-C5042C9FBE1B}"/>
          </ac:spMkLst>
        </pc:spChg>
        <pc:spChg chg="add mod">
          <ac:chgData name="COSMOSFREN" userId="S::cosmosfren_yahoo.com#ext#@risebcg.onmicrosoft.com::5462f5f4-f618-47aa-abd8-fd504e002570" providerId="AD" clId="Web-{DCEE5406-83BB-48F0-AF89-99663C2BD9DB}" dt="2022-01-08T15:44:55.666" v="985" actId="20577"/>
          <ac:spMkLst>
            <pc:docMk/>
            <pc:sldMk cId="3391215681" sldId="339"/>
            <ac:spMk id="124" creationId="{C91A31F3-23FB-421F-8BC0-FD3F5F868D91}"/>
          </ac:spMkLst>
        </pc:spChg>
        <pc:spChg chg="add del">
          <ac:chgData name="COSMOSFREN" userId="S::cosmosfren_yahoo.com#ext#@risebcg.onmicrosoft.com::5462f5f4-f618-47aa-abd8-fd504e002570" providerId="AD" clId="Web-{DCEE5406-83BB-48F0-AF89-99663C2BD9DB}" dt="2022-01-08T15:45:46.901" v="1010"/>
          <ac:spMkLst>
            <pc:docMk/>
            <pc:sldMk cId="3391215681" sldId="339"/>
            <ac:spMk id="125" creationId="{DE05C0AB-8DF0-47E3-A404-02FB6A737303}"/>
          </ac:spMkLst>
        </pc:spChg>
        <pc:spChg chg="add mod">
          <ac:chgData name="COSMOSFREN" userId="S::cosmosfren_yahoo.com#ext#@risebcg.onmicrosoft.com::5462f5f4-f618-47aa-abd8-fd504e002570" providerId="AD" clId="Web-{DCEE5406-83BB-48F0-AF89-99663C2BD9DB}" dt="2022-01-08T15:45:40.604" v="1009" actId="1076"/>
          <ac:spMkLst>
            <pc:docMk/>
            <pc:sldMk cId="3391215681" sldId="339"/>
            <ac:spMk id="126" creationId="{B0791398-D0B2-4A5B-9918-DABD658B5B39}"/>
          </ac:spMkLst>
        </pc:spChg>
        <pc:graphicFrameChg chg="modGraphic">
          <ac:chgData name="COSMOSFREN" userId="S::cosmosfren_yahoo.com#ext#@risebcg.onmicrosoft.com::5462f5f4-f618-47aa-abd8-fd504e002570" providerId="AD" clId="Web-{DCEE5406-83BB-48F0-AF89-99663C2BD9DB}" dt="2022-01-08T15:47:56.872" v="1082" actId="20577"/>
          <ac:graphicFrameMkLst>
            <pc:docMk/>
            <pc:sldMk cId="3391215681" sldId="339"/>
            <ac:graphicFrameMk id="28" creationId="{9D58B7B4-DE29-4DDF-BB8A-729D2B705659}"/>
          </ac:graphicFrameMkLst>
        </pc:graphicFrameChg>
      </pc:sldChg>
      <pc:sldChg chg="modSp ord">
        <pc:chgData name="COSMOSFREN" userId="S::cosmosfren_yahoo.com#ext#@risebcg.onmicrosoft.com::5462f5f4-f618-47aa-abd8-fd504e002570" providerId="AD" clId="Web-{DCEE5406-83BB-48F0-AF89-99663C2BD9DB}" dt="2022-01-08T16:09:03.911" v="1149"/>
        <pc:sldMkLst>
          <pc:docMk/>
          <pc:sldMk cId="3971465157" sldId="345"/>
        </pc:sldMkLst>
        <pc:spChg chg="mod">
          <ac:chgData name="COSMOSFREN" userId="S::cosmosfren_yahoo.com#ext#@risebcg.onmicrosoft.com::5462f5f4-f618-47aa-abd8-fd504e002570" providerId="AD" clId="Web-{DCEE5406-83BB-48F0-AF89-99663C2BD9DB}" dt="2022-01-08T15:01:04.695" v="581" actId="20577"/>
          <ac:spMkLst>
            <pc:docMk/>
            <pc:sldMk cId="3971465157" sldId="345"/>
            <ac:spMk id="2" creationId="{ED14AA63-35D8-4136-8B2F-DE1837A583A2}"/>
          </ac:spMkLst>
        </pc:spChg>
      </pc:sldChg>
      <pc:sldChg chg="ord">
        <pc:chgData name="COSMOSFREN" userId="S::cosmosfren_yahoo.com#ext#@risebcg.onmicrosoft.com::5462f5f4-f618-47aa-abd8-fd504e002570" providerId="AD" clId="Web-{DCEE5406-83BB-48F0-AF89-99663C2BD9DB}" dt="2022-01-08T16:08:22.691" v="1147"/>
        <pc:sldMkLst>
          <pc:docMk/>
          <pc:sldMk cId="2149037765" sldId="346"/>
        </pc:sldMkLst>
      </pc:sldChg>
      <pc:sldChg chg="new del">
        <pc:chgData name="COSMOSFREN" userId="S::cosmosfren_yahoo.com#ext#@risebcg.onmicrosoft.com::5462f5f4-f618-47aa-abd8-fd504e002570" providerId="AD" clId="Web-{DCEE5406-83BB-48F0-AF89-99663C2BD9DB}" dt="2022-01-08T14:17:15.604" v="55"/>
        <pc:sldMkLst>
          <pc:docMk/>
          <pc:sldMk cId="618635901" sldId="354"/>
        </pc:sldMkLst>
      </pc:sldChg>
      <pc:sldChg chg="addSp add ord replId">
        <pc:chgData name="COSMOSFREN" userId="S::cosmosfren_yahoo.com#ext#@risebcg.onmicrosoft.com::5462f5f4-f618-47aa-abd8-fd504e002570" providerId="AD" clId="Web-{DCEE5406-83BB-48F0-AF89-99663C2BD9DB}" dt="2022-01-08T14:43:38.224" v="485"/>
        <pc:sldMkLst>
          <pc:docMk/>
          <pc:sldMk cId="165658709" sldId="355"/>
        </pc:sldMkLst>
        <pc:picChg chg="add">
          <ac:chgData name="COSMOSFREN" userId="S::cosmosfren_yahoo.com#ext#@risebcg.onmicrosoft.com::5462f5f4-f618-47aa-abd8-fd504e002570" providerId="AD" clId="Web-{DCEE5406-83BB-48F0-AF89-99663C2BD9DB}" dt="2022-01-08T14:23:25.547" v="146"/>
          <ac:picMkLst>
            <pc:docMk/>
            <pc:sldMk cId="165658709" sldId="355"/>
            <ac:picMk id="2" creationId="{BD070F67-C046-4FA4-BC49-57AF06A15A77}"/>
          </ac:picMkLst>
        </pc:picChg>
      </pc:sldChg>
      <pc:sldChg chg="addSp modSp ord">
        <pc:chgData name="COSMOSFREN" userId="S::cosmosfren_yahoo.com#ext#@risebcg.onmicrosoft.com::5462f5f4-f618-47aa-abd8-fd504e002570" providerId="AD" clId="Web-{DCEE5406-83BB-48F0-AF89-99663C2BD9DB}" dt="2022-01-08T16:08:54.130" v="1148"/>
        <pc:sldMkLst>
          <pc:docMk/>
          <pc:sldMk cId="1227236751" sldId="356"/>
        </pc:sldMkLst>
        <pc:spChg chg="mod">
          <ac:chgData name="COSMOSFREN" userId="S::cosmosfren_yahoo.com#ext#@risebcg.onmicrosoft.com::5462f5f4-f618-47aa-abd8-fd504e002570" providerId="AD" clId="Web-{DCEE5406-83BB-48F0-AF89-99663C2BD9DB}" dt="2022-01-08T15:13:14.145" v="895" actId="1076"/>
          <ac:spMkLst>
            <pc:docMk/>
            <pc:sldMk cId="1227236751" sldId="356"/>
            <ac:spMk id="2" creationId="{ED14AA63-35D8-4136-8B2F-DE1837A583A2}"/>
          </ac:spMkLst>
        </pc:spChg>
        <pc:spChg chg="mod">
          <ac:chgData name="COSMOSFREN" userId="S::cosmosfren_yahoo.com#ext#@risebcg.onmicrosoft.com::5462f5f4-f618-47aa-abd8-fd504e002570" providerId="AD" clId="Web-{DCEE5406-83BB-48F0-AF89-99663C2BD9DB}" dt="2022-01-08T15:13:26.989" v="902" actId="1076"/>
          <ac:spMkLst>
            <pc:docMk/>
            <pc:sldMk cId="1227236751" sldId="356"/>
            <ac:spMk id="3" creationId="{2321500F-B116-49E9-B713-1C89E59A92D6}"/>
          </ac:spMkLst>
        </pc:spChg>
        <pc:spChg chg="mod">
          <ac:chgData name="COSMOSFREN" userId="S::cosmosfren_yahoo.com#ext#@risebcg.onmicrosoft.com::5462f5f4-f618-47aa-abd8-fd504e002570" providerId="AD" clId="Web-{DCEE5406-83BB-48F0-AF89-99663C2BD9DB}" dt="2022-01-08T15:12:40.816" v="881" actId="20577"/>
          <ac:spMkLst>
            <pc:docMk/>
            <pc:sldMk cId="1227236751" sldId="356"/>
            <ac:spMk id="4" creationId="{215644EC-E1A2-4B5F-BA53-79EB189605EC}"/>
          </ac:spMkLst>
        </pc:spChg>
        <pc:spChg chg="mod">
          <ac:chgData name="COSMOSFREN" userId="S::cosmosfren_yahoo.com#ext#@risebcg.onmicrosoft.com::5462f5f4-f618-47aa-abd8-fd504e002570" providerId="AD" clId="Web-{DCEE5406-83BB-48F0-AF89-99663C2BD9DB}" dt="2022-01-08T15:13:31.395" v="903" actId="1076"/>
          <ac:spMkLst>
            <pc:docMk/>
            <pc:sldMk cId="1227236751" sldId="356"/>
            <ac:spMk id="12" creationId="{95E46411-4A0C-41AA-9250-790D71323EA7}"/>
          </ac:spMkLst>
        </pc:spChg>
        <pc:picChg chg="mod">
          <ac:chgData name="COSMOSFREN" userId="S::cosmosfren_yahoo.com#ext#@risebcg.onmicrosoft.com::5462f5f4-f618-47aa-abd8-fd504e002570" providerId="AD" clId="Web-{DCEE5406-83BB-48F0-AF89-99663C2BD9DB}" dt="2022-01-08T15:22:47.764" v="907" actId="1076"/>
          <ac:picMkLst>
            <pc:docMk/>
            <pc:sldMk cId="1227236751" sldId="356"/>
            <ac:picMk id="8" creationId="{1C37FA25-553F-4164-8C97-7E76EEDF8003}"/>
          </ac:picMkLst>
        </pc:picChg>
        <pc:picChg chg="add mod">
          <ac:chgData name="COSMOSFREN" userId="S::cosmosfren_yahoo.com#ext#@risebcg.onmicrosoft.com::5462f5f4-f618-47aa-abd8-fd504e002570" providerId="AD" clId="Web-{DCEE5406-83BB-48F0-AF89-99663C2BD9DB}" dt="2022-01-08T15:01:20.289" v="583" actId="1076"/>
          <ac:picMkLst>
            <pc:docMk/>
            <pc:sldMk cId="1227236751" sldId="356"/>
            <ac:picMk id="11" creationId="{B9CA3DF6-D1DE-4B59-9A07-B34CE4EC9917}"/>
          </ac:picMkLst>
        </pc:picChg>
        <pc:picChg chg="add mod">
          <ac:chgData name="COSMOSFREN" userId="S::cosmosfren_yahoo.com#ext#@risebcg.onmicrosoft.com::5462f5f4-f618-47aa-abd8-fd504e002570" providerId="AD" clId="Web-{DCEE5406-83BB-48F0-AF89-99663C2BD9DB}" dt="2022-01-08T15:22:45.233" v="906" actId="1076"/>
          <ac:picMkLst>
            <pc:docMk/>
            <pc:sldMk cId="1227236751" sldId="356"/>
            <ac:picMk id="13" creationId="{6031EC29-FB42-4498-A4A9-E35C4E061CC4}"/>
          </ac:picMkLst>
        </pc:picChg>
      </pc:sldChg>
    </pc:docChg>
  </pc:docChgLst>
  <pc:docChgLst>
    <pc:chgData name="wei yuan" userId="S::pwy_92_hotmail.com#ext#@risebcg.onmicrosoft.com::ca38e7f8-9ace-4d94-b37a-86e65e91f2b0" providerId="AD" clId="Web-{5CD08495-A19E-4CF7-BFBD-9B49CA003DCB}"/>
    <pc:docChg chg="modSld">
      <pc:chgData name="wei yuan" userId="S::pwy_92_hotmail.com#ext#@risebcg.onmicrosoft.com::ca38e7f8-9ace-4d94-b37a-86e65e91f2b0" providerId="AD" clId="Web-{5CD08495-A19E-4CF7-BFBD-9B49CA003DCB}" dt="2022-01-11T00:33:43.917" v="4" actId="1076"/>
      <pc:docMkLst>
        <pc:docMk/>
      </pc:docMkLst>
      <pc:sldChg chg="addSp modSp">
        <pc:chgData name="wei yuan" userId="S::pwy_92_hotmail.com#ext#@risebcg.onmicrosoft.com::ca38e7f8-9ace-4d94-b37a-86e65e91f2b0" providerId="AD" clId="Web-{5CD08495-A19E-4CF7-BFBD-9B49CA003DCB}" dt="2022-01-11T00:33:43.917" v="4" actId="1076"/>
        <pc:sldMkLst>
          <pc:docMk/>
          <pc:sldMk cId="2160415509" sldId="326"/>
        </pc:sldMkLst>
        <pc:picChg chg="add mod">
          <ac:chgData name="wei yuan" userId="S::pwy_92_hotmail.com#ext#@risebcg.onmicrosoft.com::ca38e7f8-9ace-4d94-b37a-86e65e91f2b0" providerId="AD" clId="Web-{5CD08495-A19E-4CF7-BFBD-9B49CA003DCB}" dt="2022-01-11T00:33:43.917" v="4" actId="1076"/>
          <ac:picMkLst>
            <pc:docMk/>
            <pc:sldMk cId="2160415509" sldId="326"/>
            <ac:picMk id="6" creationId="{7B905E0D-985A-447D-B4B6-DCCB0FA62F2A}"/>
          </ac:picMkLst>
        </pc:picChg>
      </pc:sldChg>
    </pc:docChg>
  </pc:docChgLst>
  <pc:docChgLst>
    <pc:chgData name="COSMOSFREN" userId="S::cosmosfren_yahoo.com#ext#@risebcg.onmicrosoft.com::5462f5f4-f618-47aa-abd8-fd504e002570" providerId="AD" clId="Web-{4BDA0023-21A7-477A-ABB2-E3DF645DE934}"/>
    <pc:docChg chg="modSld">
      <pc:chgData name="COSMOSFREN" userId="S::cosmosfren_yahoo.com#ext#@risebcg.onmicrosoft.com::5462f5f4-f618-47aa-abd8-fd504e002570" providerId="AD" clId="Web-{4BDA0023-21A7-477A-ABB2-E3DF645DE934}" dt="2022-01-12T19:29:10.116" v="210"/>
      <pc:docMkLst>
        <pc:docMk/>
      </pc:docMkLst>
      <pc:sldChg chg="modNotes">
        <pc:chgData name="COSMOSFREN" userId="S::cosmosfren_yahoo.com#ext#@risebcg.onmicrosoft.com::5462f5f4-f618-47aa-abd8-fd504e002570" providerId="AD" clId="Web-{4BDA0023-21A7-477A-ABB2-E3DF645DE934}" dt="2022-01-12T19:07:53.116" v="12"/>
        <pc:sldMkLst>
          <pc:docMk/>
          <pc:sldMk cId="416007632" sldId="327"/>
        </pc:sldMkLst>
      </pc:sldChg>
      <pc:sldChg chg="modNotes">
        <pc:chgData name="COSMOSFREN" userId="S::cosmosfren_yahoo.com#ext#@risebcg.onmicrosoft.com::5462f5f4-f618-47aa-abd8-fd504e002570" providerId="AD" clId="Web-{4BDA0023-21A7-477A-ABB2-E3DF645DE934}" dt="2022-01-12T19:20:36.932" v="124"/>
        <pc:sldMkLst>
          <pc:docMk/>
          <pc:sldMk cId="531825606" sldId="383"/>
        </pc:sldMkLst>
      </pc:sldChg>
      <pc:sldChg chg="modSp modNotes">
        <pc:chgData name="COSMOSFREN" userId="S::cosmosfren_yahoo.com#ext#@risebcg.onmicrosoft.com::5462f5f4-f618-47aa-abd8-fd504e002570" providerId="AD" clId="Web-{4BDA0023-21A7-477A-ABB2-E3DF645DE934}" dt="2022-01-12T19:29:10.116" v="210"/>
        <pc:sldMkLst>
          <pc:docMk/>
          <pc:sldMk cId="59737257" sldId="391"/>
        </pc:sldMkLst>
        <pc:spChg chg="mod">
          <ac:chgData name="COSMOSFREN" userId="S::cosmosfren_yahoo.com#ext#@risebcg.onmicrosoft.com::5462f5f4-f618-47aa-abd8-fd504e002570" providerId="AD" clId="Web-{4BDA0023-21A7-477A-ABB2-E3DF645DE934}" dt="2022-01-12T19:16:00.894" v="76" actId="20577"/>
          <ac:spMkLst>
            <pc:docMk/>
            <pc:sldMk cId="59737257" sldId="391"/>
            <ac:spMk id="160" creationId="{129EBF9C-3DCE-40EC-8CFB-1CB201B252BE}"/>
          </ac:spMkLst>
        </pc:spChg>
      </pc:sldChg>
    </pc:docChg>
  </pc:docChgLst>
  <pc:docChgLst>
    <pc:chgData clId="Web-{F8472AC6-5C98-4D8F-8462-C81CC307D614}"/>
    <pc:docChg chg="modSld">
      <pc:chgData name="" userId="" providerId="" clId="Web-{F8472AC6-5C98-4D8F-8462-C81CC307D614}" dt="2022-01-11T14:17:15.037" v="0" actId="1076"/>
      <pc:docMkLst>
        <pc:docMk/>
      </pc:docMkLst>
      <pc:sldChg chg="modSp">
        <pc:chgData name="" userId="" providerId="" clId="Web-{F8472AC6-5C98-4D8F-8462-C81CC307D614}" dt="2022-01-11T14:17:15.037" v="0" actId="1076"/>
        <pc:sldMkLst>
          <pc:docMk/>
          <pc:sldMk cId="416007632" sldId="327"/>
        </pc:sldMkLst>
        <pc:spChg chg="mod">
          <ac:chgData name="" userId="" providerId="" clId="Web-{F8472AC6-5C98-4D8F-8462-C81CC307D614}" dt="2022-01-11T14:17:15.037" v="0" actId="1076"/>
          <ac:spMkLst>
            <pc:docMk/>
            <pc:sldMk cId="416007632" sldId="327"/>
            <ac:spMk id="4" creationId="{F2781DB5-90E2-4089-BA07-2F83778C3F07}"/>
          </ac:spMkLst>
        </pc:spChg>
      </pc:sldChg>
    </pc:docChg>
  </pc:docChgLst>
  <pc:docChgLst>
    <pc:chgData name="wei yuan" userId="S::pwy_92_hotmail.com#ext#@risebcg.onmicrosoft.com::ca38e7f8-9ace-4d94-b37a-86e65e91f2b0" providerId="AD" clId="Web-{2992AFF7-732E-4672-B302-1D5AC74540D2}"/>
    <pc:docChg chg="modSld">
      <pc:chgData name="wei yuan" userId="S::pwy_92_hotmail.com#ext#@risebcg.onmicrosoft.com::ca38e7f8-9ace-4d94-b37a-86e65e91f2b0" providerId="AD" clId="Web-{2992AFF7-732E-4672-B302-1D5AC74540D2}" dt="2022-01-10T13:54:38.336" v="3"/>
      <pc:docMkLst>
        <pc:docMk/>
      </pc:docMkLst>
      <pc:sldChg chg="delAnim modAnim">
        <pc:chgData name="wei yuan" userId="S::pwy_92_hotmail.com#ext#@risebcg.onmicrosoft.com::ca38e7f8-9ace-4d94-b37a-86e65e91f2b0" providerId="AD" clId="Web-{2992AFF7-732E-4672-B302-1D5AC74540D2}" dt="2022-01-10T13:54:38.336" v="3"/>
        <pc:sldMkLst>
          <pc:docMk/>
          <pc:sldMk cId="2160415509" sldId="326"/>
        </pc:sldMkLst>
      </pc:sldChg>
      <pc:sldChg chg="modNotes">
        <pc:chgData name="wei yuan" userId="S::pwy_92_hotmail.com#ext#@risebcg.onmicrosoft.com::ca38e7f8-9ace-4d94-b37a-86e65e91f2b0" providerId="AD" clId="Web-{2992AFF7-732E-4672-B302-1D5AC74540D2}" dt="2022-01-10T13:50:27.533" v="2"/>
        <pc:sldMkLst>
          <pc:docMk/>
          <pc:sldMk cId="1894441827" sldId="358"/>
        </pc:sldMkLst>
      </pc:sldChg>
    </pc:docChg>
  </pc:docChgLst>
  <pc:docChgLst>
    <pc:chgData name="EVELYNSM.YONG" userId="S::evelynsm.yong_gmail.com#ext#@risebcg.onmicrosoft.com::67a27a72-2420-4d38-b745-316a53f4b99a" providerId="AD" clId="Web-{55682CF0-600E-4A1C-988E-B1F5D773606E}"/>
    <pc:docChg chg="addSld modSld">
      <pc:chgData name="EVELYNSM.YONG" userId="S::evelynsm.yong_gmail.com#ext#@risebcg.onmicrosoft.com::67a27a72-2420-4d38-b745-316a53f4b99a" providerId="AD" clId="Web-{55682CF0-600E-4A1C-988E-B1F5D773606E}" dt="2022-01-10T07:13:01.522" v="221" actId="20577"/>
      <pc:docMkLst>
        <pc:docMk/>
      </pc:docMkLst>
      <pc:sldChg chg="addSp delSp">
        <pc:chgData name="EVELYNSM.YONG" userId="S::evelynsm.yong_gmail.com#ext#@risebcg.onmicrosoft.com::67a27a72-2420-4d38-b745-316a53f4b99a" providerId="AD" clId="Web-{55682CF0-600E-4A1C-988E-B1F5D773606E}" dt="2022-01-10T07:01:11.614" v="7"/>
        <pc:sldMkLst>
          <pc:docMk/>
          <pc:sldMk cId="2256265757" sldId="315"/>
        </pc:sldMkLst>
        <pc:graphicFrameChg chg="add del">
          <ac:chgData name="EVELYNSM.YONG" userId="S::evelynsm.yong_gmail.com#ext#@risebcg.onmicrosoft.com::67a27a72-2420-4d38-b745-316a53f4b99a" providerId="AD" clId="Web-{55682CF0-600E-4A1C-988E-B1F5D773606E}" dt="2022-01-10T07:01:11.614" v="7"/>
          <ac:graphicFrameMkLst>
            <pc:docMk/>
            <pc:sldMk cId="2256265757" sldId="315"/>
            <ac:graphicFrameMk id="38" creationId="{78554BF9-B2D3-4C2F-9370-17C6A071473A}"/>
          </ac:graphicFrameMkLst>
        </pc:graphicFrameChg>
      </pc:sldChg>
      <pc:sldChg chg="modNotes">
        <pc:chgData name="EVELYNSM.YONG" userId="S::evelynsm.yong_gmail.com#ext#@risebcg.onmicrosoft.com::67a27a72-2420-4d38-b745-316a53f4b99a" providerId="AD" clId="Web-{55682CF0-600E-4A1C-988E-B1F5D773606E}" dt="2022-01-10T07:03:26.258" v="17"/>
        <pc:sldMkLst>
          <pc:docMk/>
          <pc:sldMk cId="2652119032" sldId="335"/>
        </pc:sldMkLst>
      </pc:sldChg>
      <pc:sldChg chg="addSp modSp modNotes">
        <pc:chgData name="EVELYNSM.YONG" userId="S::evelynsm.yong_gmail.com#ext#@risebcg.onmicrosoft.com::67a27a72-2420-4d38-b745-316a53f4b99a" providerId="AD" clId="Web-{55682CF0-600E-4A1C-988E-B1F5D773606E}" dt="2022-01-10T07:08:45.375" v="159" actId="14100"/>
        <pc:sldMkLst>
          <pc:docMk/>
          <pc:sldMk cId="3391215681" sldId="339"/>
        </pc:sldMkLst>
        <pc:grpChg chg="mod">
          <ac:chgData name="EVELYNSM.YONG" userId="S::evelynsm.yong_gmail.com#ext#@risebcg.onmicrosoft.com::67a27a72-2420-4d38-b745-316a53f4b99a" providerId="AD" clId="Web-{55682CF0-600E-4A1C-988E-B1F5D773606E}" dt="2022-01-10T07:04:30.072" v="33" actId="1076"/>
          <ac:grpSpMkLst>
            <pc:docMk/>
            <pc:sldMk cId="3391215681" sldId="339"/>
            <ac:grpSpMk id="417" creationId="{3422634B-E74A-464E-8891-948490F63923}"/>
          </ac:grpSpMkLst>
        </pc:grpChg>
        <pc:graphicFrameChg chg="modGraphic">
          <ac:chgData name="EVELYNSM.YONG" userId="S::evelynsm.yong_gmail.com#ext#@risebcg.onmicrosoft.com::67a27a72-2420-4d38-b745-316a53f4b99a" providerId="AD" clId="Web-{55682CF0-600E-4A1C-988E-B1F5D773606E}" dt="2022-01-10T07:07:38.296" v="154" actId="20577"/>
          <ac:graphicFrameMkLst>
            <pc:docMk/>
            <pc:sldMk cId="3391215681" sldId="339"/>
            <ac:graphicFrameMk id="28" creationId="{9D58B7B4-DE29-4DDF-BB8A-729D2B705659}"/>
          </ac:graphicFrameMkLst>
        </pc:graphicFrameChg>
        <pc:picChg chg="mod">
          <ac:chgData name="EVELYNSM.YONG" userId="S::evelynsm.yong_gmail.com#ext#@risebcg.onmicrosoft.com::67a27a72-2420-4d38-b745-316a53f4b99a" providerId="AD" clId="Web-{55682CF0-600E-4A1C-988E-B1F5D773606E}" dt="2022-01-10T07:04:32.525" v="34" actId="1076"/>
          <ac:picMkLst>
            <pc:docMk/>
            <pc:sldMk cId="3391215681" sldId="339"/>
            <ac:picMk id="107" creationId="{02601E91-3DEE-4781-ACC9-2A3154DCC85D}"/>
          </ac:picMkLst>
        </pc:picChg>
        <pc:picChg chg="mod">
          <ac:chgData name="EVELYNSM.YONG" userId="S::evelynsm.yong_gmail.com#ext#@risebcg.onmicrosoft.com::67a27a72-2420-4d38-b745-316a53f4b99a" providerId="AD" clId="Web-{55682CF0-600E-4A1C-988E-B1F5D773606E}" dt="2022-01-10T07:04:34.588" v="35" actId="1076"/>
          <ac:picMkLst>
            <pc:docMk/>
            <pc:sldMk cId="3391215681" sldId="339"/>
            <ac:picMk id="108" creationId="{590458A9-D7D6-4978-B569-22D281AE5CF2}"/>
          </ac:picMkLst>
        </pc:picChg>
        <pc:picChg chg="mod">
          <ac:chgData name="EVELYNSM.YONG" userId="S::evelynsm.yong_gmail.com#ext#@risebcg.onmicrosoft.com::67a27a72-2420-4d38-b745-316a53f4b99a" providerId="AD" clId="Web-{55682CF0-600E-4A1C-988E-B1F5D773606E}" dt="2022-01-10T07:04:37.197" v="36" actId="1076"/>
          <ac:picMkLst>
            <pc:docMk/>
            <pc:sldMk cId="3391215681" sldId="339"/>
            <ac:picMk id="127" creationId="{50C2EFDE-AE92-48A3-8F2F-DEC4BC518951}"/>
          </ac:picMkLst>
        </pc:picChg>
        <pc:picChg chg="add mod">
          <ac:chgData name="EVELYNSM.YONG" userId="S::evelynsm.yong_gmail.com#ext#@risebcg.onmicrosoft.com::67a27a72-2420-4d38-b745-316a53f4b99a" providerId="AD" clId="Web-{55682CF0-600E-4A1C-988E-B1F5D773606E}" dt="2022-01-10T07:08:45.375" v="159" actId="14100"/>
          <ac:picMkLst>
            <pc:docMk/>
            <pc:sldMk cId="3391215681" sldId="339"/>
            <ac:picMk id="5328" creationId="{79187648-B5C6-4EDC-88C1-489201FB6DA0}"/>
          </ac:picMkLst>
        </pc:picChg>
      </pc:sldChg>
      <pc:sldChg chg="modSp modNotes">
        <pc:chgData name="EVELYNSM.YONG" userId="S::evelynsm.yong_gmail.com#ext#@risebcg.onmicrosoft.com::67a27a72-2420-4d38-b745-316a53f4b99a" providerId="AD" clId="Web-{55682CF0-600E-4A1C-988E-B1F5D773606E}" dt="2022-01-10T07:10:16.534" v="171" actId="1076"/>
        <pc:sldMkLst>
          <pc:docMk/>
          <pc:sldMk cId="3531645893" sldId="360"/>
        </pc:sldMkLst>
        <pc:spChg chg="mod">
          <ac:chgData name="EVELYNSM.YONG" userId="S::evelynsm.yong_gmail.com#ext#@risebcg.onmicrosoft.com::67a27a72-2420-4d38-b745-316a53f4b99a" providerId="AD" clId="Web-{55682CF0-600E-4A1C-988E-B1F5D773606E}" dt="2022-01-10T07:10:16.518" v="170" actId="1076"/>
          <ac:spMkLst>
            <pc:docMk/>
            <pc:sldMk cId="3531645893" sldId="360"/>
            <ac:spMk id="5" creationId="{1999C9A4-8C8B-43CC-B77D-B8C58575D4DE}"/>
          </ac:spMkLst>
        </pc:spChg>
        <pc:spChg chg="mod">
          <ac:chgData name="EVELYNSM.YONG" userId="S::evelynsm.yong_gmail.com#ext#@risebcg.onmicrosoft.com::67a27a72-2420-4d38-b745-316a53f4b99a" providerId="AD" clId="Web-{55682CF0-600E-4A1C-988E-B1F5D773606E}" dt="2022-01-10T07:10:16.534" v="171" actId="1076"/>
          <ac:spMkLst>
            <pc:docMk/>
            <pc:sldMk cId="3531645893" sldId="360"/>
            <ac:spMk id="19" creationId="{950C64E7-6661-4AEA-8068-716AD3707128}"/>
          </ac:spMkLst>
        </pc:spChg>
        <pc:picChg chg="mod">
          <ac:chgData name="EVELYNSM.YONG" userId="S::evelynsm.yong_gmail.com#ext#@risebcg.onmicrosoft.com::67a27a72-2420-4d38-b745-316a53f4b99a" providerId="AD" clId="Web-{55682CF0-600E-4A1C-988E-B1F5D773606E}" dt="2022-01-10T07:10:16.503" v="169" actId="1076"/>
          <ac:picMkLst>
            <pc:docMk/>
            <pc:sldMk cId="3531645893" sldId="360"/>
            <ac:picMk id="6" creationId="{EF6EAEC0-2A43-4308-9642-0428A55E7A00}"/>
          </ac:picMkLst>
        </pc:picChg>
      </pc:sldChg>
      <pc:sldChg chg="addSp delSp modSp add replId">
        <pc:chgData name="EVELYNSM.YONG" userId="S::evelynsm.yong_gmail.com#ext#@risebcg.onmicrosoft.com::67a27a72-2420-4d38-b745-316a53f4b99a" providerId="AD" clId="Web-{55682CF0-600E-4A1C-988E-B1F5D773606E}" dt="2022-01-10T07:13:01.522" v="221" actId="20577"/>
        <pc:sldMkLst>
          <pc:docMk/>
          <pc:sldMk cId="2388905158" sldId="370"/>
        </pc:sldMkLst>
        <pc:graphicFrameChg chg="del">
          <ac:chgData name="EVELYNSM.YONG" userId="S::evelynsm.yong_gmail.com#ext#@risebcg.onmicrosoft.com::67a27a72-2420-4d38-b745-316a53f4b99a" providerId="AD" clId="Web-{55682CF0-600E-4A1C-988E-B1F5D773606E}" dt="2022-01-10T07:01:01.630" v="5"/>
          <ac:graphicFrameMkLst>
            <pc:docMk/>
            <pc:sldMk cId="2388905158" sldId="370"/>
            <ac:graphicFrameMk id="18" creationId="{2289CFB1-4EE4-43EC-A8B5-4E5FC402B3C5}"/>
          </ac:graphicFrameMkLst>
        </pc:graphicFrameChg>
        <pc:graphicFrameChg chg="add del mod modGraphic">
          <ac:chgData name="EVELYNSM.YONG" userId="S::evelynsm.yong_gmail.com#ext#@risebcg.onmicrosoft.com::67a27a72-2420-4d38-b745-316a53f4b99a" providerId="AD" clId="Web-{55682CF0-600E-4A1C-988E-B1F5D773606E}" dt="2022-01-10T07:13:01.522" v="221" actId="20577"/>
          <ac:graphicFrameMkLst>
            <pc:docMk/>
            <pc:sldMk cId="2388905158" sldId="370"/>
            <ac:graphicFrameMk id="38" creationId="{78554BF9-B2D3-4C2F-9370-17C6A071473A}"/>
          </ac:graphicFrameMkLst>
        </pc:graphicFrameChg>
      </pc:sldChg>
    </pc:docChg>
  </pc:docChgLst>
  <pc:docChgLst>
    <pc:chgData name="EVELYNSM.YONG" userId="S::evelynsm.yong_gmail.com#ext#@risebcg.onmicrosoft.com::67a27a72-2420-4d38-b745-316a53f4b99a" providerId="AD" clId="Web-{ED728A0C-0252-46C5-96AF-5016F0C15CC5}"/>
    <pc:docChg chg="modSld">
      <pc:chgData name="EVELYNSM.YONG" userId="S::evelynsm.yong_gmail.com#ext#@risebcg.onmicrosoft.com::67a27a72-2420-4d38-b745-316a53f4b99a" providerId="AD" clId="Web-{ED728A0C-0252-46C5-96AF-5016F0C15CC5}" dt="2022-01-11T14:51:56.002" v="363" actId="1076"/>
      <pc:docMkLst>
        <pc:docMk/>
      </pc:docMkLst>
      <pc:sldChg chg="modSp">
        <pc:chgData name="EVELYNSM.YONG" userId="S::evelynsm.yong_gmail.com#ext#@risebcg.onmicrosoft.com::67a27a72-2420-4d38-b745-316a53f4b99a" providerId="AD" clId="Web-{ED728A0C-0252-46C5-96AF-5016F0C15CC5}" dt="2022-01-11T14:51:56.002" v="363" actId="1076"/>
        <pc:sldMkLst>
          <pc:docMk/>
          <pc:sldMk cId="2256265757" sldId="315"/>
        </pc:sldMkLst>
        <pc:graphicFrameChg chg="mod modGraphic">
          <ac:chgData name="EVELYNSM.YONG" userId="S::evelynsm.yong_gmail.com#ext#@risebcg.onmicrosoft.com::67a27a72-2420-4d38-b745-316a53f4b99a" providerId="AD" clId="Web-{ED728A0C-0252-46C5-96AF-5016F0C15CC5}" dt="2022-01-11T14:51:56.002" v="363" actId="1076"/>
          <ac:graphicFrameMkLst>
            <pc:docMk/>
            <pc:sldMk cId="2256265757" sldId="315"/>
            <ac:graphicFrameMk id="52" creationId="{C255B91C-8C66-41AC-96CF-25F03474A6A9}"/>
          </ac:graphicFrameMkLst>
        </pc:graphicFrameChg>
      </pc:sldChg>
      <pc:sldChg chg="delSp">
        <pc:chgData name="EVELYNSM.YONG" userId="S::evelynsm.yong_gmail.com#ext#@risebcg.onmicrosoft.com::67a27a72-2420-4d38-b745-316a53f4b99a" providerId="AD" clId="Web-{ED728A0C-0252-46C5-96AF-5016F0C15CC5}" dt="2022-01-11T14:44:12.589" v="275"/>
        <pc:sldMkLst>
          <pc:docMk/>
          <pc:sldMk cId="3666302761" sldId="324"/>
        </pc:sldMkLst>
        <pc:spChg chg="del">
          <ac:chgData name="EVELYNSM.YONG" userId="S::evelynsm.yong_gmail.com#ext#@risebcg.onmicrosoft.com::67a27a72-2420-4d38-b745-316a53f4b99a" providerId="AD" clId="Web-{ED728A0C-0252-46C5-96AF-5016F0C15CC5}" dt="2022-01-11T14:44:11.683" v="274"/>
          <ac:spMkLst>
            <pc:docMk/>
            <pc:sldMk cId="3666302761" sldId="324"/>
            <ac:spMk id="18" creationId="{4C8E7E93-D719-4D68-AF75-84A3D92DD60C}"/>
          </ac:spMkLst>
        </pc:spChg>
        <pc:picChg chg="del">
          <ac:chgData name="EVELYNSM.YONG" userId="S::evelynsm.yong_gmail.com#ext#@risebcg.onmicrosoft.com::67a27a72-2420-4d38-b745-316a53f4b99a" providerId="AD" clId="Web-{ED728A0C-0252-46C5-96AF-5016F0C15CC5}" dt="2022-01-11T14:44:12.589" v="275"/>
          <ac:picMkLst>
            <pc:docMk/>
            <pc:sldMk cId="3666302761" sldId="324"/>
            <ac:picMk id="19" creationId="{34C08A26-CA1B-4581-85D4-0D95F9633BCA}"/>
          </ac:picMkLst>
        </pc:picChg>
      </pc:sldChg>
      <pc:sldChg chg="delSp">
        <pc:chgData name="EVELYNSM.YONG" userId="S::evelynsm.yong_gmail.com#ext#@risebcg.onmicrosoft.com::67a27a72-2420-4d38-b745-316a53f4b99a" providerId="AD" clId="Web-{ED728A0C-0252-46C5-96AF-5016F0C15CC5}" dt="2022-01-11T14:44:09.480" v="273"/>
        <pc:sldMkLst>
          <pc:docMk/>
          <pc:sldMk cId="2160415509" sldId="326"/>
        </pc:sldMkLst>
        <pc:spChg chg="del">
          <ac:chgData name="EVELYNSM.YONG" userId="S::evelynsm.yong_gmail.com#ext#@risebcg.onmicrosoft.com::67a27a72-2420-4d38-b745-316a53f4b99a" providerId="AD" clId="Web-{ED728A0C-0252-46C5-96AF-5016F0C15CC5}" dt="2022-01-11T14:44:08.292" v="272"/>
          <ac:spMkLst>
            <pc:docMk/>
            <pc:sldMk cId="2160415509" sldId="326"/>
            <ac:spMk id="18" creationId="{4C8E7E93-D719-4D68-AF75-84A3D92DD60C}"/>
          </ac:spMkLst>
        </pc:spChg>
        <pc:picChg chg="del">
          <ac:chgData name="EVELYNSM.YONG" userId="S::evelynsm.yong_gmail.com#ext#@risebcg.onmicrosoft.com::67a27a72-2420-4d38-b745-316a53f4b99a" providerId="AD" clId="Web-{ED728A0C-0252-46C5-96AF-5016F0C15CC5}" dt="2022-01-11T14:44:09.480" v="273"/>
          <ac:picMkLst>
            <pc:docMk/>
            <pc:sldMk cId="2160415509" sldId="326"/>
            <ac:picMk id="19" creationId="{34C08A26-CA1B-4581-85D4-0D95F9633BCA}"/>
          </ac:picMkLst>
        </pc:picChg>
      </pc:sldChg>
      <pc:sldChg chg="addSp delSp modSp">
        <pc:chgData name="EVELYNSM.YONG" userId="S::evelynsm.yong_gmail.com#ext#@risebcg.onmicrosoft.com::67a27a72-2420-4d38-b745-316a53f4b99a" providerId="AD" clId="Web-{ED728A0C-0252-46C5-96AF-5016F0C15CC5}" dt="2022-01-11T14:50:40.907" v="362"/>
        <pc:sldMkLst>
          <pc:docMk/>
          <pc:sldMk cId="416007632" sldId="327"/>
        </pc:sldMkLst>
        <pc:spChg chg="del">
          <ac:chgData name="EVELYNSM.YONG" userId="S::evelynsm.yong_gmail.com#ext#@risebcg.onmicrosoft.com::67a27a72-2420-4d38-b745-316a53f4b99a" providerId="AD" clId="Web-{ED728A0C-0252-46C5-96AF-5016F0C15CC5}" dt="2022-01-11T14:42:48.072" v="256"/>
          <ac:spMkLst>
            <pc:docMk/>
            <pc:sldMk cId="416007632" sldId="327"/>
            <ac:spMk id="3" creationId="{0E8B9B04-0C42-416D-B18D-3ECA00E11847}"/>
          </ac:spMkLst>
        </pc:spChg>
        <pc:spChg chg="del">
          <ac:chgData name="EVELYNSM.YONG" userId="S::evelynsm.yong_gmail.com#ext#@risebcg.onmicrosoft.com::67a27a72-2420-4d38-b745-316a53f4b99a" providerId="AD" clId="Web-{ED728A0C-0252-46C5-96AF-5016F0C15CC5}" dt="2022-01-11T14:42:41.541" v="254"/>
          <ac:spMkLst>
            <pc:docMk/>
            <pc:sldMk cId="416007632" sldId="327"/>
            <ac:spMk id="4" creationId="{1B5960F9-544A-4161-A172-6B4C977A2156}"/>
          </ac:spMkLst>
        </pc:spChg>
        <pc:spChg chg="del">
          <ac:chgData name="EVELYNSM.YONG" userId="S::evelynsm.yong_gmail.com#ext#@risebcg.onmicrosoft.com::67a27a72-2420-4d38-b745-316a53f4b99a" providerId="AD" clId="Web-{ED728A0C-0252-46C5-96AF-5016F0C15CC5}" dt="2022-01-11T14:28:00.949" v="24"/>
          <ac:spMkLst>
            <pc:docMk/>
            <pc:sldMk cId="416007632" sldId="327"/>
            <ac:spMk id="4" creationId="{F2781DB5-90E2-4089-BA07-2F83778C3F07}"/>
          </ac:spMkLst>
        </pc:spChg>
        <pc:spChg chg="del mod">
          <ac:chgData name="EVELYNSM.YONG" userId="S::evelynsm.yong_gmail.com#ext#@risebcg.onmicrosoft.com::67a27a72-2420-4d38-b745-316a53f4b99a" providerId="AD" clId="Web-{ED728A0C-0252-46C5-96AF-5016F0C15CC5}" dt="2022-01-11T14:38:37.568" v="216"/>
          <ac:spMkLst>
            <pc:docMk/>
            <pc:sldMk cId="416007632" sldId="327"/>
            <ac:spMk id="5" creationId="{AA1B9715-B961-42AF-90C9-79A87F13D1B8}"/>
          </ac:spMkLst>
        </pc:spChg>
        <pc:spChg chg="add mod">
          <ac:chgData name="EVELYNSM.YONG" userId="S::evelynsm.yong_gmail.com#ext#@risebcg.onmicrosoft.com::67a27a72-2420-4d38-b745-316a53f4b99a" providerId="AD" clId="Web-{ED728A0C-0252-46C5-96AF-5016F0C15CC5}" dt="2022-01-11T14:30:23.139" v="58" actId="20577"/>
          <ac:spMkLst>
            <pc:docMk/>
            <pc:sldMk cId="416007632" sldId="327"/>
            <ac:spMk id="6" creationId="{82356653-903F-49D7-901A-A3EB8BDF223D}"/>
          </ac:spMkLst>
        </pc:spChg>
        <pc:spChg chg="add mod">
          <ac:chgData name="EVELYNSM.YONG" userId="S::evelynsm.yong_gmail.com#ext#@risebcg.onmicrosoft.com::67a27a72-2420-4d38-b745-316a53f4b99a" providerId="AD" clId="Web-{ED728A0C-0252-46C5-96AF-5016F0C15CC5}" dt="2022-01-11T14:38:02.771" v="206"/>
          <ac:spMkLst>
            <pc:docMk/>
            <pc:sldMk cId="416007632" sldId="327"/>
            <ac:spMk id="8" creationId="{E577B412-68A3-4185-A772-40E2096ADDCA}"/>
          </ac:spMkLst>
        </pc:spChg>
        <pc:spChg chg="del mod">
          <ac:chgData name="EVELYNSM.YONG" userId="S::evelynsm.yong_gmail.com#ext#@risebcg.onmicrosoft.com::67a27a72-2420-4d38-b745-316a53f4b99a" providerId="AD" clId="Web-{ED728A0C-0252-46C5-96AF-5016F0C15CC5}" dt="2022-01-11T14:42:20.353" v="248"/>
          <ac:spMkLst>
            <pc:docMk/>
            <pc:sldMk cId="416007632" sldId="327"/>
            <ac:spMk id="10" creationId="{6903E9BF-EB5F-4900-A7C3-8046B86C2485}"/>
          </ac:spMkLst>
        </pc:spChg>
        <pc:spChg chg="del">
          <ac:chgData name="EVELYNSM.YONG" userId="S::evelynsm.yong_gmail.com#ext#@risebcg.onmicrosoft.com::67a27a72-2420-4d38-b745-316a53f4b99a" providerId="AD" clId="Web-{ED728A0C-0252-46C5-96AF-5016F0C15CC5}" dt="2022-01-11T14:42:16.806" v="246"/>
          <ac:spMkLst>
            <pc:docMk/>
            <pc:sldMk cId="416007632" sldId="327"/>
            <ac:spMk id="11" creationId="{41409821-5DD4-4CE8-8A23-90E7022670FB}"/>
          </ac:spMkLst>
        </pc:spChg>
        <pc:spChg chg="del">
          <ac:chgData name="EVELYNSM.YONG" userId="S::evelynsm.yong_gmail.com#ext#@risebcg.onmicrosoft.com::67a27a72-2420-4d38-b745-316a53f4b99a" providerId="AD" clId="Web-{ED728A0C-0252-46C5-96AF-5016F0C15CC5}" dt="2022-01-11T14:42:18.306" v="247"/>
          <ac:spMkLst>
            <pc:docMk/>
            <pc:sldMk cId="416007632" sldId="327"/>
            <ac:spMk id="17" creationId="{A342E76F-CBEB-45ED-8735-A83C6AD5D2B1}"/>
          </ac:spMkLst>
        </pc:spChg>
        <pc:spChg chg="add del mod">
          <ac:chgData name="EVELYNSM.YONG" userId="S::evelynsm.yong_gmail.com#ext#@risebcg.onmicrosoft.com::67a27a72-2420-4d38-b745-316a53f4b99a" providerId="AD" clId="Web-{ED728A0C-0252-46C5-96AF-5016F0C15CC5}" dt="2022-01-11T14:38:39.881" v="218"/>
          <ac:spMkLst>
            <pc:docMk/>
            <pc:sldMk cId="416007632" sldId="327"/>
            <ac:spMk id="22" creationId="{8FFDF8F5-3E79-4072-9BA2-80EE2AC9253C}"/>
          </ac:spMkLst>
        </pc:spChg>
        <pc:spChg chg="add mod">
          <ac:chgData name="EVELYNSM.YONG" userId="S::evelynsm.yong_gmail.com#ext#@risebcg.onmicrosoft.com::67a27a72-2420-4d38-b745-316a53f4b99a" providerId="AD" clId="Web-{ED728A0C-0252-46C5-96AF-5016F0C15CC5}" dt="2022-01-11T14:42:50.041" v="257" actId="1076"/>
          <ac:spMkLst>
            <pc:docMk/>
            <pc:sldMk cId="416007632" sldId="327"/>
            <ac:spMk id="22" creationId="{E617BC09-C752-43E7-ACBA-77B43873D3F7}"/>
          </ac:spMkLst>
        </pc:spChg>
        <pc:spChg chg="add del mod ord">
          <ac:chgData name="EVELYNSM.YONG" userId="S::evelynsm.yong_gmail.com#ext#@risebcg.onmicrosoft.com::67a27a72-2420-4d38-b745-316a53f4b99a" providerId="AD" clId="Web-{ED728A0C-0252-46C5-96AF-5016F0C15CC5}" dt="2022-01-11T14:38:39.021" v="217"/>
          <ac:spMkLst>
            <pc:docMk/>
            <pc:sldMk cId="416007632" sldId="327"/>
            <ac:spMk id="24" creationId="{0F736894-28DD-42EA-B107-94E9C256DC43}"/>
          </ac:spMkLst>
        </pc:spChg>
        <pc:spChg chg="add mod">
          <ac:chgData name="EVELYNSM.YONG" userId="S::evelynsm.yong_gmail.com#ext#@risebcg.onmicrosoft.com::67a27a72-2420-4d38-b745-316a53f4b99a" providerId="AD" clId="Web-{ED728A0C-0252-46C5-96AF-5016F0C15CC5}" dt="2022-01-11T14:42:52.213" v="258" actId="1076"/>
          <ac:spMkLst>
            <pc:docMk/>
            <pc:sldMk cId="416007632" sldId="327"/>
            <ac:spMk id="24" creationId="{FCD07FE6-FEC4-42CE-B115-94F5F23C6A71}"/>
          </ac:spMkLst>
        </pc:spChg>
        <pc:spChg chg="add mod">
          <ac:chgData name="EVELYNSM.YONG" userId="S::evelynsm.yong_gmail.com#ext#@risebcg.onmicrosoft.com::67a27a72-2420-4d38-b745-316a53f4b99a" providerId="AD" clId="Web-{ED728A0C-0252-46C5-96AF-5016F0C15CC5}" dt="2022-01-11T14:42:59.994" v="259" actId="1076"/>
          <ac:spMkLst>
            <pc:docMk/>
            <pc:sldMk cId="416007632" sldId="327"/>
            <ac:spMk id="25" creationId="{F9FE7D81-29DC-498D-91D4-543B8A261CE1}"/>
          </ac:spMkLst>
        </pc:spChg>
        <pc:spChg chg="mod ord">
          <ac:chgData name="EVELYNSM.YONG" userId="S::evelynsm.yong_gmail.com#ext#@risebcg.onmicrosoft.com::67a27a72-2420-4d38-b745-316a53f4b99a" providerId="AD" clId="Web-{ED728A0C-0252-46C5-96AF-5016F0C15CC5}" dt="2022-01-11T14:38:06.224" v="207" actId="1076"/>
          <ac:spMkLst>
            <pc:docMk/>
            <pc:sldMk cId="416007632" sldId="327"/>
            <ac:spMk id="32" creationId="{19924F50-9976-41A7-88C1-641F1509CEE0}"/>
          </ac:spMkLst>
        </pc:spChg>
        <pc:spChg chg="mod">
          <ac:chgData name="EVELYNSM.YONG" userId="S::evelynsm.yong_gmail.com#ext#@risebcg.onmicrosoft.com::67a27a72-2420-4d38-b745-316a53f4b99a" providerId="AD" clId="Web-{ED728A0C-0252-46C5-96AF-5016F0C15CC5}" dt="2022-01-11T14:43:01.322" v="260" actId="1076"/>
          <ac:spMkLst>
            <pc:docMk/>
            <pc:sldMk cId="416007632" sldId="327"/>
            <ac:spMk id="33" creationId="{C9B7F08E-D629-47BA-B28C-40CF22219379}"/>
          </ac:spMkLst>
        </pc:spChg>
        <pc:spChg chg="mod">
          <ac:chgData name="EVELYNSM.YONG" userId="S::evelynsm.yong_gmail.com#ext#@risebcg.onmicrosoft.com::67a27a72-2420-4d38-b745-316a53f4b99a" providerId="AD" clId="Web-{ED728A0C-0252-46C5-96AF-5016F0C15CC5}" dt="2022-01-11T14:43:24.557" v="266"/>
          <ac:spMkLst>
            <pc:docMk/>
            <pc:sldMk cId="416007632" sldId="327"/>
            <ac:spMk id="34" creationId="{06D19D76-F677-4AAA-AA6A-7CA4B9DAF436}"/>
          </ac:spMkLst>
        </pc:spChg>
        <pc:spChg chg="mod">
          <ac:chgData name="EVELYNSM.YONG" userId="S::evelynsm.yong_gmail.com#ext#@risebcg.onmicrosoft.com::67a27a72-2420-4d38-b745-316a53f4b99a" providerId="AD" clId="Web-{ED728A0C-0252-46C5-96AF-5016F0C15CC5}" dt="2022-01-11T14:44:00.261" v="271"/>
          <ac:spMkLst>
            <pc:docMk/>
            <pc:sldMk cId="416007632" sldId="327"/>
            <ac:spMk id="35" creationId="{E20AAA99-395B-4009-AF86-AC6B211B7758}"/>
          </ac:spMkLst>
        </pc:spChg>
        <pc:spChg chg="mod">
          <ac:chgData name="EVELYNSM.YONG" userId="S::evelynsm.yong_gmail.com#ext#@risebcg.onmicrosoft.com::67a27a72-2420-4d38-b745-316a53f4b99a" providerId="AD" clId="Web-{ED728A0C-0252-46C5-96AF-5016F0C15CC5}" dt="2022-01-11T14:45:25.153" v="277"/>
          <ac:spMkLst>
            <pc:docMk/>
            <pc:sldMk cId="416007632" sldId="327"/>
            <ac:spMk id="37" creationId="{1AA86EF9-D1F2-488E-902B-9C25FAEFDD52}"/>
          </ac:spMkLst>
        </pc:spChg>
        <pc:picChg chg="mod ord">
          <ac:chgData name="EVELYNSM.YONG" userId="S::evelynsm.yong_gmail.com#ext#@risebcg.onmicrosoft.com::67a27a72-2420-4d38-b745-316a53f4b99a" providerId="AD" clId="Web-{ED728A0C-0252-46C5-96AF-5016F0C15CC5}" dt="2022-01-11T14:35:42.784" v="142" actId="1076"/>
          <ac:picMkLst>
            <pc:docMk/>
            <pc:sldMk cId="416007632" sldId="327"/>
            <ac:picMk id="7" creationId="{52098F02-F658-4E94-9501-A14F3E2D33CE}"/>
          </ac:picMkLst>
        </pc:picChg>
        <pc:picChg chg="mod ord">
          <ac:chgData name="EVELYNSM.YONG" userId="S::evelynsm.yong_gmail.com#ext#@risebcg.onmicrosoft.com::67a27a72-2420-4d38-b745-316a53f4b99a" providerId="AD" clId="Web-{ED728A0C-0252-46C5-96AF-5016F0C15CC5}" dt="2022-01-11T14:36:12.769" v="146"/>
          <ac:picMkLst>
            <pc:docMk/>
            <pc:sldMk cId="416007632" sldId="327"/>
            <ac:picMk id="9" creationId="{A7D42D63-B632-4192-9AF9-4120DFBDAFF3}"/>
          </ac:picMkLst>
        </pc:picChg>
        <pc:picChg chg="mod">
          <ac:chgData name="EVELYNSM.YONG" userId="S::evelynsm.yong_gmail.com#ext#@risebcg.onmicrosoft.com::67a27a72-2420-4d38-b745-316a53f4b99a" providerId="AD" clId="Web-{ED728A0C-0252-46C5-96AF-5016F0C15CC5}" dt="2022-01-11T14:50:40.907" v="362"/>
          <ac:picMkLst>
            <pc:docMk/>
            <pc:sldMk cId="416007632" sldId="327"/>
            <ac:picMk id="13" creationId="{9D9C893F-03E6-48D6-942D-542F03E4CD7B}"/>
          </ac:picMkLst>
        </pc:picChg>
        <pc:picChg chg="mod">
          <ac:chgData name="EVELYNSM.YONG" userId="S::evelynsm.yong_gmail.com#ext#@risebcg.onmicrosoft.com::67a27a72-2420-4d38-b745-316a53f4b99a" providerId="AD" clId="Web-{ED728A0C-0252-46C5-96AF-5016F0C15CC5}" dt="2022-01-11T14:43:52.511" v="270" actId="1076"/>
          <ac:picMkLst>
            <pc:docMk/>
            <pc:sldMk cId="416007632" sldId="327"/>
            <ac:picMk id="21" creationId="{270AFCE7-EE99-4D66-AE35-2E7503A46115}"/>
          </ac:picMkLst>
        </pc:picChg>
        <pc:picChg chg="mod">
          <ac:chgData name="EVELYNSM.YONG" userId="S::evelynsm.yong_gmail.com#ext#@risebcg.onmicrosoft.com::67a27a72-2420-4d38-b745-316a53f4b99a" providerId="AD" clId="Web-{ED728A0C-0252-46C5-96AF-5016F0C15CC5}" dt="2022-01-11T14:42:10.306" v="244" actId="1076"/>
          <ac:picMkLst>
            <pc:docMk/>
            <pc:sldMk cId="416007632" sldId="327"/>
            <ac:picMk id="23" creationId="{AEC9587C-3F93-4045-ACEB-A1A4AFB0FC11}"/>
          </ac:picMkLst>
        </pc:picChg>
        <pc:picChg chg="mod">
          <ac:chgData name="EVELYNSM.YONG" userId="S::evelynsm.yong_gmail.com#ext#@risebcg.onmicrosoft.com::67a27a72-2420-4d38-b745-316a53f4b99a" providerId="AD" clId="Web-{ED728A0C-0252-46C5-96AF-5016F0C15CC5}" dt="2022-01-11T14:42:10.321" v="245" actId="1076"/>
          <ac:picMkLst>
            <pc:docMk/>
            <pc:sldMk cId="416007632" sldId="327"/>
            <ac:picMk id="29" creationId="{4F6899D5-3109-4938-82DA-041DEA46D7EF}"/>
          </ac:picMkLst>
        </pc:picChg>
      </pc:sldChg>
      <pc:sldChg chg="addSp delSp modSp">
        <pc:chgData name="EVELYNSM.YONG" userId="S::evelynsm.yong_gmail.com#ext#@risebcg.onmicrosoft.com::67a27a72-2420-4d38-b745-316a53f4b99a" providerId="AD" clId="Web-{ED728A0C-0252-46C5-96AF-5016F0C15CC5}" dt="2022-01-11T14:50:19.266" v="360" actId="14100"/>
        <pc:sldMkLst>
          <pc:docMk/>
          <pc:sldMk cId="531825606" sldId="383"/>
        </pc:sldMkLst>
        <pc:spChg chg="mod">
          <ac:chgData name="EVELYNSM.YONG" userId="S::evelynsm.yong_gmail.com#ext#@risebcg.onmicrosoft.com::67a27a72-2420-4d38-b745-316a53f4b99a" providerId="AD" clId="Web-{ED728A0C-0252-46C5-96AF-5016F0C15CC5}" dt="2022-01-11T14:49:49.453" v="353" actId="1076"/>
          <ac:spMkLst>
            <pc:docMk/>
            <pc:sldMk cId="531825606" sldId="383"/>
            <ac:spMk id="3" creationId="{9771EDC6-5C2F-4F03-A28A-6F11306CF575}"/>
          </ac:spMkLst>
        </pc:spChg>
        <pc:spChg chg="del">
          <ac:chgData name="EVELYNSM.YONG" userId="S::evelynsm.yong_gmail.com#ext#@risebcg.onmicrosoft.com::67a27a72-2420-4d38-b745-316a53f4b99a" providerId="AD" clId="Web-{ED728A0C-0252-46C5-96AF-5016F0C15CC5}" dt="2022-01-11T14:45:36.950" v="279"/>
          <ac:spMkLst>
            <pc:docMk/>
            <pc:sldMk cId="531825606" sldId="383"/>
            <ac:spMk id="4" creationId="{BCA9CE95-6D94-484F-9121-CEC75A5CFF1D}"/>
          </ac:spMkLst>
        </pc:spChg>
        <pc:spChg chg="mod">
          <ac:chgData name="EVELYNSM.YONG" userId="S::evelynsm.yong_gmail.com#ext#@risebcg.onmicrosoft.com::67a27a72-2420-4d38-b745-316a53f4b99a" providerId="AD" clId="Web-{ED728A0C-0252-46C5-96AF-5016F0C15CC5}" dt="2022-01-11T14:50:19.266" v="360" actId="14100"/>
          <ac:spMkLst>
            <pc:docMk/>
            <pc:sldMk cId="531825606" sldId="383"/>
            <ac:spMk id="5" creationId="{91143AFA-D739-4BBB-A32B-96E9A56D82A0}"/>
          </ac:spMkLst>
        </pc:spChg>
        <pc:spChg chg="add mod">
          <ac:chgData name="EVELYNSM.YONG" userId="S::evelynsm.yong_gmail.com#ext#@risebcg.onmicrosoft.com::67a27a72-2420-4d38-b745-316a53f4b99a" providerId="AD" clId="Web-{ED728A0C-0252-46C5-96AF-5016F0C15CC5}" dt="2022-01-11T14:48:27.952" v="330" actId="1076"/>
          <ac:spMkLst>
            <pc:docMk/>
            <pc:sldMk cId="531825606" sldId="383"/>
            <ac:spMk id="6" creationId="{761B91DD-2C3B-47A2-8990-376057A7535F}"/>
          </ac:spMkLst>
        </pc:spChg>
      </pc:sldChg>
    </pc:docChg>
  </pc:docChgLst>
  <pc:docChgLst>
    <pc:chgData name="WONGYONGLIN91" userId="S::wongyonglin91_gmail.com#ext#@risebcg.onmicrosoft.com::b2d94f93-e580-4f0d-9dda-2138509d25ae" providerId="AD" clId="Web-{AA8F84BC-5D19-4691-B461-BEF25C6106FD}"/>
    <pc:docChg chg="modSld">
      <pc:chgData name="WONGYONGLIN91" userId="S::wongyonglin91_gmail.com#ext#@risebcg.onmicrosoft.com::b2d94f93-e580-4f0d-9dda-2138509d25ae" providerId="AD" clId="Web-{AA8F84BC-5D19-4691-B461-BEF25C6106FD}" dt="2022-01-07T15:00:23.632" v="81" actId="20577"/>
      <pc:docMkLst>
        <pc:docMk/>
      </pc:docMkLst>
      <pc:sldChg chg="addSp modSp">
        <pc:chgData name="WONGYONGLIN91" userId="S::wongyonglin91_gmail.com#ext#@risebcg.onmicrosoft.com::b2d94f93-e580-4f0d-9dda-2138509d25ae" providerId="AD" clId="Web-{AA8F84BC-5D19-4691-B461-BEF25C6106FD}" dt="2022-01-07T14:13:33.466" v="5" actId="1076"/>
        <pc:sldMkLst>
          <pc:docMk/>
          <pc:sldMk cId="3666302761" sldId="324"/>
        </pc:sldMkLst>
        <pc:picChg chg="add mod">
          <ac:chgData name="WONGYONGLIN91" userId="S::wongyonglin91_gmail.com#ext#@risebcg.onmicrosoft.com::b2d94f93-e580-4f0d-9dda-2138509d25ae" providerId="AD" clId="Web-{AA8F84BC-5D19-4691-B461-BEF25C6106FD}" dt="2022-01-07T14:13:33.466" v="5" actId="1076"/>
          <ac:picMkLst>
            <pc:docMk/>
            <pc:sldMk cId="3666302761" sldId="324"/>
            <ac:picMk id="3" creationId="{1E3FFB43-7F0A-45FE-BF03-B63BEC254DF1}"/>
          </ac:picMkLst>
        </pc:picChg>
      </pc:sldChg>
      <pc:sldChg chg="addSp delSp modSp">
        <pc:chgData name="WONGYONGLIN91" userId="S::wongyonglin91_gmail.com#ext#@risebcg.onmicrosoft.com::b2d94f93-e580-4f0d-9dda-2138509d25ae" providerId="AD" clId="Web-{AA8F84BC-5D19-4691-B461-BEF25C6106FD}" dt="2022-01-07T15:00:23.632" v="81" actId="20577"/>
        <pc:sldMkLst>
          <pc:docMk/>
          <pc:sldMk cId="2728944561" sldId="333"/>
        </pc:sldMkLst>
        <pc:spChg chg="mod">
          <ac:chgData name="WONGYONGLIN91" userId="S::wongyonglin91_gmail.com#ext#@risebcg.onmicrosoft.com::b2d94f93-e580-4f0d-9dda-2138509d25ae" providerId="AD" clId="Web-{AA8F84BC-5D19-4691-B461-BEF25C6106FD}" dt="2022-01-07T15:00:23.632" v="81" actId="20577"/>
          <ac:spMkLst>
            <pc:docMk/>
            <pc:sldMk cId="2728944561" sldId="333"/>
            <ac:spMk id="3" creationId="{9C545F2D-9E52-4C81-8BAE-363F523739FD}"/>
          </ac:spMkLst>
        </pc:spChg>
        <pc:spChg chg="del">
          <ac:chgData name="WONGYONGLIN91" userId="S::wongyonglin91_gmail.com#ext#@risebcg.onmicrosoft.com::b2d94f93-e580-4f0d-9dda-2138509d25ae" providerId="AD" clId="Web-{AA8F84BC-5D19-4691-B461-BEF25C6106FD}" dt="2022-01-07T14:50:59.305" v="30"/>
          <ac:spMkLst>
            <pc:docMk/>
            <pc:sldMk cId="2728944561" sldId="333"/>
            <ac:spMk id="15" creationId="{AAF3EE67-387A-430E-A8DA-4FF50FD506BC}"/>
          </ac:spMkLst>
        </pc:spChg>
        <pc:picChg chg="add del mod">
          <ac:chgData name="WONGYONGLIN91" userId="S::wongyonglin91_gmail.com#ext#@risebcg.onmicrosoft.com::b2d94f93-e580-4f0d-9dda-2138509d25ae" providerId="AD" clId="Web-{AA8F84BC-5D19-4691-B461-BEF25C6106FD}" dt="2022-01-07T14:42:47.654" v="9"/>
          <ac:picMkLst>
            <pc:docMk/>
            <pc:sldMk cId="2728944561" sldId="333"/>
            <ac:picMk id="4" creationId="{DEC86D4E-94C5-4CF4-B77C-49D72B4611AF}"/>
          </ac:picMkLst>
        </pc:picChg>
        <pc:picChg chg="add del mod">
          <ac:chgData name="WONGYONGLIN91" userId="S::wongyonglin91_gmail.com#ext#@risebcg.onmicrosoft.com::b2d94f93-e580-4f0d-9dda-2138509d25ae" providerId="AD" clId="Web-{AA8F84BC-5D19-4691-B461-BEF25C6106FD}" dt="2022-01-07T14:46:12.180" v="15"/>
          <ac:picMkLst>
            <pc:docMk/>
            <pc:sldMk cId="2728944561" sldId="333"/>
            <ac:picMk id="5" creationId="{9EDF73D7-6001-4A08-8EE8-495C9F93D383}"/>
          </ac:picMkLst>
        </pc:picChg>
        <pc:picChg chg="add mod">
          <ac:chgData name="WONGYONGLIN91" userId="S::wongyonglin91_gmail.com#ext#@risebcg.onmicrosoft.com::b2d94f93-e580-4f0d-9dda-2138509d25ae" providerId="AD" clId="Web-{AA8F84BC-5D19-4691-B461-BEF25C6106FD}" dt="2022-01-07T14:55:35.945" v="56" actId="14100"/>
          <ac:picMkLst>
            <pc:docMk/>
            <pc:sldMk cId="2728944561" sldId="333"/>
            <ac:picMk id="6" creationId="{5C7BC333-AC07-4C92-9439-0C248DD469B7}"/>
          </ac:picMkLst>
        </pc:picChg>
        <pc:picChg chg="add mod">
          <ac:chgData name="WONGYONGLIN91" userId="S::wongyonglin91_gmail.com#ext#@risebcg.onmicrosoft.com::b2d94f93-e580-4f0d-9dda-2138509d25ae" providerId="AD" clId="Web-{AA8F84BC-5D19-4691-B461-BEF25C6106FD}" dt="2022-01-07T14:55:07.631" v="50" actId="14100"/>
          <ac:picMkLst>
            <pc:docMk/>
            <pc:sldMk cId="2728944561" sldId="333"/>
            <ac:picMk id="7" creationId="{5DBECBC5-E506-4844-9DFC-8CEEA581E35F}"/>
          </ac:picMkLst>
        </pc:picChg>
      </pc:sldChg>
    </pc:docChg>
  </pc:docChgLst>
  <pc:docChgLst>
    <pc:chgData name="WESLEY.TBW" userId="S::wesley.tbw_gmail.com#ext#@risebcg.onmicrosoft.com::1034df62-ee6d-4b2f-8a56-03c4406a0a8a" providerId="AD" clId="Web-{5F7935B9-78CB-4A7B-8139-79A142C00EBF}"/>
    <pc:docChg chg="modSld">
      <pc:chgData name="WESLEY.TBW" userId="S::wesley.tbw_gmail.com#ext#@risebcg.onmicrosoft.com::1034df62-ee6d-4b2f-8a56-03c4406a0a8a" providerId="AD" clId="Web-{5F7935B9-78CB-4A7B-8139-79A142C00EBF}" dt="2022-01-09T15:56:37.966" v="2248"/>
      <pc:docMkLst>
        <pc:docMk/>
      </pc:docMkLst>
      <pc:sldChg chg="modNotes">
        <pc:chgData name="WESLEY.TBW" userId="S::wesley.tbw_gmail.com#ext#@risebcg.onmicrosoft.com::1034df62-ee6d-4b2f-8a56-03c4406a0a8a" providerId="AD" clId="Web-{5F7935B9-78CB-4A7B-8139-79A142C00EBF}" dt="2022-01-09T14:17:42.437" v="209"/>
        <pc:sldMkLst>
          <pc:docMk/>
          <pc:sldMk cId="2256265757" sldId="315"/>
        </pc:sldMkLst>
      </pc:sldChg>
      <pc:sldChg chg="modNotes">
        <pc:chgData name="WESLEY.TBW" userId="S::wesley.tbw_gmail.com#ext#@risebcg.onmicrosoft.com::1034df62-ee6d-4b2f-8a56-03c4406a0a8a" providerId="AD" clId="Web-{5F7935B9-78CB-4A7B-8139-79A142C00EBF}" dt="2022-01-09T14:11:09.020" v="205"/>
        <pc:sldMkLst>
          <pc:docMk/>
          <pc:sldMk cId="4084366951" sldId="318"/>
        </pc:sldMkLst>
      </pc:sldChg>
      <pc:sldChg chg="modNotes">
        <pc:chgData name="WESLEY.TBW" userId="S::wesley.tbw_gmail.com#ext#@risebcg.onmicrosoft.com::1034df62-ee6d-4b2f-8a56-03c4406a0a8a" providerId="AD" clId="Web-{5F7935B9-78CB-4A7B-8139-79A142C00EBF}" dt="2022-01-09T14:46:42.393" v="483"/>
        <pc:sldMkLst>
          <pc:docMk/>
          <pc:sldMk cId="1249418479" sldId="334"/>
        </pc:sldMkLst>
      </pc:sldChg>
      <pc:sldChg chg="addSp delSp modSp modTransition addAnim delAnim modAnim modNotes">
        <pc:chgData name="WESLEY.TBW" userId="S::wesley.tbw_gmail.com#ext#@risebcg.onmicrosoft.com::1034df62-ee6d-4b2f-8a56-03c4406a0a8a" providerId="AD" clId="Web-{5F7935B9-78CB-4A7B-8139-79A142C00EBF}" dt="2022-01-09T15:56:37.966" v="2248"/>
        <pc:sldMkLst>
          <pc:docMk/>
          <pc:sldMk cId="4159389698" sldId="342"/>
        </pc:sldMkLst>
        <pc:spChg chg="mod">
          <ac:chgData name="WESLEY.TBW" userId="S::wesley.tbw_gmail.com#ext#@risebcg.onmicrosoft.com::1034df62-ee6d-4b2f-8a56-03c4406a0a8a" providerId="AD" clId="Web-{5F7935B9-78CB-4A7B-8139-79A142C00EBF}" dt="2022-01-09T15:24:35.583" v="1197" actId="1076"/>
          <ac:spMkLst>
            <pc:docMk/>
            <pc:sldMk cId="4159389698" sldId="342"/>
            <ac:spMk id="2" creationId="{080435EA-AD4F-4934-83BC-D5D53AFD93E9}"/>
          </ac:spMkLst>
        </pc:spChg>
        <pc:spChg chg="add del mod">
          <ac:chgData name="WESLEY.TBW" userId="S::wesley.tbw_gmail.com#ext#@risebcg.onmicrosoft.com::1034df62-ee6d-4b2f-8a56-03c4406a0a8a" providerId="AD" clId="Web-{5F7935B9-78CB-4A7B-8139-79A142C00EBF}" dt="2022-01-09T14:26:41.734" v="234"/>
          <ac:spMkLst>
            <pc:docMk/>
            <pc:sldMk cId="4159389698" sldId="342"/>
            <ac:spMk id="3" creationId="{4C8457A8-B691-407D-BC43-B19F0CE0FA1A}"/>
          </ac:spMkLst>
        </pc:spChg>
        <pc:spChg chg="add del">
          <ac:chgData name="WESLEY.TBW" userId="S::wesley.tbw_gmail.com#ext#@risebcg.onmicrosoft.com::1034df62-ee6d-4b2f-8a56-03c4406a0a8a" providerId="AD" clId="Web-{5F7935B9-78CB-4A7B-8139-79A142C00EBF}" dt="2022-01-09T14:56:03.690" v="653"/>
          <ac:spMkLst>
            <pc:docMk/>
            <pc:sldMk cId="4159389698" sldId="342"/>
            <ac:spMk id="7" creationId="{45BDF008-A42D-489B-BC6B-3CD104825912}"/>
          </ac:spMkLst>
        </pc:spChg>
        <pc:spChg chg="add del">
          <ac:chgData name="WESLEY.TBW" userId="S::wesley.tbw_gmail.com#ext#@risebcg.onmicrosoft.com::1034df62-ee6d-4b2f-8a56-03c4406a0a8a" providerId="AD" clId="Web-{5F7935B9-78CB-4A7B-8139-79A142C00EBF}" dt="2022-01-09T14:56:07.893" v="655"/>
          <ac:spMkLst>
            <pc:docMk/>
            <pc:sldMk cId="4159389698" sldId="342"/>
            <ac:spMk id="8" creationId="{95D54CAB-95DB-4E15-A77B-4244F535CC05}"/>
          </ac:spMkLst>
        </pc:spChg>
        <pc:spChg chg="mod">
          <ac:chgData name="WESLEY.TBW" userId="S::wesley.tbw_gmail.com#ext#@risebcg.onmicrosoft.com::1034df62-ee6d-4b2f-8a56-03c4406a0a8a" providerId="AD" clId="Web-{5F7935B9-78CB-4A7B-8139-79A142C00EBF}" dt="2022-01-09T15:08:27.836" v="887" actId="1076"/>
          <ac:spMkLst>
            <pc:docMk/>
            <pc:sldMk cId="4159389698" sldId="342"/>
            <ac:spMk id="9" creationId="{E953D56B-E197-4EF3-86AC-EB83FF562830}"/>
          </ac:spMkLst>
        </pc:spChg>
        <pc:spChg chg="mod">
          <ac:chgData name="WESLEY.TBW" userId="S::wesley.tbw_gmail.com#ext#@risebcg.onmicrosoft.com::1034df62-ee6d-4b2f-8a56-03c4406a0a8a" providerId="AD" clId="Web-{5F7935B9-78CB-4A7B-8139-79A142C00EBF}" dt="2022-01-09T15:08:23.883" v="885" actId="1076"/>
          <ac:spMkLst>
            <pc:docMk/>
            <pc:sldMk cId="4159389698" sldId="342"/>
            <ac:spMk id="10" creationId="{A949E116-7148-4CA9-A41F-83DB47255D80}"/>
          </ac:spMkLst>
        </pc:spChg>
        <pc:spChg chg="mod">
          <ac:chgData name="WESLEY.TBW" userId="S::wesley.tbw_gmail.com#ext#@risebcg.onmicrosoft.com::1034df62-ee6d-4b2f-8a56-03c4406a0a8a" providerId="AD" clId="Web-{5F7935B9-78CB-4A7B-8139-79A142C00EBF}" dt="2022-01-09T15:03:35.359" v="786" actId="14100"/>
          <ac:spMkLst>
            <pc:docMk/>
            <pc:sldMk cId="4159389698" sldId="342"/>
            <ac:spMk id="12" creationId="{AAEC2426-37C0-4083-9090-89DDF94F295F}"/>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17" creationId="{6FDF350C-C97C-400B-B87D-6901DDEB82E0}"/>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18" creationId="{3C4A1E42-C144-4D19-AD56-DC9E3BC28DA6}"/>
          </ac:spMkLst>
        </pc:spChg>
        <pc:spChg chg="add mod">
          <ac:chgData name="WESLEY.TBW" userId="S::wesley.tbw_gmail.com#ext#@risebcg.onmicrosoft.com::1034df62-ee6d-4b2f-8a56-03c4406a0a8a" providerId="AD" clId="Web-{5F7935B9-78CB-4A7B-8139-79A142C00EBF}" dt="2022-01-09T15:04:58.565" v="809" actId="1076"/>
          <ac:spMkLst>
            <pc:docMk/>
            <pc:sldMk cId="4159389698" sldId="342"/>
            <ac:spMk id="19" creationId="{3AD73E51-E951-474F-9A5D-F6D82A01A37E}"/>
          </ac:spMkLst>
        </pc:spChg>
        <pc:spChg chg="add mod">
          <ac:chgData name="WESLEY.TBW" userId="S::wesley.tbw_gmail.com#ext#@risebcg.onmicrosoft.com::1034df62-ee6d-4b2f-8a56-03c4406a0a8a" providerId="AD" clId="Web-{5F7935B9-78CB-4A7B-8139-79A142C00EBF}" dt="2022-01-09T15:04:44.236" v="804"/>
          <ac:spMkLst>
            <pc:docMk/>
            <pc:sldMk cId="4159389698" sldId="342"/>
            <ac:spMk id="20" creationId="{15B8A76D-FA13-4296-BC22-4279F19678FE}"/>
          </ac:spMkLst>
        </pc:spChg>
        <pc:spChg chg="add mod">
          <ac:chgData name="WESLEY.TBW" userId="S::wesley.tbw_gmail.com#ext#@risebcg.onmicrosoft.com::1034df62-ee6d-4b2f-8a56-03c4406a0a8a" providerId="AD" clId="Web-{5F7935B9-78CB-4A7B-8139-79A142C00EBF}" dt="2022-01-09T15:08:25.243" v="886" actId="1076"/>
          <ac:spMkLst>
            <pc:docMk/>
            <pc:sldMk cId="4159389698" sldId="342"/>
            <ac:spMk id="21" creationId="{0F3AB545-8B7B-4F3B-BCAB-1B2065C8A613}"/>
          </ac:spMkLst>
        </pc:spChg>
        <pc:spChg chg="add mod">
          <ac:chgData name="WESLEY.TBW" userId="S::wesley.tbw_gmail.com#ext#@risebcg.onmicrosoft.com::1034df62-ee6d-4b2f-8a56-03c4406a0a8a" providerId="AD" clId="Web-{5F7935B9-78CB-4A7B-8139-79A142C00EBF}" dt="2022-01-09T15:08:31.977" v="888" actId="1076"/>
          <ac:spMkLst>
            <pc:docMk/>
            <pc:sldMk cId="4159389698" sldId="342"/>
            <ac:spMk id="22" creationId="{F5EDEB65-A697-4CE2-A547-919E61D07AEA}"/>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23" creationId="{41AFB02C-DB44-4F3C-812B-7D52A88090A6}"/>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24" creationId="{C02F7E63-1F01-4B53-821F-57BEDFD3D2A7}"/>
          </ac:spMkLst>
        </pc:spChg>
        <pc:spChg chg="add mod topLvl">
          <ac:chgData name="WESLEY.TBW" userId="S::wesley.tbw_gmail.com#ext#@risebcg.onmicrosoft.com::1034df62-ee6d-4b2f-8a56-03c4406a0a8a" providerId="AD" clId="Web-{5F7935B9-78CB-4A7B-8139-79A142C00EBF}" dt="2022-01-09T15:24:45.521" v="1198" actId="1076"/>
          <ac:spMkLst>
            <pc:docMk/>
            <pc:sldMk cId="4159389698" sldId="342"/>
            <ac:spMk id="27" creationId="{DCFD4D3C-02DB-4109-AE1E-9B21315DB83D}"/>
          </ac:spMkLst>
        </pc:spChg>
        <pc:spChg chg="add del mod">
          <ac:chgData name="WESLEY.TBW" userId="S::wesley.tbw_gmail.com#ext#@risebcg.onmicrosoft.com::1034df62-ee6d-4b2f-8a56-03c4406a0a8a" providerId="AD" clId="Web-{5F7935B9-78CB-4A7B-8139-79A142C00EBF}" dt="2022-01-09T15:17:05.367" v="1025"/>
          <ac:spMkLst>
            <pc:docMk/>
            <pc:sldMk cId="4159389698" sldId="342"/>
            <ac:spMk id="29" creationId="{A9A73B93-2295-40B6-A9FA-F3F72847F81F}"/>
          </ac:spMkLst>
        </pc:spChg>
        <pc:spChg chg="add del">
          <ac:chgData name="WESLEY.TBW" userId="S::wesley.tbw_gmail.com#ext#@risebcg.onmicrosoft.com::1034df62-ee6d-4b2f-8a56-03c4406a0a8a" providerId="AD" clId="Web-{5F7935B9-78CB-4A7B-8139-79A142C00EBF}" dt="2022-01-09T15:19:00.464" v="1038"/>
          <ac:spMkLst>
            <pc:docMk/>
            <pc:sldMk cId="4159389698" sldId="342"/>
            <ac:spMk id="30" creationId="{AF02D8EE-2AA1-4E5B-A1FA-A1DEF9AA6F9A}"/>
          </ac:spMkLst>
        </pc:spChg>
        <pc:grpChg chg="add del mod">
          <ac:chgData name="WESLEY.TBW" userId="S::wesley.tbw_gmail.com#ext#@risebcg.onmicrosoft.com::1034df62-ee6d-4b2f-8a56-03c4406a0a8a" providerId="AD" clId="Web-{5F7935B9-78CB-4A7B-8139-79A142C00EBF}" dt="2022-01-09T14:56:23.456" v="656"/>
          <ac:grpSpMkLst>
            <pc:docMk/>
            <pc:sldMk cId="4159389698" sldId="342"/>
            <ac:grpSpMk id="6" creationId="{02EBDF71-5CC6-45A6-83A3-FB904C2A91D8}"/>
          </ac:grpSpMkLst>
        </pc:grpChg>
        <pc:grpChg chg="add del mod topLvl">
          <ac:chgData name="WESLEY.TBW" userId="S::wesley.tbw_gmail.com#ext#@risebcg.onmicrosoft.com::1034df62-ee6d-4b2f-8a56-03c4406a0a8a" providerId="AD" clId="Web-{5F7935B9-78CB-4A7B-8139-79A142C00EBF}" dt="2022-01-09T15:18:44.010" v="1035"/>
          <ac:grpSpMkLst>
            <pc:docMk/>
            <pc:sldMk cId="4159389698" sldId="342"/>
            <ac:grpSpMk id="16" creationId="{B47A0804-E6A0-42B4-85E9-4ED25C5FE0C5}"/>
          </ac:grpSpMkLst>
        </pc:grpChg>
        <pc:grpChg chg="add del mod">
          <ac:chgData name="WESLEY.TBW" userId="S::wesley.tbw_gmail.com#ext#@risebcg.onmicrosoft.com::1034df62-ee6d-4b2f-8a56-03c4406a0a8a" providerId="AD" clId="Web-{5F7935B9-78CB-4A7B-8139-79A142C00EBF}" dt="2022-01-09T15:18:26.291" v="1033"/>
          <ac:grpSpMkLst>
            <pc:docMk/>
            <pc:sldMk cId="4159389698" sldId="342"/>
            <ac:grpSpMk id="28" creationId="{0753DEED-4DB1-47D9-917A-CFBD8B8C39A8}"/>
          </ac:grpSpMkLst>
        </pc:grpChg>
        <pc:grpChg chg="add">
          <ac:chgData name="WESLEY.TBW" userId="S::wesley.tbw_gmail.com#ext#@risebcg.onmicrosoft.com::1034df62-ee6d-4b2f-8a56-03c4406a0a8a" providerId="AD" clId="Web-{5F7935B9-78CB-4A7B-8139-79A142C00EBF}" dt="2022-01-09T15:21:18.327" v="1051"/>
          <ac:grpSpMkLst>
            <pc:docMk/>
            <pc:sldMk cId="4159389698" sldId="342"/>
            <ac:grpSpMk id="31" creationId="{76E18740-F22D-4963-BCB7-3EF1ECF50B99}"/>
          </ac:grpSpMkLst>
        </pc:grpChg>
        <pc:picChg chg="mod">
          <ac:chgData name="WESLEY.TBW" userId="S::wesley.tbw_gmail.com#ext#@risebcg.onmicrosoft.com::1034df62-ee6d-4b2f-8a56-03c4406a0a8a" providerId="AD" clId="Web-{5F7935B9-78CB-4A7B-8139-79A142C00EBF}" dt="2022-01-09T15:20:03.341" v="1049" actId="1076"/>
          <ac:picMkLst>
            <pc:docMk/>
            <pc:sldMk cId="4159389698" sldId="342"/>
            <ac:picMk id="4" creationId="{A250FD57-6309-4718-A617-85A0EA99B27E}"/>
          </ac:picMkLst>
        </pc:picChg>
        <pc:cxnChg chg="add mod ord topLvl">
          <ac:chgData name="WESLEY.TBW" userId="S::wesley.tbw_gmail.com#ext#@risebcg.onmicrosoft.com::1034df62-ee6d-4b2f-8a56-03c4406a0a8a" providerId="AD" clId="Web-{5F7935B9-78CB-4A7B-8139-79A142C00EBF}" dt="2022-01-09T15:19:57.044" v="1048"/>
          <ac:cxnSpMkLst>
            <pc:docMk/>
            <pc:sldMk cId="4159389698" sldId="342"/>
            <ac:cxnSpMk id="5" creationId="{42CC447C-FCA3-4440-AFAC-074CA9387369}"/>
          </ac:cxnSpMkLst>
        </pc:cxnChg>
        <pc:cxnChg chg="add mod topLvl">
          <ac:chgData name="WESLEY.TBW" userId="S::wesley.tbw_gmail.com#ext#@risebcg.onmicrosoft.com::1034df62-ee6d-4b2f-8a56-03c4406a0a8a" providerId="AD" clId="Web-{5F7935B9-78CB-4A7B-8139-79A142C00EBF}" dt="2022-01-09T15:18:52.729" v="1036" actId="14100"/>
          <ac:cxnSpMkLst>
            <pc:docMk/>
            <pc:sldMk cId="4159389698" sldId="342"/>
            <ac:cxnSpMk id="11" creationId="{B100C871-1F8E-44FA-9A22-E49497F4DD19}"/>
          </ac:cxnSpMkLst>
        </pc:cxnChg>
        <pc:cxnChg chg="add mod topLvl">
          <ac:chgData name="WESLEY.TBW" userId="S::wesley.tbw_gmail.com#ext#@risebcg.onmicrosoft.com::1034df62-ee6d-4b2f-8a56-03c4406a0a8a" providerId="AD" clId="Web-{5F7935B9-78CB-4A7B-8139-79A142C00EBF}" dt="2022-01-09T15:19:41.168" v="1045" actId="14100"/>
          <ac:cxnSpMkLst>
            <pc:docMk/>
            <pc:sldMk cId="4159389698" sldId="342"/>
            <ac:cxnSpMk id="13" creationId="{CFBA535F-E821-437D-8FB9-B7C83F0FE8CA}"/>
          </ac:cxnSpMkLst>
        </pc:cxnChg>
        <pc:cxnChg chg="add mod topLvl">
          <ac:chgData name="WESLEY.TBW" userId="S::wesley.tbw_gmail.com#ext#@risebcg.onmicrosoft.com::1034df62-ee6d-4b2f-8a56-03c4406a0a8a" providerId="AD" clId="Web-{5F7935B9-78CB-4A7B-8139-79A142C00EBF}" dt="2022-01-09T15:19:47.606" v="1046" actId="14100"/>
          <ac:cxnSpMkLst>
            <pc:docMk/>
            <pc:sldMk cId="4159389698" sldId="342"/>
            <ac:cxnSpMk id="14" creationId="{93D321C6-8EC7-46E9-B13D-F842EC617678}"/>
          </ac:cxnSpMkLst>
        </pc:cxnChg>
        <pc:cxnChg chg="add mod topLvl">
          <ac:chgData name="WESLEY.TBW" userId="S::wesley.tbw_gmail.com#ext#@risebcg.onmicrosoft.com::1034df62-ee6d-4b2f-8a56-03c4406a0a8a" providerId="AD" clId="Web-{5F7935B9-78CB-4A7B-8139-79A142C00EBF}" dt="2022-01-09T15:19:24.152" v="1042" actId="14100"/>
          <ac:cxnSpMkLst>
            <pc:docMk/>
            <pc:sldMk cId="4159389698" sldId="342"/>
            <ac:cxnSpMk id="15" creationId="{0F061DD2-0F3A-4495-B4F4-9E94EF93F1CE}"/>
          </ac:cxnSpMkLst>
        </pc:cxnChg>
        <pc:cxnChg chg="add mod topLvl">
          <ac:chgData name="WESLEY.TBW" userId="S::wesley.tbw_gmail.com#ext#@risebcg.onmicrosoft.com::1034df62-ee6d-4b2f-8a56-03c4406a0a8a" providerId="AD" clId="Web-{5F7935B9-78CB-4A7B-8139-79A142C00EBF}" dt="2022-01-09T15:18:26.291" v="1033"/>
          <ac:cxnSpMkLst>
            <pc:docMk/>
            <pc:sldMk cId="4159389698" sldId="342"/>
            <ac:cxnSpMk id="25" creationId="{86C75B88-0208-4015-B9DF-BF70E495BB7A}"/>
          </ac:cxnSpMkLst>
        </pc:cxnChg>
        <pc:cxnChg chg="add mod topLvl">
          <ac:chgData name="WESLEY.TBW" userId="S::wesley.tbw_gmail.com#ext#@risebcg.onmicrosoft.com::1034df62-ee6d-4b2f-8a56-03c4406a0a8a" providerId="AD" clId="Web-{5F7935B9-78CB-4A7B-8139-79A142C00EBF}" dt="2022-01-09T15:20:19.060" v="1050" actId="14100"/>
          <ac:cxnSpMkLst>
            <pc:docMk/>
            <pc:sldMk cId="4159389698" sldId="342"/>
            <ac:cxnSpMk id="26" creationId="{4264CA08-D5C3-4CB2-AD5C-F07158DF5983}"/>
          </ac:cxnSpMkLst>
        </pc:cxnChg>
      </pc:sldChg>
    </pc:docChg>
  </pc:docChgLst>
  <pc:docChgLst>
    <pc:chgData name="EVELYNSM.YONG" userId="S::evelynsm.yong_gmail.com#ext#@risebcg.onmicrosoft.com::67a27a72-2420-4d38-b745-316a53f4b99a" providerId="AD" clId="Web-{EDC78924-31DD-478D-94D0-FF076158C451}"/>
    <pc:docChg chg="modSld">
      <pc:chgData name="EVELYNSM.YONG" userId="S::evelynsm.yong_gmail.com#ext#@risebcg.onmicrosoft.com::67a27a72-2420-4d38-b745-316a53f4b99a" providerId="AD" clId="Web-{EDC78924-31DD-478D-94D0-FF076158C451}" dt="2022-01-11T15:05:09.273" v="5"/>
      <pc:docMkLst>
        <pc:docMk/>
      </pc:docMkLst>
      <pc:sldChg chg="addSp delSp modSp">
        <pc:chgData name="EVELYNSM.YONG" userId="S::evelynsm.yong_gmail.com#ext#@risebcg.onmicrosoft.com::67a27a72-2420-4d38-b745-316a53f4b99a" providerId="AD" clId="Web-{EDC78924-31DD-478D-94D0-FF076158C451}" dt="2022-01-11T15:05:09.273" v="5"/>
        <pc:sldMkLst>
          <pc:docMk/>
          <pc:sldMk cId="2256265757" sldId="315"/>
        </pc:sldMkLst>
        <pc:graphicFrameChg chg="del">
          <ac:chgData name="EVELYNSM.YONG" userId="S::evelynsm.yong_gmail.com#ext#@risebcg.onmicrosoft.com::67a27a72-2420-4d38-b745-316a53f4b99a" providerId="AD" clId="Web-{EDC78924-31DD-478D-94D0-FF076158C451}" dt="2022-01-11T15:04:58.851" v="0"/>
          <ac:graphicFrameMkLst>
            <pc:docMk/>
            <pc:sldMk cId="2256265757" sldId="315"/>
            <ac:graphicFrameMk id="52" creationId="{C255B91C-8C66-41AC-96CF-25F03474A6A9}"/>
          </ac:graphicFrameMkLst>
        </pc:graphicFrameChg>
        <pc:picChg chg="add del mod">
          <ac:chgData name="EVELYNSM.YONG" userId="S::evelynsm.yong_gmail.com#ext#@risebcg.onmicrosoft.com::67a27a72-2420-4d38-b745-316a53f4b99a" providerId="AD" clId="Web-{EDC78924-31DD-478D-94D0-FF076158C451}" dt="2022-01-11T15:05:09.273" v="5"/>
          <ac:picMkLst>
            <pc:docMk/>
            <pc:sldMk cId="2256265757" sldId="315"/>
            <ac:picMk id="36" creationId="{F1BE3C96-A6C7-4FAA-A095-FFBB0CC82A66}"/>
          </ac:picMkLst>
        </pc:picChg>
      </pc:sldChg>
    </pc:docChg>
  </pc:docChgLst>
  <pc:docChgLst>
    <pc:chgData name="EVELYNSM.YONG" userId="S::evelynsm.yong_gmail.com#ext#@risebcg.onmicrosoft.com::67a27a72-2420-4d38-b745-316a53f4b99a" providerId="AD" clId="Web-{CD67B01C-8D2C-4219-AAFF-DFC5DB634769}"/>
    <pc:docChg chg="modSld">
      <pc:chgData name="EVELYNSM.YONG" userId="S::evelynsm.yong_gmail.com#ext#@risebcg.onmicrosoft.com::67a27a72-2420-4d38-b745-316a53f4b99a" providerId="AD" clId="Web-{CD67B01C-8D2C-4219-AAFF-DFC5DB634769}" dt="2022-01-10T01:59:24.333" v="102" actId="14100"/>
      <pc:docMkLst>
        <pc:docMk/>
      </pc:docMkLst>
      <pc:sldChg chg="addSp delSp modSp">
        <pc:chgData name="EVELYNSM.YONG" userId="S::evelynsm.yong_gmail.com#ext#@risebcg.onmicrosoft.com::67a27a72-2420-4d38-b745-316a53f4b99a" providerId="AD" clId="Web-{CD67B01C-8D2C-4219-AAFF-DFC5DB634769}" dt="2022-01-10T01:41:41.892" v="22"/>
        <pc:sldMkLst>
          <pc:docMk/>
          <pc:sldMk cId="2652119032" sldId="335"/>
        </pc:sldMkLst>
        <pc:picChg chg="add mod">
          <ac:chgData name="EVELYNSM.YONG" userId="S::evelynsm.yong_gmail.com#ext#@risebcg.onmicrosoft.com::67a27a72-2420-4d38-b745-316a53f4b99a" providerId="AD" clId="Web-{CD67B01C-8D2C-4219-AAFF-DFC5DB634769}" dt="2022-01-10T01:41:41.892" v="22"/>
          <ac:picMkLst>
            <pc:docMk/>
            <pc:sldMk cId="2652119032" sldId="335"/>
            <ac:picMk id="2" creationId="{6BBE8389-1D25-4379-BF1C-7067429B2BEC}"/>
          </ac:picMkLst>
        </pc:picChg>
        <pc:picChg chg="del mod">
          <ac:chgData name="EVELYNSM.YONG" userId="S::evelynsm.yong_gmail.com#ext#@risebcg.onmicrosoft.com::67a27a72-2420-4d38-b745-316a53f4b99a" providerId="AD" clId="Web-{CD67B01C-8D2C-4219-AAFF-DFC5DB634769}" dt="2022-01-10T01:41:34.876" v="20"/>
          <ac:picMkLst>
            <pc:docMk/>
            <pc:sldMk cId="2652119032" sldId="335"/>
            <ac:picMk id="45" creationId="{722C9DF0-4B53-408A-BC39-B206E4C3860C}"/>
          </ac:picMkLst>
        </pc:picChg>
      </pc:sldChg>
      <pc:sldChg chg="modSp">
        <pc:chgData name="EVELYNSM.YONG" userId="S::evelynsm.yong_gmail.com#ext#@risebcg.onmicrosoft.com::67a27a72-2420-4d38-b745-316a53f4b99a" providerId="AD" clId="Web-{CD67B01C-8D2C-4219-AAFF-DFC5DB634769}" dt="2022-01-10T01:44:11.144" v="44"/>
        <pc:sldMkLst>
          <pc:docMk/>
          <pc:sldMk cId="4159389698" sldId="342"/>
        </pc:sldMkLst>
        <pc:spChg chg="mod">
          <ac:chgData name="EVELYNSM.YONG" userId="S::evelynsm.yong_gmail.com#ext#@risebcg.onmicrosoft.com::67a27a72-2420-4d38-b745-316a53f4b99a" providerId="AD" clId="Web-{CD67B01C-8D2C-4219-AAFF-DFC5DB634769}" dt="2022-01-10T01:41:00.469" v="12" actId="1076"/>
          <ac:spMkLst>
            <pc:docMk/>
            <pc:sldMk cId="4159389698" sldId="342"/>
            <ac:spMk id="2" creationId="{080435EA-AD4F-4934-83BC-D5D53AFD93E9}"/>
          </ac:spMkLst>
        </pc:spChg>
        <pc:spChg chg="mod">
          <ac:chgData name="EVELYNSM.YONG" userId="S::evelynsm.yong_gmail.com#ext#@risebcg.onmicrosoft.com::67a27a72-2420-4d38-b745-316a53f4b99a" providerId="AD" clId="Web-{CD67B01C-8D2C-4219-AAFF-DFC5DB634769}" dt="2022-01-10T01:42:53.190" v="28" actId="20577"/>
          <ac:spMkLst>
            <pc:docMk/>
            <pc:sldMk cId="4159389698" sldId="342"/>
            <ac:spMk id="27" creationId="{DCFD4D3C-02DB-4109-AE1E-9B21315DB83D}"/>
          </ac:spMkLst>
        </pc:spChg>
        <pc:grpChg chg="mod">
          <ac:chgData name="EVELYNSM.YONG" userId="S::evelynsm.yong_gmail.com#ext#@risebcg.onmicrosoft.com::67a27a72-2420-4d38-b745-316a53f4b99a" providerId="AD" clId="Web-{CD67B01C-8D2C-4219-AAFF-DFC5DB634769}" dt="2022-01-10T01:41:59.220" v="24" actId="1076"/>
          <ac:grpSpMkLst>
            <pc:docMk/>
            <pc:sldMk cId="4159389698" sldId="342"/>
            <ac:grpSpMk id="31" creationId="{76E18740-F22D-4963-BCB7-3EF1ECF50B99}"/>
          </ac:grpSpMkLst>
        </pc:grpChg>
        <pc:cxnChg chg="mod">
          <ac:chgData name="EVELYNSM.YONG" userId="S::evelynsm.yong_gmail.com#ext#@risebcg.onmicrosoft.com::67a27a72-2420-4d38-b745-316a53f4b99a" providerId="AD" clId="Web-{CD67B01C-8D2C-4219-AAFF-DFC5DB634769}" dt="2022-01-10T01:44:11.144" v="44"/>
          <ac:cxnSpMkLst>
            <pc:docMk/>
            <pc:sldMk cId="4159389698" sldId="342"/>
            <ac:cxnSpMk id="5" creationId="{42CC447C-FCA3-4440-AFAC-074CA9387369}"/>
          </ac:cxnSpMkLst>
        </pc:cxnChg>
        <pc:cxnChg chg="mod">
          <ac:chgData name="EVELYNSM.YONG" userId="S::evelynsm.yong_gmail.com#ext#@risebcg.onmicrosoft.com::67a27a72-2420-4d38-b745-316a53f4b99a" providerId="AD" clId="Web-{CD67B01C-8D2C-4219-AAFF-DFC5DB634769}" dt="2022-01-10T01:44:10.957" v="40"/>
          <ac:cxnSpMkLst>
            <pc:docMk/>
            <pc:sldMk cId="4159389698" sldId="342"/>
            <ac:cxnSpMk id="11" creationId="{B100C871-1F8E-44FA-9A22-E49497F4DD19}"/>
          </ac:cxnSpMkLst>
        </pc:cxnChg>
        <pc:cxnChg chg="mod">
          <ac:chgData name="EVELYNSM.YONG" userId="S::evelynsm.yong_gmail.com#ext#@risebcg.onmicrosoft.com::67a27a72-2420-4d38-b745-316a53f4b99a" providerId="AD" clId="Web-{CD67B01C-8D2C-4219-AAFF-DFC5DB634769}" dt="2022-01-10T01:44:11.004" v="41"/>
          <ac:cxnSpMkLst>
            <pc:docMk/>
            <pc:sldMk cId="4159389698" sldId="342"/>
            <ac:cxnSpMk id="13" creationId="{CFBA535F-E821-437D-8FB9-B7C83F0FE8CA}"/>
          </ac:cxnSpMkLst>
        </pc:cxnChg>
        <pc:cxnChg chg="mod">
          <ac:chgData name="EVELYNSM.YONG" userId="S::evelynsm.yong_gmail.com#ext#@risebcg.onmicrosoft.com::67a27a72-2420-4d38-b745-316a53f4b99a" providerId="AD" clId="Web-{CD67B01C-8D2C-4219-AAFF-DFC5DB634769}" dt="2022-01-10T01:44:11.051" v="42"/>
          <ac:cxnSpMkLst>
            <pc:docMk/>
            <pc:sldMk cId="4159389698" sldId="342"/>
            <ac:cxnSpMk id="14" creationId="{93D321C6-8EC7-46E9-B13D-F842EC617678}"/>
          </ac:cxnSpMkLst>
        </pc:cxnChg>
        <pc:cxnChg chg="mod">
          <ac:chgData name="EVELYNSM.YONG" userId="S::evelynsm.yong_gmail.com#ext#@risebcg.onmicrosoft.com::67a27a72-2420-4d38-b745-316a53f4b99a" providerId="AD" clId="Web-{CD67B01C-8D2C-4219-AAFF-DFC5DB634769}" dt="2022-01-10T01:44:11.097" v="43"/>
          <ac:cxnSpMkLst>
            <pc:docMk/>
            <pc:sldMk cId="4159389698" sldId="342"/>
            <ac:cxnSpMk id="15" creationId="{0F061DD2-0F3A-4495-B4F4-9E94EF93F1CE}"/>
          </ac:cxnSpMkLst>
        </pc:cxnChg>
      </pc:sldChg>
      <pc:sldChg chg="addSp delSp modSp">
        <pc:chgData name="EVELYNSM.YONG" userId="S::evelynsm.yong_gmail.com#ext#@risebcg.onmicrosoft.com::67a27a72-2420-4d38-b745-316a53f4b99a" providerId="AD" clId="Web-{CD67B01C-8D2C-4219-AAFF-DFC5DB634769}" dt="2022-01-10T01:59:24.333" v="102" actId="14100"/>
        <pc:sldMkLst>
          <pc:docMk/>
          <pc:sldMk cId="3531645893" sldId="360"/>
        </pc:sldMkLst>
        <pc:spChg chg="mod">
          <ac:chgData name="EVELYNSM.YONG" userId="S::evelynsm.yong_gmail.com#ext#@risebcg.onmicrosoft.com::67a27a72-2420-4d38-b745-316a53f4b99a" providerId="AD" clId="Web-{CD67B01C-8D2C-4219-AAFF-DFC5DB634769}" dt="2022-01-10T01:40:47.078" v="11" actId="20577"/>
          <ac:spMkLst>
            <pc:docMk/>
            <pc:sldMk cId="3531645893" sldId="360"/>
            <ac:spMk id="9" creationId="{E3C0B427-9E9D-47EC-AFD8-3D8F22D59FE9}"/>
          </ac:spMkLst>
        </pc:spChg>
        <pc:picChg chg="del">
          <ac:chgData name="EVELYNSM.YONG" userId="S::evelynsm.yong_gmail.com#ext#@risebcg.onmicrosoft.com::67a27a72-2420-4d38-b745-316a53f4b99a" providerId="AD" clId="Web-{CD67B01C-8D2C-4219-AAFF-DFC5DB634769}" dt="2022-01-10T01:38:59.576" v="0"/>
          <ac:picMkLst>
            <pc:docMk/>
            <pc:sldMk cId="3531645893" sldId="360"/>
            <ac:picMk id="2" creationId="{AEC58EF5-F1D5-4E20-B8B5-7FD65E79DF0C}"/>
          </ac:picMkLst>
        </pc:picChg>
        <pc:picChg chg="add del mod ord">
          <ac:chgData name="EVELYNSM.YONG" userId="S::evelynsm.yong_gmail.com#ext#@risebcg.onmicrosoft.com::67a27a72-2420-4d38-b745-316a53f4b99a" providerId="AD" clId="Web-{CD67B01C-8D2C-4219-AAFF-DFC5DB634769}" dt="2022-01-10T01:39:17.905" v="7"/>
          <ac:picMkLst>
            <pc:docMk/>
            <pc:sldMk cId="3531645893" sldId="360"/>
            <ac:picMk id="3" creationId="{C9B6382F-9981-41A4-ADBA-6DB4B2E8CE5F}"/>
          </ac:picMkLst>
        </pc:picChg>
        <pc:picChg chg="add del mod">
          <ac:chgData name="EVELYNSM.YONG" userId="S::evelynsm.yong_gmail.com#ext#@risebcg.onmicrosoft.com::67a27a72-2420-4d38-b745-316a53f4b99a" providerId="AD" clId="Web-{CD67B01C-8D2C-4219-AAFF-DFC5DB634769}" dt="2022-01-10T01:51:18.511" v="49"/>
          <ac:picMkLst>
            <pc:docMk/>
            <pc:sldMk cId="3531645893" sldId="360"/>
            <ac:picMk id="4" creationId="{C118BA7A-CD84-4BFA-BF40-48DA9456E0E6}"/>
          </ac:picMkLst>
        </pc:picChg>
        <pc:picChg chg="add del mod modCrop">
          <ac:chgData name="EVELYNSM.YONG" userId="S::evelynsm.yong_gmail.com#ext#@risebcg.onmicrosoft.com::67a27a72-2420-4d38-b745-316a53f4b99a" providerId="AD" clId="Web-{CD67B01C-8D2C-4219-AAFF-DFC5DB634769}" dt="2022-01-10T01:52:25.872" v="58"/>
          <ac:picMkLst>
            <pc:docMk/>
            <pc:sldMk cId="3531645893" sldId="360"/>
            <ac:picMk id="5" creationId="{C7359AEB-2C19-4BF7-A2E0-1B1EF982D81E}"/>
          </ac:picMkLst>
        </pc:picChg>
        <pc:picChg chg="add del mod">
          <ac:chgData name="EVELYNSM.YONG" userId="S::evelynsm.yong_gmail.com#ext#@risebcg.onmicrosoft.com::67a27a72-2420-4d38-b745-316a53f4b99a" providerId="AD" clId="Web-{CD67B01C-8D2C-4219-AAFF-DFC5DB634769}" dt="2022-01-10T01:52:56.591" v="69"/>
          <ac:picMkLst>
            <pc:docMk/>
            <pc:sldMk cId="3531645893" sldId="360"/>
            <ac:picMk id="6" creationId="{83F13080-FA81-41E9-90D8-EE15394B4238}"/>
          </ac:picMkLst>
        </pc:picChg>
        <pc:picChg chg="add del mod">
          <ac:chgData name="EVELYNSM.YONG" userId="S::evelynsm.yong_gmail.com#ext#@risebcg.onmicrosoft.com::67a27a72-2420-4d38-b745-316a53f4b99a" providerId="AD" clId="Web-{CD67B01C-8D2C-4219-AAFF-DFC5DB634769}" dt="2022-01-10T01:56:29.642" v="87"/>
          <ac:picMkLst>
            <pc:docMk/>
            <pc:sldMk cId="3531645893" sldId="360"/>
            <ac:picMk id="7" creationId="{265B72BD-C1FF-435B-A15D-FA32C120612E}"/>
          </ac:picMkLst>
        </pc:picChg>
        <pc:picChg chg="add del mod">
          <ac:chgData name="EVELYNSM.YONG" userId="S::evelynsm.yong_gmail.com#ext#@risebcg.onmicrosoft.com::67a27a72-2420-4d38-b745-316a53f4b99a" providerId="AD" clId="Web-{CD67B01C-8D2C-4219-AAFF-DFC5DB634769}" dt="2022-01-10T01:56:26.798" v="85"/>
          <ac:picMkLst>
            <pc:docMk/>
            <pc:sldMk cId="3531645893" sldId="360"/>
            <ac:picMk id="8" creationId="{27E7EF02-03F9-4F75-8FEF-61FDF5754593}"/>
          </ac:picMkLst>
        </pc:picChg>
        <pc:picChg chg="add mod">
          <ac:chgData name="EVELYNSM.YONG" userId="S::evelynsm.yong_gmail.com#ext#@risebcg.onmicrosoft.com::67a27a72-2420-4d38-b745-316a53f4b99a" providerId="AD" clId="Web-{CD67B01C-8D2C-4219-AAFF-DFC5DB634769}" dt="2022-01-10T01:57:53.097" v="91" actId="14100"/>
          <ac:picMkLst>
            <pc:docMk/>
            <pc:sldMk cId="3531645893" sldId="360"/>
            <ac:picMk id="10" creationId="{584F5D47-ED1E-4045-A0B2-EF545696BD41}"/>
          </ac:picMkLst>
        </pc:picChg>
        <pc:picChg chg="add mod modCrop">
          <ac:chgData name="EVELYNSM.YONG" userId="S::evelynsm.yong_gmail.com#ext#@risebcg.onmicrosoft.com::67a27a72-2420-4d38-b745-316a53f4b99a" providerId="AD" clId="Web-{CD67B01C-8D2C-4219-AAFF-DFC5DB634769}" dt="2022-01-10T01:59:24.333" v="102" actId="14100"/>
          <ac:picMkLst>
            <pc:docMk/>
            <pc:sldMk cId="3531645893" sldId="360"/>
            <ac:picMk id="11" creationId="{6CC5917A-A4A9-45C7-865C-75F5E21300B8}"/>
          </ac:picMkLst>
        </pc:picChg>
        <pc:picChg chg="del">
          <ac:chgData name="EVELYNSM.YONG" userId="S::evelynsm.yong_gmail.com#ext#@risebcg.onmicrosoft.com::67a27a72-2420-4d38-b745-316a53f4b99a" providerId="AD" clId="Web-{CD67B01C-8D2C-4219-AAFF-DFC5DB634769}" dt="2022-01-10T01:39:02.561" v="1"/>
          <ac:picMkLst>
            <pc:docMk/>
            <pc:sldMk cId="3531645893" sldId="360"/>
            <ac:picMk id="17" creationId="{B8401525-B70B-4EFA-8C14-01EE9116C492}"/>
          </ac:picMkLst>
        </pc:picChg>
      </pc:sldChg>
    </pc:docChg>
  </pc:docChgLst>
</pc:chgInfo>
</file>

<file path=ppt/diagrams/_rels/data1.xml.rels><?xml version="1.0" encoding="UTF-8" standalone="yes"?>
<Relationships xmlns="http://schemas.openxmlformats.org/package/2006/relationships"><Relationship Id="rId2" Type="http://schemas.openxmlformats.org/officeDocument/2006/relationships/hyperlink" Target="https://www.moe.gov.sg/news/press-releases/20200817-school-terms-and-holidays-for-2021" TargetMode="External"/><Relationship Id="rId1" Type="http://schemas.openxmlformats.org/officeDocument/2006/relationships/hyperlink" Target="http://www.weather.gov.sg/home/" TargetMode="External"/></Relationships>
</file>

<file path=ppt/diagrams/_rels/drawing1.xml.rels><?xml version="1.0" encoding="UTF-8" standalone="yes"?>
<Relationships xmlns="http://schemas.openxmlformats.org/package/2006/relationships"><Relationship Id="rId2" Type="http://schemas.openxmlformats.org/officeDocument/2006/relationships/hyperlink" Target="http://www.weather.gov.sg/home/" TargetMode="External"/><Relationship Id="rId1" Type="http://schemas.openxmlformats.org/officeDocument/2006/relationships/hyperlink" Target="https://www.moe.gov.sg/news/press-releases/20200817-school-terms-and-holidays-for-2021"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2C0361-2AF4-403D-9556-EC28E8565404}" type="doc">
      <dgm:prSet loTypeId="urn:microsoft.com/office/officeart/2005/8/layout/orgChart1" loCatId="hierarchy" qsTypeId="urn:microsoft.com/office/officeart/2005/8/quickstyle/simple1" qsCatId="simple" csTypeId="urn:microsoft.com/office/officeart/2005/8/colors/accent2_2" csCatId="accent2" phldr="1"/>
      <dgm:spPr/>
      <dgm:t>
        <a:bodyPr/>
        <a:lstStyle/>
        <a:p>
          <a:endParaRPr lang="en-US"/>
        </a:p>
      </dgm:t>
    </dgm:pt>
    <dgm:pt modelId="{2B407BBF-E10D-49D4-ADC4-C4C936319F45}">
      <dgm:prSet phldrT="[Text]" custT="1"/>
      <dgm:spPr>
        <a:solidFill>
          <a:srgbClr val="002060"/>
        </a:solidFill>
      </dgm:spPr>
      <dgm:t>
        <a:bodyPr/>
        <a:lstStyle/>
        <a:p>
          <a:pPr rtl="0"/>
          <a:r>
            <a:rPr lang="en-US" sz="2000">
              <a:latin typeface="Trebuchet MS"/>
            </a:rPr>
            <a:t>Features</a:t>
          </a:r>
          <a:endParaRPr lang="en-US" sz="1300"/>
        </a:p>
      </dgm:t>
    </dgm:pt>
    <dgm:pt modelId="{74DDAC21-A09D-4644-BA90-93C87D93DCFD}" type="parTrans" cxnId="{43EB3BA3-8E7E-47E6-886E-B9B7B676597E}">
      <dgm:prSet/>
      <dgm:spPr/>
      <dgm:t>
        <a:bodyPr/>
        <a:lstStyle/>
        <a:p>
          <a:endParaRPr lang="en-US"/>
        </a:p>
      </dgm:t>
    </dgm:pt>
    <dgm:pt modelId="{87BD3336-8813-4C80-9F0B-2E8D3D01CD6A}" type="sibTrans" cxnId="{43EB3BA3-8E7E-47E6-886E-B9B7B676597E}">
      <dgm:prSet/>
      <dgm:spPr/>
      <dgm:t>
        <a:bodyPr/>
        <a:lstStyle/>
        <a:p>
          <a:endParaRPr lang="en-US"/>
        </a:p>
      </dgm:t>
    </dgm:pt>
    <dgm:pt modelId="{921D9F10-6EA4-469D-A3D6-2FA8B9F421D4}">
      <dgm:prSet phldrT="[Text]" phldr="0" custT="1"/>
      <dgm:spPr>
        <a:solidFill>
          <a:srgbClr val="002060"/>
        </a:solidFill>
      </dgm:spPr>
      <dgm:t>
        <a:bodyPr/>
        <a:lstStyle/>
        <a:p>
          <a:pPr rtl="0"/>
          <a:r>
            <a:rPr lang="en-US" sz="1600">
              <a:latin typeface="Trebuchet MS"/>
            </a:rPr>
            <a:t>Internal</a:t>
          </a:r>
        </a:p>
        <a:p>
          <a:pPr rtl="0"/>
          <a:r>
            <a:rPr lang="en-US" sz="1300">
              <a:latin typeface="Trebuchet MS"/>
            </a:rPr>
            <a:t>(Provided by Sentosa) </a:t>
          </a:r>
        </a:p>
      </dgm:t>
    </dgm:pt>
    <dgm:pt modelId="{374B108A-D4A2-4A80-886C-14D2711D64D9}" type="parTrans" cxnId="{0EE3C989-3716-4E88-B036-1A7A526EFB65}">
      <dgm:prSet/>
      <dgm:spPr/>
      <dgm:t>
        <a:bodyPr/>
        <a:lstStyle/>
        <a:p>
          <a:endParaRPr lang="en-US"/>
        </a:p>
      </dgm:t>
    </dgm:pt>
    <dgm:pt modelId="{9B57671D-B35E-4E5E-B75E-946B588954D4}" type="sibTrans" cxnId="{0EE3C989-3716-4E88-B036-1A7A526EFB65}">
      <dgm:prSet/>
      <dgm:spPr/>
      <dgm:t>
        <a:bodyPr/>
        <a:lstStyle/>
        <a:p>
          <a:endParaRPr lang="en-US"/>
        </a:p>
      </dgm:t>
    </dgm:pt>
    <dgm:pt modelId="{7D66D1BA-3244-4E9B-8415-402F3E3D256D}">
      <dgm:prSet phldr="0" custT="1"/>
      <dgm:spPr>
        <a:solidFill>
          <a:srgbClr val="002060"/>
        </a:solidFill>
      </dgm:spPr>
      <dgm:t>
        <a:bodyPr/>
        <a:lstStyle/>
        <a:p>
          <a:pPr rtl="0"/>
          <a:r>
            <a:rPr lang="en-US" sz="1600">
              <a:latin typeface="Trebuchet MS"/>
            </a:rPr>
            <a:t> External</a:t>
          </a:r>
        </a:p>
      </dgm:t>
    </dgm:pt>
    <dgm:pt modelId="{125F3890-B46C-4E18-B024-9FAFB884C3B6}" type="parTrans" cxnId="{8FA3D13F-C739-46CC-BFCD-04686826926F}">
      <dgm:prSet/>
      <dgm:spPr/>
      <dgm:t>
        <a:bodyPr/>
        <a:lstStyle/>
        <a:p>
          <a:endParaRPr lang="en-SG"/>
        </a:p>
      </dgm:t>
    </dgm:pt>
    <dgm:pt modelId="{C1644C6B-4EB3-4693-ADC1-F06434C915B2}" type="sibTrans" cxnId="{8FA3D13F-C739-46CC-BFCD-04686826926F}">
      <dgm:prSet/>
      <dgm:spPr/>
      <dgm:t>
        <a:bodyPr/>
        <a:lstStyle/>
        <a:p>
          <a:endParaRPr lang="en-SG"/>
        </a:p>
      </dgm:t>
    </dgm:pt>
    <dgm:pt modelId="{CBE2C7AB-6617-4EE5-B073-496CF250BAAD}">
      <dgm:prSet phldr="0" custT="1"/>
      <dgm:spPr>
        <a:solidFill>
          <a:srgbClr val="002060"/>
        </a:solidFill>
      </dgm:spPr>
      <dgm:t>
        <a:bodyPr/>
        <a:lstStyle/>
        <a:p>
          <a:pPr rtl="0"/>
          <a:r>
            <a:rPr lang="en-US" sz="1600">
              <a:latin typeface="Trebuchet MS"/>
            </a:rPr>
            <a:t> Holiday</a:t>
          </a:r>
        </a:p>
      </dgm:t>
    </dgm:pt>
    <dgm:pt modelId="{7C589D82-36DA-40B0-8344-FCAC680EA735}" type="parTrans" cxnId="{4E0B74AD-361B-4CAA-B029-88881EF987EB}">
      <dgm:prSet/>
      <dgm:spPr/>
      <dgm:t>
        <a:bodyPr/>
        <a:lstStyle/>
        <a:p>
          <a:endParaRPr lang="en-SG"/>
        </a:p>
      </dgm:t>
    </dgm:pt>
    <dgm:pt modelId="{E106E858-32B4-4C36-BC3E-35C3DD85BA47}" type="sibTrans" cxnId="{4E0B74AD-361B-4CAA-B029-88881EF987EB}">
      <dgm:prSet/>
      <dgm:spPr/>
      <dgm:t>
        <a:bodyPr/>
        <a:lstStyle/>
        <a:p>
          <a:endParaRPr lang="en-SG"/>
        </a:p>
      </dgm:t>
    </dgm:pt>
    <dgm:pt modelId="{9D6F5524-641C-4880-A3D1-B66718A28B97}">
      <dgm:prSet phldr="0" custT="1"/>
      <dgm:spPr>
        <a:solidFill>
          <a:srgbClr val="002060"/>
        </a:solidFill>
      </dgm:spPr>
      <dgm:t>
        <a:bodyPr/>
        <a:lstStyle/>
        <a:p>
          <a:pPr rtl="0"/>
          <a:r>
            <a:rPr lang="en-US" sz="1400">
              <a:solidFill>
                <a:schemeClr val="bg1"/>
              </a:solidFill>
              <a:latin typeface="Trebuchet MS"/>
            </a:rPr>
            <a:t>Weather</a:t>
          </a:r>
          <a:r>
            <a:rPr lang="en-US" sz="1400" baseline="30000">
              <a:solidFill>
                <a:schemeClr val="bg1"/>
              </a:solidFill>
              <a:latin typeface="Trebuchet MS"/>
              <a:hlinkClick xmlns:r="http://schemas.openxmlformats.org/officeDocument/2006/relationships" r:id="rId1">
                <a:extLst>
                  <a:ext uri="{A12FA001-AC4F-418D-AE19-62706E023703}">
                    <ahyp:hlinkClr xmlns:ahyp="http://schemas.microsoft.com/office/drawing/2018/hyperlinkcolor" val="tx"/>
                  </a:ext>
                </a:extLst>
              </a:hlinkClick>
            </a:rPr>
            <a:t>2</a:t>
          </a:r>
          <a:endParaRPr lang="en-US" sz="1100">
            <a:solidFill>
              <a:schemeClr val="bg1"/>
            </a:solidFill>
            <a:latin typeface="Trebuchet MS"/>
          </a:endParaRPr>
        </a:p>
      </dgm:t>
    </dgm:pt>
    <dgm:pt modelId="{B6ABD7A9-BB03-4785-8DA3-1BBC4BBEBE4E}" type="parTrans" cxnId="{265AF77F-1B1B-41AE-8E4B-4CB0A6E2688E}">
      <dgm:prSet/>
      <dgm:spPr/>
      <dgm:t>
        <a:bodyPr/>
        <a:lstStyle/>
        <a:p>
          <a:endParaRPr lang="en-SG"/>
        </a:p>
      </dgm:t>
    </dgm:pt>
    <dgm:pt modelId="{02CFAF66-9DAD-4150-A6FF-CE1138CB7F4B}" type="sibTrans" cxnId="{265AF77F-1B1B-41AE-8E4B-4CB0A6E2688E}">
      <dgm:prSet/>
      <dgm:spPr/>
      <dgm:t>
        <a:bodyPr/>
        <a:lstStyle/>
        <a:p>
          <a:endParaRPr lang="en-SG"/>
        </a:p>
      </dgm:t>
    </dgm:pt>
    <dgm:pt modelId="{E2740EFC-221D-41D6-8B2D-2EEBB2CC1DAB}">
      <dgm:prSet phldr="0" custT="1"/>
      <dgm:spPr>
        <a:solidFill>
          <a:srgbClr val="002060"/>
        </a:solidFill>
      </dgm:spPr>
      <dgm:t>
        <a:bodyPr/>
        <a:lstStyle/>
        <a:p>
          <a:pPr rtl="0"/>
          <a:r>
            <a:rPr lang="en-US" sz="1300">
              <a:latin typeface="Trebuchet MS"/>
            </a:rPr>
            <a:t>Weekend </a:t>
          </a:r>
        </a:p>
      </dgm:t>
    </dgm:pt>
    <dgm:pt modelId="{E70623EA-78E3-4494-85B1-76A50DD2D521}" type="parTrans" cxnId="{39E85CBB-C155-4460-B418-ACB6054E9C42}">
      <dgm:prSet/>
      <dgm:spPr/>
      <dgm:t>
        <a:bodyPr/>
        <a:lstStyle/>
        <a:p>
          <a:endParaRPr lang="en-SG"/>
        </a:p>
      </dgm:t>
    </dgm:pt>
    <dgm:pt modelId="{A7998C02-45BE-4354-B0F3-B7BED92D3151}" type="sibTrans" cxnId="{39E85CBB-C155-4460-B418-ACB6054E9C42}">
      <dgm:prSet/>
      <dgm:spPr/>
      <dgm:t>
        <a:bodyPr/>
        <a:lstStyle/>
        <a:p>
          <a:endParaRPr lang="en-SG"/>
        </a:p>
      </dgm:t>
    </dgm:pt>
    <dgm:pt modelId="{04511269-CD7F-4C88-B15E-A79D32687DD9}">
      <dgm:prSet phldr="0" custT="1"/>
      <dgm:spPr>
        <a:solidFill>
          <a:srgbClr val="002060"/>
        </a:solidFill>
      </dgm:spPr>
      <dgm:t>
        <a:bodyPr/>
        <a:lstStyle/>
        <a:p>
          <a:pPr rtl="0"/>
          <a:r>
            <a:rPr lang="en-US" sz="1300">
              <a:latin typeface="Trebuchet MS"/>
            </a:rPr>
            <a:t>Weekday </a:t>
          </a:r>
        </a:p>
      </dgm:t>
    </dgm:pt>
    <dgm:pt modelId="{9194D665-D17F-46BF-9873-0877AFFA3813}" type="parTrans" cxnId="{1AFA23F0-D761-4551-B218-9B2D8259BE7E}">
      <dgm:prSet/>
      <dgm:spPr/>
      <dgm:t>
        <a:bodyPr/>
        <a:lstStyle/>
        <a:p>
          <a:endParaRPr lang="en-SG"/>
        </a:p>
      </dgm:t>
    </dgm:pt>
    <dgm:pt modelId="{2F972072-4AAA-47CA-AD8C-EE5F34370E48}" type="sibTrans" cxnId="{1AFA23F0-D761-4551-B218-9B2D8259BE7E}">
      <dgm:prSet/>
      <dgm:spPr/>
      <dgm:t>
        <a:bodyPr/>
        <a:lstStyle/>
        <a:p>
          <a:endParaRPr lang="en-SG"/>
        </a:p>
      </dgm:t>
    </dgm:pt>
    <dgm:pt modelId="{86248B53-864C-49CE-9553-C8071A9EB2A0}">
      <dgm:prSet phldr="0" custT="1"/>
      <dgm:spPr>
        <a:solidFill>
          <a:srgbClr val="002060"/>
        </a:solidFill>
      </dgm:spPr>
      <dgm:t>
        <a:bodyPr/>
        <a:lstStyle/>
        <a:p>
          <a:pPr rtl="0"/>
          <a:r>
            <a:rPr lang="en-US" sz="1300" i="0">
              <a:solidFill>
                <a:schemeClr val="bg1"/>
              </a:solidFill>
              <a:latin typeface="Trebuchet MS"/>
            </a:rPr>
            <a:t>Public Holidays, School Holidays</a:t>
          </a:r>
          <a:r>
            <a:rPr lang="en-US" sz="1300" i="0" baseline="30000">
              <a:solidFill>
                <a:schemeClr val="bg1"/>
              </a:solidFill>
              <a:latin typeface="Trebuchet MS"/>
              <a:hlinkClick xmlns:r="http://schemas.openxmlformats.org/officeDocument/2006/relationships" r:id="rId2">
                <a:extLst>
                  <a:ext uri="{A12FA001-AC4F-418D-AE19-62706E023703}">
                    <ahyp:hlinkClr xmlns:ahyp="http://schemas.microsoft.com/office/drawing/2018/hyperlinkcolor" val="tx"/>
                  </a:ext>
                </a:extLst>
              </a:hlinkClick>
            </a:rPr>
            <a:t>1</a:t>
          </a:r>
          <a:endParaRPr lang="en-US" sz="1300" i="0" baseline="30000">
            <a:solidFill>
              <a:schemeClr val="bg1"/>
            </a:solidFill>
            <a:latin typeface="Trebuchet MS"/>
          </a:endParaRPr>
        </a:p>
      </dgm:t>
    </dgm:pt>
    <dgm:pt modelId="{48ACB221-425D-4209-AF83-3454838F433E}" type="parTrans" cxnId="{0B35FCB4-448C-4BD4-913C-77B4271CF3E5}">
      <dgm:prSet/>
      <dgm:spPr/>
      <dgm:t>
        <a:bodyPr/>
        <a:lstStyle/>
        <a:p>
          <a:endParaRPr lang="en-SG"/>
        </a:p>
      </dgm:t>
    </dgm:pt>
    <dgm:pt modelId="{91FB92B2-2530-4882-A341-18892C90EF58}" type="sibTrans" cxnId="{0B35FCB4-448C-4BD4-913C-77B4271CF3E5}">
      <dgm:prSet/>
      <dgm:spPr/>
      <dgm:t>
        <a:bodyPr/>
        <a:lstStyle/>
        <a:p>
          <a:endParaRPr lang="en-SG"/>
        </a:p>
      </dgm:t>
    </dgm:pt>
    <dgm:pt modelId="{3641298C-2933-4B5C-88F1-9C347C27954D}">
      <dgm:prSet phldr="0" custT="1"/>
      <dgm:spPr>
        <a:solidFill>
          <a:srgbClr val="002060"/>
        </a:solidFill>
      </dgm:spPr>
      <dgm:t>
        <a:bodyPr/>
        <a:lstStyle/>
        <a:p>
          <a:pPr rtl="0"/>
          <a:r>
            <a:rPr lang="en-US" sz="1300">
              <a:latin typeface="Trebuchet MS"/>
            </a:rPr>
            <a:t> Rain</a:t>
          </a:r>
        </a:p>
      </dgm:t>
    </dgm:pt>
    <dgm:pt modelId="{C760F09F-23B5-4B49-9F44-1333D69CF2E0}" type="parTrans" cxnId="{4F237C7C-147C-46D4-B701-8B09DC6C1B60}">
      <dgm:prSet/>
      <dgm:spPr/>
      <dgm:t>
        <a:bodyPr/>
        <a:lstStyle/>
        <a:p>
          <a:endParaRPr lang="en-SG"/>
        </a:p>
      </dgm:t>
    </dgm:pt>
    <dgm:pt modelId="{81A1E2D8-FBFB-4CC4-9459-F17FC38521FB}" type="sibTrans" cxnId="{4F237C7C-147C-46D4-B701-8B09DC6C1B60}">
      <dgm:prSet/>
      <dgm:spPr/>
      <dgm:t>
        <a:bodyPr/>
        <a:lstStyle/>
        <a:p>
          <a:endParaRPr lang="en-SG"/>
        </a:p>
      </dgm:t>
    </dgm:pt>
    <dgm:pt modelId="{E1336CA2-574E-4B0C-8040-5FDC1BB28B07}">
      <dgm:prSet phldr="0" custT="1"/>
      <dgm:spPr>
        <a:solidFill>
          <a:srgbClr val="FF8400"/>
        </a:solidFill>
      </dgm:spPr>
      <dgm:t>
        <a:bodyPr/>
        <a:lstStyle/>
        <a:p>
          <a:pPr rtl="0"/>
          <a:r>
            <a:rPr lang="en-US" sz="1300" b="1">
              <a:latin typeface="Trebuchet MS"/>
            </a:rPr>
            <a:t>Average of Total Ridership </a:t>
          </a:r>
        </a:p>
        <a:p>
          <a:pPr rtl="0"/>
          <a:r>
            <a:rPr lang="en-US" sz="1300">
              <a:latin typeface="Trebuchet MS"/>
            </a:rPr>
            <a:t>(Sum of Total In &amp; Total Out/2) </a:t>
          </a:r>
        </a:p>
        <a:p>
          <a:pPr rtl="0"/>
          <a:r>
            <a:rPr lang="en-US" sz="1300" i="1">
              <a:latin typeface="Trebuchet MS"/>
            </a:rPr>
            <a:t>*Predicted Variable</a:t>
          </a:r>
        </a:p>
      </dgm:t>
    </dgm:pt>
    <dgm:pt modelId="{59E05A3B-BDBD-4BE0-B12F-4F60768F1E4A}" type="parTrans" cxnId="{37DCFC88-CC17-46DA-9C21-BCA5B1C7358E}">
      <dgm:prSet/>
      <dgm:spPr/>
      <dgm:t>
        <a:bodyPr/>
        <a:lstStyle/>
        <a:p>
          <a:endParaRPr lang="en-SG"/>
        </a:p>
      </dgm:t>
    </dgm:pt>
    <dgm:pt modelId="{7948CDA1-02F6-4960-A36D-5154108F5076}" type="sibTrans" cxnId="{37DCFC88-CC17-46DA-9C21-BCA5B1C7358E}">
      <dgm:prSet/>
      <dgm:spPr/>
      <dgm:t>
        <a:bodyPr/>
        <a:lstStyle/>
        <a:p>
          <a:endParaRPr lang="en-SG"/>
        </a:p>
      </dgm:t>
    </dgm:pt>
    <dgm:pt modelId="{F39ACF81-B471-42F2-B9B4-FAEB38F17930}">
      <dgm:prSet phldr="0" custT="1"/>
      <dgm:spPr>
        <a:solidFill>
          <a:srgbClr val="FF8400"/>
        </a:solidFill>
      </dgm:spPr>
      <dgm:t>
        <a:bodyPr/>
        <a:lstStyle/>
        <a:p>
          <a:pPr rtl="0"/>
          <a:r>
            <a:rPr lang="en-US" sz="1300" b="1" i="0">
              <a:latin typeface="Trebuchet MS"/>
            </a:rPr>
            <a:t>Bus Frequency </a:t>
          </a:r>
        </a:p>
        <a:p>
          <a:pPr rtl="0"/>
          <a:r>
            <a:rPr lang="en-US" sz="1300" i="1">
              <a:latin typeface="Trebuchet MS"/>
            </a:rPr>
            <a:t>(Total Ridership/50)</a:t>
          </a:r>
        </a:p>
      </dgm:t>
    </dgm:pt>
    <dgm:pt modelId="{EBB9A858-B325-486C-8173-C7B05A2499DD}" type="parTrans" cxnId="{1ED671FB-13A5-4904-A22D-F16526FDE5A5}">
      <dgm:prSet/>
      <dgm:spPr/>
      <dgm:t>
        <a:bodyPr/>
        <a:lstStyle/>
        <a:p>
          <a:endParaRPr lang="en-SG"/>
        </a:p>
      </dgm:t>
    </dgm:pt>
    <dgm:pt modelId="{F74E3D17-9CEE-4E81-9207-91603CE734CD}" type="sibTrans" cxnId="{1ED671FB-13A5-4904-A22D-F16526FDE5A5}">
      <dgm:prSet/>
      <dgm:spPr/>
      <dgm:t>
        <a:bodyPr/>
        <a:lstStyle/>
        <a:p>
          <a:endParaRPr lang="en-SG"/>
        </a:p>
      </dgm:t>
    </dgm:pt>
    <dgm:pt modelId="{BD417481-34A1-4371-B135-E63EF8950C0B}">
      <dgm:prSet phldr="0" custT="1"/>
      <dgm:spPr>
        <a:solidFill>
          <a:srgbClr val="002060"/>
        </a:solidFill>
      </dgm:spPr>
      <dgm:t>
        <a:bodyPr/>
        <a:lstStyle/>
        <a:p>
          <a:pPr rtl="0"/>
          <a:r>
            <a:rPr lang="en-US" sz="1400">
              <a:latin typeface="Trebuchet MS"/>
            </a:rPr>
            <a:t>Bus Routes / </a:t>
          </a:r>
        </a:p>
        <a:p>
          <a:pPr rtl="0"/>
          <a:r>
            <a:rPr lang="en-US" sz="1400">
              <a:latin typeface="Trebuchet MS"/>
            </a:rPr>
            <a:t>Bus Stops</a:t>
          </a:r>
        </a:p>
      </dgm:t>
    </dgm:pt>
    <dgm:pt modelId="{A6043590-332E-47B9-B18D-162167B0FADA}" type="parTrans" cxnId="{27391AE2-EEA1-4EEA-B7E9-BEC876D7980E}">
      <dgm:prSet/>
      <dgm:spPr/>
      <dgm:t>
        <a:bodyPr/>
        <a:lstStyle/>
        <a:p>
          <a:endParaRPr lang="en-SG"/>
        </a:p>
      </dgm:t>
    </dgm:pt>
    <dgm:pt modelId="{92DA3A49-F489-45C5-A5DB-62ED6BC1897C}" type="sibTrans" cxnId="{27391AE2-EEA1-4EEA-B7E9-BEC876D7980E}">
      <dgm:prSet/>
      <dgm:spPr/>
      <dgm:t>
        <a:bodyPr/>
        <a:lstStyle/>
        <a:p>
          <a:endParaRPr lang="en-SG"/>
        </a:p>
      </dgm:t>
    </dgm:pt>
    <dgm:pt modelId="{04545E05-FD22-4847-AE13-EA7C975C988C}">
      <dgm:prSet phldr="0" custT="1"/>
      <dgm:spPr>
        <a:solidFill>
          <a:srgbClr val="002060"/>
        </a:solidFill>
      </dgm:spPr>
      <dgm:t>
        <a:bodyPr/>
        <a:lstStyle/>
        <a:p>
          <a:r>
            <a:rPr lang="en-US" sz="1400">
              <a:latin typeface="Trebuchet MS"/>
            </a:rPr>
            <a:t>Bus to Amenities / Attraction Details</a:t>
          </a:r>
        </a:p>
      </dgm:t>
    </dgm:pt>
    <dgm:pt modelId="{B73789E9-3BCC-4001-8F2E-C47C4FE55549}" type="parTrans" cxnId="{7FBBA7FC-2875-4E28-AA60-C0E6CA307620}">
      <dgm:prSet/>
      <dgm:spPr/>
      <dgm:t>
        <a:bodyPr/>
        <a:lstStyle/>
        <a:p>
          <a:endParaRPr lang="en-SG"/>
        </a:p>
      </dgm:t>
    </dgm:pt>
    <dgm:pt modelId="{523A3E81-C01A-4D1B-996D-C17C7A1DB4AA}" type="sibTrans" cxnId="{7FBBA7FC-2875-4E28-AA60-C0E6CA307620}">
      <dgm:prSet/>
      <dgm:spPr/>
      <dgm:t>
        <a:bodyPr/>
        <a:lstStyle/>
        <a:p>
          <a:endParaRPr lang="en-SG"/>
        </a:p>
      </dgm:t>
    </dgm:pt>
    <dgm:pt modelId="{587D308B-B5E3-42BB-B249-CE13F6DE1870}">
      <dgm:prSet phldr="0" custT="1"/>
      <dgm:spPr>
        <a:solidFill>
          <a:srgbClr val="002060"/>
        </a:solidFill>
      </dgm:spPr>
      <dgm:t>
        <a:bodyPr/>
        <a:lstStyle/>
        <a:p>
          <a:pPr rtl="0"/>
          <a:r>
            <a:rPr lang="en-US" sz="1300">
              <a:latin typeface="Trebuchet MS"/>
            </a:rPr>
            <a:t>Day of Week </a:t>
          </a:r>
          <a:endParaRPr lang="en-US" sz="1300" i="1">
            <a:latin typeface="Trebuchet MS"/>
          </a:endParaRPr>
        </a:p>
      </dgm:t>
    </dgm:pt>
    <dgm:pt modelId="{148FD8DF-3F40-4D86-A67E-ABDA340AB608}" type="parTrans" cxnId="{1401AF9A-477B-4444-9116-33AD529A4498}">
      <dgm:prSet/>
      <dgm:spPr/>
      <dgm:t>
        <a:bodyPr/>
        <a:lstStyle/>
        <a:p>
          <a:endParaRPr lang="en-SG"/>
        </a:p>
      </dgm:t>
    </dgm:pt>
    <dgm:pt modelId="{9D106E89-C498-4E3D-9591-5720CC7B9D95}" type="sibTrans" cxnId="{1401AF9A-477B-4444-9116-33AD529A4498}">
      <dgm:prSet/>
      <dgm:spPr/>
      <dgm:t>
        <a:bodyPr/>
        <a:lstStyle/>
        <a:p>
          <a:endParaRPr lang="en-SG"/>
        </a:p>
      </dgm:t>
    </dgm:pt>
    <dgm:pt modelId="{EFDE3D5D-65F4-4841-9702-037A1FAA5A14}">
      <dgm:prSet phldr="0" custT="1"/>
      <dgm:spPr>
        <a:solidFill>
          <a:srgbClr val="002060"/>
        </a:solidFill>
      </dgm:spPr>
      <dgm:t>
        <a:bodyPr/>
        <a:lstStyle/>
        <a:p>
          <a:pPr rtl="0"/>
          <a:r>
            <a:rPr lang="en-US" sz="1400" i="0">
              <a:latin typeface="Trebuchet MS"/>
            </a:rPr>
            <a:t>Ridership</a:t>
          </a:r>
        </a:p>
      </dgm:t>
    </dgm:pt>
    <dgm:pt modelId="{CE4EF214-6531-4AA8-AE72-C93D432C505C}" type="parTrans" cxnId="{0DED8485-CCDF-4885-B9A3-D1247F4F8B91}">
      <dgm:prSet/>
      <dgm:spPr/>
      <dgm:t>
        <a:bodyPr/>
        <a:lstStyle/>
        <a:p>
          <a:endParaRPr lang="en-SG"/>
        </a:p>
      </dgm:t>
    </dgm:pt>
    <dgm:pt modelId="{4685A0DE-194D-4B54-A646-3F791A5653F2}" type="sibTrans" cxnId="{0DED8485-CCDF-4885-B9A3-D1247F4F8B91}">
      <dgm:prSet/>
      <dgm:spPr/>
      <dgm:t>
        <a:bodyPr/>
        <a:lstStyle/>
        <a:p>
          <a:endParaRPr lang="en-SG"/>
        </a:p>
      </dgm:t>
    </dgm:pt>
    <dgm:pt modelId="{26549DFE-1534-4633-B2B1-49E5605A2548}" type="pres">
      <dgm:prSet presAssocID="{E42C0361-2AF4-403D-9556-EC28E8565404}" presName="hierChild1" presStyleCnt="0">
        <dgm:presLayoutVars>
          <dgm:orgChart val="1"/>
          <dgm:chPref val="1"/>
          <dgm:dir/>
          <dgm:animOne val="branch"/>
          <dgm:animLvl val="lvl"/>
          <dgm:resizeHandles/>
        </dgm:presLayoutVars>
      </dgm:prSet>
      <dgm:spPr/>
    </dgm:pt>
    <dgm:pt modelId="{F38C306E-80B9-4389-A53B-F4BACE4F9B88}" type="pres">
      <dgm:prSet presAssocID="{2B407BBF-E10D-49D4-ADC4-C4C936319F45}" presName="hierRoot1" presStyleCnt="0">
        <dgm:presLayoutVars>
          <dgm:hierBranch val="init"/>
        </dgm:presLayoutVars>
      </dgm:prSet>
      <dgm:spPr/>
    </dgm:pt>
    <dgm:pt modelId="{32342361-4138-47A3-B99E-B47EE0667514}" type="pres">
      <dgm:prSet presAssocID="{2B407BBF-E10D-49D4-ADC4-C4C936319F45}" presName="rootComposite1" presStyleCnt="0"/>
      <dgm:spPr/>
    </dgm:pt>
    <dgm:pt modelId="{7CCC9B79-2A2E-4E9B-8B25-FA4382B79E9C}" type="pres">
      <dgm:prSet presAssocID="{2B407BBF-E10D-49D4-ADC4-C4C936319F45}" presName="rootText1" presStyleLbl="node0" presStyleIdx="0" presStyleCnt="1" custScaleX="144232" custScaleY="96987" custLinFactNeighborX="-21644" custLinFactNeighborY="-6481">
        <dgm:presLayoutVars>
          <dgm:chPref val="3"/>
        </dgm:presLayoutVars>
      </dgm:prSet>
      <dgm:spPr/>
    </dgm:pt>
    <dgm:pt modelId="{2FB19B05-6550-4F86-8D95-E37624305099}" type="pres">
      <dgm:prSet presAssocID="{2B407BBF-E10D-49D4-ADC4-C4C936319F45}" presName="rootConnector1" presStyleLbl="node1" presStyleIdx="0" presStyleCnt="0"/>
      <dgm:spPr/>
    </dgm:pt>
    <dgm:pt modelId="{97FC22E7-04EE-461B-8D57-99113EAC0E23}" type="pres">
      <dgm:prSet presAssocID="{2B407BBF-E10D-49D4-ADC4-C4C936319F45}" presName="hierChild2" presStyleCnt="0"/>
      <dgm:spPr/>
    </dgm:pt>
    <dgm:pt modelId="{7DC4373B-0F8F-4FDB-B285-C238BFAE51E2}" type="pres">
      <dgm:prSet presAssocID="{374B108A-D4A2-4A80-886C-14D2711D64D9}" presName="Name37" presStyleLbl="parChTrans1D2" presStyleIdx="0" presStyleCnt="2"/>
      <dgm:spPr/>
    </dgm:pt>
    <dgm:pt modelId="{D80E65C5-4A65-4A50-A036-DA008FC61B1A}" type="pres">
      <dgm:prSet presAssocID="{921D9F10-6EA4-469D-A3D6-2FA8B9F421D4}" presName="hierRoot2" presStyleCnt="0">
        <dgm:presLayoutVars>
          <dgm:hierBranch val="init"/>
        </dgm:presLayoutVars>
      </dgm:prSet>
      <dgm:spPr/>
    </dgm:pt>
    <dgm:pt modelId="{9007D6C1-5DF8-47E7-9014-3596A338CB58}" type="pres">
      <dgm:prSet presAssocID="{921D9F10-6EA4-469D-A3D6-2FA8B9F421D4}" presName="rootComposite" presStyleCnt="0"/>
      <dgm:spPr/>
    </dgm:pt>
    <dgm:pt modelId="{9C3C9FFC-6CE3-4516-BB48-0B379AF3246F}" type="pres">
      <dgm:prSet presAssocID="{921D9F10-6EA4-469D-A3D6-2FA8B9F421D4}" presName="rootText" presStyleLbl="node2" presStyleIdx="0" presStyleCnt="2" custScaleX="205361" custScaleY="109947">
        <dgm:presLayoutVars>
          <dgm:chPref val="3"/>
        </dgm:presLayoutVars>
      </dgm:prSet>
      <dgm:spPr/>
    </dgm:pt>
    <dgm:pt modelId="{E4DC44BB-52EE-4F95-8B71-78BBDF92F603}" type="pres">
      <dgm:prSet presAssocID="{921D9F10-6EA4-469D-A3D6-2FA8B9F421D4}" presName="rootConnector" presStyleLbl="node2" presStyleIdx="0" presStyleCnt="2"/>
      <dgm:spPr/>
    </dgm:pt>
    <dgm:pt modelId="{3A6F3DC8-075D-4FF7-B421-14773B0AAF78}" type="pres">
      <dgm:prSet presAssocID="{921D9F10-6EA4-469D-A3D6-2FA8B9F421D4}" presName="hierChild4" presStyleCnt="0"/>
      <dgm:spPr/>
    </dgm:pt>
    <dgm:pt modelId="{EFAFBCFC-54F7-4723-8E9C-054BB94E4E0C}" type="pres">
      <dgm:prSet presAssocID="{A6043590-332E-47B9-B18D-162167B0FADA}" presName="Name37" presStyleLbl="parChTrans1D3" presStyleIdx="0" presStyleCnt="5"/>
      <dgm:spPr/>
    </dgm:pt>
    <dgm:pt modelId="{558D10C8-158C-46E7-A378-2CADB2051E33}" type="pres">
      <dgm:prSet presAssocID="{BD417481-34A1-4371-B135-E63EF8950C0B}" presName="hierRoot2" presStyleCnt="0">
        <dgm:presLayoutVars>
          <dgm:hierBranch val="init"/>
        </dgm:presLayoutVars>
      </dgm:prSet>
      <dgm:spPr/>
    </dgm:pt>
    <dgm:pt modelId="{24E1D088-2493-44C7-A467-6827E274B704}" type="pres">
      <dgm:prSet presAssocID="{BD417481-34A1-4371-B135-E63EF8950C0B}" presName="rootComposite" presStyleCnt="0"/>
      <dgm:spPr/>
    </dgm:pt>
    <dgm:pt modelId="{F1C54E49-88DF-41B8-9CE4-1580051055D3}" type="pres">
      <dgm:prSet presAssocID="{BD417481-34A1-4371-B135-E63EF8950C0B}" presName="rootText" presStyleLbl="node3" presStyleIdx="0" presStyleCnt="5" custScaleX="133551" custScaleY="100269" custLinFactNeighborX="-274" custLinFactNeighborY="-408">
        <dgm:presLayoutVars>
          <dgm:chPref val="3"/>
        </dgm:presLayoutVars>
      </dgm:prSet>
      <dgm:spPr/>
    </dgm:pt>
    <dgm:pt modelId="{D3540972-B845-4C48-8094-37895EC89941}" type="pres">
      <dgm:prSet presAssocID="{BD417481-34A1-4371-B135-E63EF8950C0B}" presName="rootConnector" presStyleLbl="node3" presStyleIdx="0" presStyleCnt="5"/>
      <dgm:spPr/>
    </dgm:pt>
    <dgm:pt modelId="{BDD70F0D-6DFA-49DE-B502-45FF7B3DF169}" type="pres">
      <dgm:prSet presAssocID="{BD417481-34A1-4371-B135-E63EF8950C0B}" presName="hierChild4" presStyleCnt="0"/>
      <dgm:spPr/>
    </dgm:pt>
    <dgm:pt modelId="{231B4D3A-C7DA-472B-90B5-B69CC3C55288}" type="pres">
      <dgm:prSet presAssocID="{BD417481-34A1-4371-B135-E63EF8950C0B}" presName="hierChild5" presStyleCnt="0"/>
      <dgm:spPr/>
    </dgm:pt>
    <dgm:pt modelId="{385C4860-4F77-4438-A6D8-2957A9177BEA}" type="pres">
      <dgm:prSet presAssocID="{B73789E9-3BCC-4001-8F2E-C47C4FE55549}" presName="Name37" presStyleLbl="parChTrans1D3" presStyleIdx="1" presStyleCnt="5"/>
      <dgm:spPr/>
    </dgm:pt>
    <dgm:pt modelId="{C4B09100-59A7-4020-91A7-587A330C6559}" type="pres">
      <dgm:prSet presAssocID="{04545E05-FD22-4847-AE13-EA7C975C988C}" presName="hierRoot2" presStyleCnt="0">
        <dgm:presLayoutVars>
          <dgm:hierBranch val="init"/>
        </dgm:presLayoutVars>
      </dgm:prSet>
      <dgm:spPr/>
    </dgm:pt>
    <dgm:pt modelId="{3E902D51-E2DE-404C-90C4-13C1EE88CCE0}" type="pres">
      <dgm:prSet presAssocID="{04545E05-FD22-4847-AE13-EA7C975C988C}" presName="rootComposite" presStyleCnt="0"/>
      <dgm:spPr/>
    </dgm:pt>
    <dgm:pt modelId="{10494BA1-96B0-4FEC-8400-EADA7A351CC3}" type="pres">
      <dgm:prSet presAssocID="{04545E05-FD22-4847-AE13-EA7C975C988C}" presName="rootText" presStyleLbl="node3" presStyleIdx="1" presStyleCnt="5" custScaleX="138091" custScaleY="96353" custLinFactNeighborX="-3731" custLinFactNeighborY="8008">
        <dgm:presLayoutVars>
          <dgm:chPref val="3"/>
        </dgm:presLayoutVars>
      </dgm:prSet>
      <dgm:spPr/>
    </dgm:pt>
    <dgm:pt modelId="{D5AA8CCB-5EDF-4B72-9DFD-67F8E06A4CFC}" type="pres">
      <dgm:prSet presAssocID="{04545E05-FD22-4847-AE13-EA7C975C988C}" presName="rootConnector" presStyleLbl="node3" presStyleIdx="1" presStyleCnt="5"/>
      <dgm:spPr/>
    </dgm:pt>
    <dgm:pt modelId="{D49D2C08-BC5B-467A-9135-03FA6EA1797E}" type="pres">
      <dgm:prSet presAssocID="{04545E05-FD22-4847-AE13-EA7C975C988C}" presName="hierChild4" presStyleCnt="0"/>
      <dgm:spPr/>
    </dgm:pt>
    <dgm:pt modelId="{9D6586DD-29A1-4224-9726-5D5CB64EC702}" type="pres">
      <dgm:prSet presAssocID="{04545E05-FD22-4847-AE13-EA7C975C988C}" presName="hierChild5" presStyleCnt="0"/>
      <dgm:spPr/>
    </dgm:pt>
    <dgm:pt modelId="{FC1D3193-F46D-43A4-8062-E0EDD5DC45B8}" type="pres">
      <dgm:prSet presAssocID="{CE4EF214-6531-4AA8-AE72-C93D432C505C}" presName="Name37" presStyleLbl="parChTrans1D3" presStyleIdx="2" presStyleCnt="5"/>
      <dgm:spPr/>
    </dgm:pt>
    <dgm:pt modelId="{1905A84F-505B-4C4E-B12C-00A9B87A9F28}" type="pres">
      <dgm:prSet presAssocID="{EFDE3D5D-65F4-4841-9702-037A1FAA5A14}" presName="hierRoot2" presStyleCnt="0">
        <dgm:presLayoutVars>
          <dgm:hierBranch val="init"/>
        </dgm:presLayoutVars>
      </dgm:prSet>
      <dgm:spPr/>
    </dgm:pt>
    <dgm:pt modelId="{1BFC7160-548F-4B49-ADCE-C446F3ABBC1B}" type="pres">
      <dgm:prSet presAssocID="{EFDE3D5D-65F4-4841-9702-037A1FAA5A14}" presName="rootComposite" presStyleCnt="0"/>
      <dgm:spPr/>
    </dgm:pt>
    <dgm:pt modelId="{2560B20E-0565-4FC8-AE1B-3049EDCD181D}" type="pres">
      <dgm:prSet presAssocID="{EFDE3D5D-65F4-4841-9702-037A1FAA5A14}" presName="rootText" presStyleLbl="node3" presStyleIdx="2" presStyleCnt="5" custScaleX="126468" custScaleY="103599" custLinFactNeighborX="-13414" custLinFactNeighborY="1423">
        <dgm:presLayoutVars>
          <dgm:chPref val="3"/>
        </dgm:presLayoutVars>
      </dgm:prSet>
      <dgm:spPr/>
    </dgm:pt>
    <dgm:pt modelId="{18462861-E830-44B8-9C65-B5209170C3DE}" type="pres">
      <dgm:prSet presAssocID="{EFDE3D5D-65F4-4841-9702-037A1FAA5A14}" presName="rootConnector" presStyleLbl="node3" presStyleIdx="2" presStyleCnt="5"/>
      <dgm:spPr/>
    </dgm:pt>
    <dgm:pt modelId="{DACC8BCC-22D1-4CA1-BC65-9DA7D8650A06}" type="pres">
      <dgm:prSet presAssocID="{EFDE3D5D-65F4-4841-9702-037A1FAA5A14}" presName="hierChild4" presStyleCnt="0"/>
      <dgm:spPr/>
    </dgm:pt>
    <dgm:pt modelId="{4D637F2B-344F-44C0-9B0A-1D1AD26C24F5}" type="pres">
      <dgm:prSet presAssocID="{59E05A3B-BDBD-4BE0-B12F-4F60768F1E4A}" presName="Name37" presStyleLbl="parChTrans1D4" presStyleIdx="0" presStyleCnt="7"/>
      <dgm:spPr/>
    </dgm:pt>
    <dgm:pt modelId="{A2A45B30-1AC7-4DEE-B560-EB6A4D8FB1AC}" type="pres">
      <dgm:prSet presAssocID="{E1336CA2-574E-4B0C-8040-5FDC1BB28B07}" presName="hierRoot2" presStyleCnt="0">
        <dgm:presLayoutVars>
          <dgm:hierBranch val="init"/>
        </dgm:presLayoutVars>
      </dgm:prSet>
      <dgm:spPr/>
    </dgm:pt>
    <dgm:pt modelId="{6ACC8648-C4B5-4491-8632-799D147C0B39}" type="pres">
      <dgm:prSet presAssocID="{E1336CA2-574E-4B0C-8040-5FDC1BB28B07}" presName="rootComposite" presStyleCnt="0"/>
      <dgm:spPr/>
    </dgm:pt>
    <dgm:pt modelId="{C7A6C7CE-C4F5-4BC6-A0A8-F985343462E5}" type="pres">
      <dgm:prSet presAssocID="{E1336CA2-574E-4B0C-8040-5FDC1BB28B07}" presName="rootText" presStyleLbl="node4" presStyleIdx="0" presStyleCnt="7" custScaleX="220451" custScaleY="139406" custLinFactNeighborX="-13271" custLinFactNeighborY="68708">
        <dgm:presLayoutVars>
          <dgm:chPref val="3"/>
        </dgm:presLayoutVars>
      </dgm:prSet>
      <dgm:spPr/>
    </dgm:pt>
    <dgm:pt modelId="{75457FEE-0D45-49A0-A782-C870B4AB5CD6}" type="pres">
      <dgm:prSet presAssocID="{E1336CA2-574E-4B0C-8040-5FDC1BB28B07}" presName="rootConnector" presStyleLbl="node4" presStyleIdx="0" presStyleCnt="7"/>
      <dgm:spPr/>
    </dgm:pt>
    <dgm:pt modelId="{FAA2195F-DF91-4CA3-AADB-27174F1AA273}" type="pres">
      <dgm:prSet presAssocID="{E1336CA2-574E-4B0C-8040-5FDC1BB28B07}" presName="hierChild4" presStyleCnt="0"/>
      <dgm:spPr/>
    </dgm:pt>
    <dgm:pt modelId="{D932BBDD-49A2-4146-ACDA-39499D71F8FA}" type="pres">
      <dgm:prSet presAssocID="{E1336CA2-574E-4B0C-8040-5FDC1BB28B07}" presName="hierChild5" presStyleCnt="0"/>
      <dgm:spPr/>
    </dgm:pt>
    <dgm:pt modelId="{71FE4D4A-B131-44F3-AD3E-E42695D80DA2}" type="pres">
      <dgm:prSet presAssocID="{EBB9A858-B325-486C-8173-C7B05A2499DD}" presName="Name37" presStyleLbl="parChTrans1D4" presStyleIdx="1" presStyleCnt="7"/>
      <dgm:spPr/>
    </dgm:pt>
    <dgm:pt modelId="{6CA11D68-94BE-40DC-A318-8D90D5B4390F}" type="pres">
      <dgm:prSet presAssocID="{F39ACF81-B471-42F2-B9B4-FAEB38F17930}" presName="hierRoot2" presStyleCnt="0">
        <dgm:presLayoutVars>
          <dgm:hierBranch val="init"/>
        </dgm:presLayoutVars>
      </dgm:prSet>
      <dgm:spPr/>
    </dgm:pt>
    <dgm:pt modelId="{FE9B323D-1E65-4F7B-9032-040EBE5121BA}" type="pres">
      <dgm:prSet presAssocID="{F39ACF81-B471-42F2-B9B4-FAEB38F17930}" presName="rootComposite" presStyleCnt="0"/>
      <dgm:spPr/>
    </dgm:pt>
    <dgm:pt modelId="{9B15108C-3527-4ADE-9348-70DEF36E738E}" type="pres">
      <dgm:prSet presAssocID="{F39ACF81-B471-42F2-B9B4-FAEB38F17930}" presName="rootText" presStyleLbl="node4" presStyleIdx="1" presStyleCnt="7" custScaleX="175643" custScaleY="98210" custLinFactX="-100000" custLinFactY="100000" custLinFactNeighborX="-111840" custLinFactNeighborY="169655">
        <dgm:presLayoutVars>
          <dgm:chPref val="3"/>
        </dgm:presLayoutVars>
      </dgm:prSet>
      <dgm:spPr/>
    </dgm:pt>
    <dgm:pt modelId="{A6D386E4-3CDD-4455-AEC2-40A2C13A78E2}" type="pres">
      <dgm:prSet presAssocID="{F39ACF81-B471-42F2-B9B4-FAEB38F17930}" presName="rootConnector" presStyleLbl="node4" presStyleIdx="1" presStyleCnt="7"/>
      <dgm:spPr/>
    </dgm:pt>
    <dgm:pt modelId="{4903F1FC-B05A-473D-9CE6-9D87B13BC2D5}" type="pres">
      <dgm:prSet presAssocID="{F39ACF81-B471-42F2-B9B4-FAEB38F17930}" presName="hierChild4" presStyleCnt="0"/>
      <dgm:spPr/>
    </dgm:pt>
    <dgm:pt modelId="{34CB2547-BD71-46F2-9D74-7723B4F3E28F}" type="pres">
      <dgm:prSet presAssocID="{F39ACF81-B471-42F2-B9B4-FAEB38F17930}" presName="hierChild5" presStyleCnt="0"/>
      <dgm:spPr/>
    </dgm:pt>
    <dgm:pt modelId="{B3966EA0-9522-4AC7-B0F5-45E7808C1799}" type="pres">
      <dgm:prSet presAssocID="{148FD8DF-3F40-4D86-A67E-ABDA340AB608}" presName="Name37" presStyleLbl="parChTrans1D4" presStyleIdx="2" presStyleCnt="7"/>
      <dgm:spPr/>
    </dgm:pt>
    <dgm:pt modelId="{3CAA5141-46B8-48E4-B485-3353040B4DA6}" type="pres">
      <dgm:prSet presAssocID="{587D308B-B5E3-42BB-B249-CE13F6DE1870}" presName="hierRoot2" presStyleCnt="0">
        <dgm:presLayoutVars>
          <dgm:hierBranch val="init"/>
        </dgm:presLayoutVars>
      </dgm:prSet>
      <dgm:spPr/>
    </dgm:pt>
    <dgm:pt modelId="{AC6C15FB-312F-4136-8740-FDE1D7038737}" type="pres">
      <dgm:prSet presAssocID="{587D308B-B5E3-42BB-B249-CE13F6DE1870}" presName="rootComposite" presStyleCnt="0"/>
      <dgm:spPr/>
    </dgm:pt>
    <dgm:pt modelId="{856D7389-7F4F-4185-A0B0-C217BF053CEC}" type="pres">
      <dgm:prSet presAssocID="{587D308B-B5E3-42BB-B249-CE13F6DE1870}" presName="rootText" presStyleLbl="node4" presStyleIdx="2" presStyleCnt="7" custScaleX="111518" custScaleY="88242" custLinFactX="-40019" custLinFactNeighborX="-100000" custLinFactNeighborY="-3222">
        <dgm:presLayoutVars>
          <dgm:chPref val="3"/>
        </dgm:presLayoutVars>
      </dgm:prSet>
      <dgm:spPr/>
    </dgm:pt>
    <dgm:pt modelId="{2B771D93-605C-47A6-9CDB-BDC5A5DF58C5}" type="pres">
      <dgm:prSet presAssocID="{587D308B-B5E3-42BB-B249-CE13F6DE1870}" presName="rootConnector" presStyleLbl="node4" presStyleIdx="2" presStyleCnt="7"/>
      <dgm:spPr/>
    </dgm:pt>
    <dgm:pt modelId="{1B9F65EC-1516-4C0D-AC7E-B01BCB14AD1C}" type="pres">
      <dgm:prSet presAssocID="{587D308B-B5E3-42BB-B249-CE13F6DE1870}" presName="hierChild4" presStyleCnt="0"/>
      <dgm:spPr/>
    </dgm:pt>
    <dgm:pt modelId="{4C4EF9AA-BC71-4CDD-8053-5413FC01E663}" type="pres">
      <dgm:prSet presAssocID="{9194D665-D17F-46BF-9873-0877AFFA3813}" presName="Name37" presStyleLbl="parChTrans1D4" presStyleIdx="3" presStyleCnt="7"/>
      <dgm:spPr/>
    </dgm:pt>
    <dgm:pt modelId="{C54CE29A-746C-47C3-B538-9A9681338A4B}" type="pres">
      <dgm:prSet presAssocID="{04511269-CD7F-4C88-B15E-A79D32687DD9}" presName="hierRoot2" presStyleCnt="0">
        <dgm:presLayoutVars>
          <dgm:hierBranch val="init"/>
        </dgm:presLayoutVars>
      </dgm:prSet>
      <dgm:spPr/>
    </dgm:pt>
    <dgm:pt modelId="{F3B3CFFC-BD7A-4BD4-A37D-8BF88F6D6A66}" type="pres">
      <dgm:prSet presAssocID="{04511269-CD7F-4C88-B15E-A79D32687DD9}" presName="rootComposite" presStyleCnt="0"/>
      <dgm:spPr/>
    </dgm:pt>
    <dgm:pt modelId="{F37543E3-27B1-4DEB-A1EA-04DD1C4C5DDE}" type="pres">
      <dgm:prSet presAssocID="{04511269-CD7F-4C88-B15E-A79D32687DD9}" presName="rootText" presStyleLbl="node4" presStyleIdx="3" presStyleCnt="7" custScaleX="99999" custScaleY="92082" custLinFactX="-41612" custLinFactNeighborX="-100000" custLinFactNeighborY="-22553">
        <dgm:presLayoutVars>
          <dgm:chPref val="3"/>
        </dgm:presLayoutVars>
      </dgm:prSet>
      <dgm:spPr/>
    </dgm:pt>
    <dgm:pt modelId="{BFEC7FB8-446C-4474-9970-701A05C015B5}" type="pres">
      <dgm:prSet presAssocID="{04511269-CD7F-4C88-B15E-A79D32687DD9}" presName="rootConnector" presStyleLbl="node4" presStyleIdx="3" presStyleCnt="7"/>
      <dgm:spPr/>
    </dgm:pt>
    <dgm:pt modelId="{7BFCAD73-E6D3-4BBD-A7FE-81F9498BDF49}" type="pres">
      <dgm:prSet presAssocID="{04511269-CD7F-4C88-B15E-A79D32687DD9}" presName="hierChild4" presStyleCnt="0"/>
      <dgm:spPr/>
    </dgm:pt>
    <dgm:pt modelId="{E9B4CEC1-4512-4B95-8418-6F4579FEE020}" type="pres">
      <dgm:prSet presAssocID="{04511269-CD7F-4C88-B15E-A79D32687DD9}" presName="hierChild5" presStyleCnt="0"/>
      <dgm:spPr/>
    </dgm:pt>
    <dgm:pt modelId="{4D0D67AD-19DA-4ECA-A253-A7B25154619A}" type="pres">
      <dgm:prSet presAssocID="{E70623EA-78E3-4494-85B1-76A50DD2D521}" presName="Name37" presStyleLbl="parChTrans1D4" presStyleIdx="4" presStyleCnt="7"/>
      <dgm:spPr/>
    </dgm:pt>
    <dgm:pt modelId="{BCFA5F45-CC54-4685-B520-DBD7D18A775A}" type="pres">
      <dgm:prSet presAssocID="{E2740EFC-221D-41D6-8B2D-2EEBB2CC1DAB}" presName="hierRoot2" presStyleCnt="0">
        <dgm:presLayoutVars>
          <dgm:hierBranch val="init"/>
        </dgm:presLayoutVars>
      </dgm:prSet>
      <dgm:spPr/>
    </dgm:pt>
    <dgm:pt modelId="{4E112E6D-8220-48DF-8426-656BCEC9E686}" type="pres">
      <dgm:prSet presAssocID="{E2740EFC-221D-41D6-8B2D-2EEBB2CC1DAB}" presName="rootComposite" presStyleCnt="0"/>
      <dgm:spPr/>
    </dgm:pt>
    <dgm:pt modelId="{A80037A4-023F-4557-8F10-D3BD4D8F16AF}" type="pres">
      <dgm:prSet presAssocID="{E2740EFC-221D-41D6-8B2D-2EEBB2CC1DAB}" presName="rootText" presStyleLbl="node4" presStyleIdx="4" presStyleCnt="7" custScaleX="100584" custScaleY="95680" custLinFactX="-41612" custLinFactNeighborX="-100000" custLinFactNeighborY="-37052">
        <dgm:presLayoutVars>
          <dgm:chPref val="3"/>
        </dgm:presLayoutVars>
      </dgm:prSet>
      <dgm:spPr/>
    </dgm:pt>
    <dgm:pt modelId="{EFA2B48D-0875-4D4B-A648-0AF8BFF1025E}" type="pres">
      <dgm:prSet presAssocID="{E2740EFC-221D-41D6-8B2D-2EEBB2CC1DAB}" presName="rootConnector" presStyleLbl="node4" presStyleIdx="4" presStyleCnt="7"/>
      <dgm:spPr/>
    </dgm:pt>
    <dgm:pt modelId="{C6F157B0-0DA4-42AB-940F-A165C7623492}" type="pres">
      <dgm:prSet presAssocID="{E2740EFC-221D-41D6-8B2D-2EEBB2CC1DAB}" presName="hierChild4" presStyleCnt="0"/>
      <dgm:spPr/>
    </dgm:pt>
    <dgm:pt modelId="{90C6DCB9-E905-46E7-B022-F8779B1F80BC}" type="pres">
      <dgm:prSet presAssocID="{E2740EFC-221D-41D6-8B2D-2EEBB2CC1DAB}" presName="hierChild5" presStyleCnt="0"/>
      <dgm:spPr/>
    </dgm:pt>
    <dgm:pt modelId="{932C5543-0BEF-406C-B7BA-70E7AF834A9F}" type="pres">
      <dgm:prSet presAssocID="{587D308B-B5E3-42BB-B249-CE13F6DE1870}" presName="hierChild5" presStyleCnt="0"/>
      <dgm:spPr/>
    </dgm:pt>
    <dgm:pt modelId="{2013EFB3-CC14-4DDF-AC71-0D5F955551D2}" type="pres">
      <dgm:prSet presAssocID="{EFDE3D5D-65F4-4841-9702-037A1FAA5A14}" presName="hierChild5" presStyleCnt="0"/>
      <dgm:spPr/>
    </dgm:pt>
    <dgm:pt modelId="{C5254BF7-106D-435B-8786-962FFD9ADB33}" type="pres">
      <dgm:prSet presAssocID="{921D9F10-6EA4-469D-A3D6-2FA8B9F421D4}" presName="hierChild5" presStyleCnt="0"/>
      <dgm:spPr/>
    </dgm:pt>
    <dgm:pt modelId="{3AC20B5E-6098-4A47-9EF1-D51B0BA7F14A}" type="pres">
      <dgm:prSet presAssocID="{125F3890-B46C-4E18-B024-9FAFB884C3B6}" presName="Name37" presStyleLbl="parChTrans1D2" presStyleIdx="1" presStyleCnt="2"/>
      <dgm:spPr/>
    </dgm:pt>
    <dgm:pt modelId="{C33C7935-7273-4F7B-BE0C-3AF9BA94BE25}" type="pres">
      <dgm:prSet presAssocID="{7D66D1BA-3244-4E9B-8415-402F3E3D256D}" presName="hierRoot2" presStyleCnt="0">
        <dgm:presLayoutVars>
          <dgm:hierBranch val="init"/>
        </dgm:presLayoutVars>
      </dgm:prSet>
      <dgm:spPr/>
    </dgm:pt>
    <dgm:pt modelId="{CDE1020B-9BE0-463D-B36C-8F44FA1C50C0}" type="pres">
      <dgm:prSet presAssocID="{7D66D1BA-3244-4E9B-8415-402F3E3D256D}" presName="rootComposite" presStyleCnt="0"/>
      <dgm:spPr/>
    </dgm:pt>
    <dgm:pt modelId="{D7CE84D8-5A9B-4243-BFAD-A10EC40DF307}" type="pres">
      <dgm:prSet presAssocID="{7D66D1BA-3244-4E9B-8415-402F3E3D256D}" presName="rootText" presStyleLbl="node2" presStyleIdx="1" presStyleCnt="2" custScaleX="170170" custScaleY="88042" custLinFactNeighborX="-66280" custLinFactNeighborY="-3221">
        <dgm:presLayoutVars>
          <dgm:chPref val="3"/>
        </dgm:presLayoutVars>
      </dgm:prSet>
      <dgm:spPr/>
    </dgm:pt>
    <dgm:pt modelId="{CD7C79BE-B9FB-49F6-BABE-D511A638DBF7}" type="pres">
      <dgm:prSet presAssocID="{7D66D1BA-3244-4E9B-8415-402F3E3D256D}" presName="rootConnector" presStyleLbl="node2" presStyleIdx="1" presStyleCnt="2"/>
      <dgm:spPr/>
    </dgm:pt>
    <dgm:pt modelId="{D2208961-EE10-474B-9741-D45FF2212D3F}" type="pres">
      <dgm:prSet presAssocID="{7D66D1BA-3244-4E9B-8415-402F3E3D256D}" presName="hierChild4" presStyleCnt="0"/>
      <dgm:spPr/>
    </dgm:pt>
    <dgm:pt modelId="{F09046E2-F351-4C0E-9903-BB63930E82C8}" type="pres">
      <dgm:prSet presAssocID="{7C589D82-36DA-40B0-8344-FCAC680EA735}" presName="Name37" presStyleLbl="parChTrans1D3" presStyleIdx="3" presStyleCnt="5"/>
      <dgm:spPr/>
    </dgm:pt>
    <dgm:pt modelId="{08CD7F7B-216B-4586-B91D-0874BBDE3D00}" type="pres">
      <dgm:prSet presAssocID="{CBE2C7AB-6617-4EE5-B073-496CF250BAAD}" presName="hierRoot2" presStyleCnt="0">
        <dgm:presLayoutVars>
          <dgm:hierBranch val="init"/>
        </dgm:presLayoutVars>
      </dgm:prSet>
      <dgm:spPr/>
    </dgm:pt>
    <dgm:pt modelId="{D1447F47-51ED-4AC6-AFC5-957AB908B56A}" type="pres">
      <dgm:prSet presAssocID="{CBE2C7AB-6617-4EE5-B073-496CF250BAAD}" presName="rootComposite" presStyleCnt="0"/>
      <dgm:spPr/>
    </dgm:pt>
    <dgm:pt modelId="{90B3EEEC-4BEA-4F2C-9390-7382EBF2E384}" type="pres">
      <dgm:prSet presAssocID="{CBE2C7AB-6617-4EE5-B073-496CF250BAAD}" presName="rootText" presStyleLbl="node3" presStyleIdx="3" presStyleCnt="5" custScaleX="114991" custScaleY="88923" custLinFactNeighborX="-64438" custLinFactNeighborY="28166">
        <dgm:presLayoutVars>
          <dgm:chPref val="3"/>
        </dgm:presLayoutVars>
      </dgm:prSet>
      <dgm:spPr/>
    </dgm:pt>
    <dgm:pt modelId="{9B6AE352-E2BB-4763-9C80-9275AADE2B4F}" type="pres">
      <dgm:prSet presAssocID="{CBE2C7AB-6617-4EE5-B073-496CF250BAAD}" presName="rootConnector" presStyleLbl="node3" presStyleIdx="3" presStyleCnt="5"/>
      <dgm:spPr/>
    </dgm:pt>
    <dgm:pt modelId="{28B79522-40EA-48DB-92E1-33DE2D734146}" type="pres">
      <dgm:prSet presAssocID="{CBE2C7AB-6617-4EE5-B073-496CF250BAAD}" presName="hierChild4" presStyleCnt="0"/>
      <dgm:spPr/>
    </dgm:pt>
    <dgm:pt modelId="{78382E3D-F7B7-41A6-AE23-F8106B8EA9B5}" type="pres">
      <dgm:prSet presAssocID="{48ACB221-425D-4209-AF83-3454838F433E}" presName="Name37" presStyleLbl="parChTrans1D4" presStyleIdx="5" presStyleCnt="7"/>
      <dgm:spPr/>
    </dgm:pt>
    <dgm:pt modelId="{2DA4D414-AEEA-49BA-9652-CDB5986A94D4}" type="pres">
      <dgm:prSet presAssocID="{86248B53-864C-49CE-9553-C8071A9EB2A0}" presName="hierRoot2" presStyleCnt="0">
        <dgm:presLayoutVars>
          <dgm:hierBranch val="init"/>
        </dgm:presLayoutVars>
      </dgm:prSet>
      <dgm:spPr/>
    </dgm:pt>
    <dgm:pt modelId="{C4C210AA-5A34-4BA3-88F9-AB0B0D4B6CC3}" type="pres">
      <dgm:prSet presAssocID="{86248B53-864C-49CE-9553-C8071A9EB2A0}" presName="rootComposite" presStyleCnt="0"/>
      <dgm:spPr/>
    </dgm:pt>
    <dgm:pt modelId="{8E9A9B7E-907F-4D29-AB54-4D70C869635F}" type="pres">
      <dgm:prSet presAssocID="{86248B53-864C-49CE-9553-C8071A9EB2A0}" presName="rootText" presStyleLbl="node4" presStyleIdx="5" presStyleCnt="7" custScaleX="133391" custScaleY="132625" custLinFactNeighborX="-70077" custLinFactNeighborY="17721">
        <dgm:presLayoutVars>
          <dgm:chPref val="3"/>
        </dgm:presLayoutVars>
      </dgm:prSet>
      <dgm:spPr/>
    </dgm:pt>
    <dgm:pt modelId="{D3B5CCC0-61AD-4BDA-B0E1-A1D58BFA0768}" type="pres">
      <dgm:prSet presAssocID="{86248B53-864C-49CE-9553-C8071A9EB2A0}" presName="rootConnector" presStyleLbl="node4" presStyleIdx="5" presStyleCnt="7"/>
      <dgm:spPr/>
    </dgm:pt>
    <dgm:pt modelId="{E0765B0E-DE63-4B4D-99BD-3DC42B5DF482}" type="pres">
      <dgm:prSet presAssocID="{86248B53-864C-49CE-9553-C8071A9EB2A0}" presName="hierChild4" presStyleCnt="0"/>
      <dgm:spPr/>
    </dgm:pt>
    <dgm:pt modelId="{CAEAD495-8156-4CEE-9168-3BDD3043483E}" type="pres">
      <dgm:prSet presAssocID="{86248B53-864C-49CE-9553-C8071A9EB2A0}" presName="hierChild5" presStyleCnt="0"/>
      <dgm:spPr/>
    </dgm:pt>
    <dgm:pt modelId="{2794F0D2-5018-4442-80B1-53876772A39B}" type="pres">
      <dgm:prSet presAssocID="{CBE2C7AB-6617-4EE5-B073-496CF250BAAD}" presName="hierChild5" presStyleCnt="0"/>
      <dgm:spPr/>
    </dgm:pt>
    <dgm:pt modelId="{BDD18F89-A724-4748-8AE6-AAFD1C5AE2A5}" type="pres">
      <dgm:prSet presAssocID="{B6ABD7A9-BB03-4785-8DA3-1BBC4BBEBE4E}" presName="Name37" presStyleLbl="parChTrans1D3" presStyleIdx="4" presStyleCnt="5"/>
      <dgm:spPr/>
    </dgm:pt>
    <dgm:pt modelId="{9D70C5FD-35F0-463A-A07A-BE42D1C6AC49}" type="pres">
      <dgm:prSet presAssocID="{9D6F5524-641C-4880-A3D1-B66718A28B97}" presName="hierRoot2" presStyleCnt="0">
        <dgm:presLayoutVars>
          <dgm:hierBranch val="init"/>
        </dgm:presLayoutVars>
      </dgm:prSet>
      <dgm:spPr/>
    </dgm:pt>
    <dgm:pt modelId="{09743E14-78AC-4BF6-9E33-0AE477E85904}" type="pres">
      <dgm:prSet presAssocID="{9D6F5524-641C-4880-A3D1-B66718A28B97}" presName="rootComposite" presStyleCnt="0"/>
      <dgm:spPr/>
    </dgm:pt>
    <dgm:pt modelId="{78B41A26-2EB1-4E2B-884F-73A15160A423}" type="pres">
      <dgm:prSet presAssocID="{9D6F5524-641C-4880-A3D1-B66718A28B97}" presName="rootText" presStyleLbl="node3" presStyleIdx="4" presStyleCnt="5" custScaleX="108426" custScaleY="85770" custLinFactNeighborX="-53161" custLinFactNeighborY="28166">
        <dgm:presLayoutVars>
          <dgm:chPref val="3"/>
        </dgm:presLayoutVars>
      </dgm:prSet>
      <dgm:spPr/>
    </dgm:pt>
    <dgm:pt modelId="{5EA00EE2-897F-43C1-909F-854EB98F8088}" type="pres">
      <dgm:prSet presAssocID="{9D6F5524-641C-4880-A3D1-B66718A28B97}" presName="rootConnector" presStyleLbl="node3" presStyleIdx="4" presStyleCnt="5"/>
      <dgm:spPr/>
    </dgm:pt>
    <dgm:pt modelId="{BD60064C-0B0E-4164-BA57-32932A09ACCD}" type="pres">
      <dgm:prSet presAssocID="{9D6F5524-641C-4880-A3D1-B66718A28B97}" presName="hierChild4" presStyleCnt="0"/>
      <dgm:spPr/>
    </dgm:pt>
    <dgm:pt modelId="{A1A9F043-3973-4633-ABFF-180F34CD04B5}" type="pres">
      <dgm:prSet presAssocID="{C760F09F-23B5-4B49-9F44-1333D69CF2E0}" presName="Name37" presStyleLbl="parChTrans1D4" presStyleIdx="6" presStyleCnt="7"/>
      <dgm:spPr/>
    </dgm:pt>
    <dgm:pt modelId="{8D76A2DE-AE2B-44FB-8BDD-57C638E96755}" type="pres">
      <dgm:prSet presAssocID="{3641298C-2933-4B5C-88F1-9C347C27954D}" presName="hierRoot2" presStyleCnt="0">
        <dgm:presLayoutVars>
          <dgm:hierBranch val="init"/>
        </dgm:presLayoutVars>
      </dgm:prSet>
      <dgm:spPr/>
    </dgm:pt>
    <dgm:pt modelId="{25B2F510-D8F0-444A-B96B-321570D81149}" type="pres">
      <dgm:prSet presAssocID="{3641298C-2933-4B5C-88F1-9C347C27954D}" presName="rootComposite" presStyleCnt="0"/>
      <dgm:spPr/>
    </dgm:pt>
    <dgm:pt modelId="{7CEFD693-E055-4C50-BFA7-0C3137723433}" type="pres">
      <dgm:prSet presAssocID="{3641298C-2933-4B5C-88F1-9C347C27954D}" presName="rootText" presStyleLbl="node4" presStyleIdx="6" presStyleCnt="7" custScaleX="81765" custScaleY="90672" custLinFactNeighborX="-54772" custLinFactNeighborY="43496">
        <dgm:presLayoutVars>
          <dgm:chPref val="3"/>
        </dgm:presLayoutVars>
      </dgm:prSet>
      <dgm:spPr/>
    </dgm:pt>
    <dgm:pt modelId="{DBBBF837-32ED-41C9-AC67-6B352105A257}" type="pres">
      <dgm:prSet presAssocID="{3641298C-2933-4B5C-88F1-9C347C27954D}" presName="rootConnector" presStyleLbl="node4" presStyleIdx="6" presStyleCnt="7"/>
      <dgm:spPr/>
    </dgm:pt>
    <dgm:pt modelId="{B62922F5-2767-44AA-B09E-2C44B72BDF96}" type="pres">
      <dgm:prSet presAssocID="{3641298C-2933-4B5C-88F1-9C347C27954D}" presName="hierChild4" presStyleCnt="0"/>
      <dgm:spPr/>
    </dgm:pt>
    <dgm:pt modelId="{D68788C8-D779-496F-A0D2-46EC98CEAB43}" type="pres">
      <dgm:prSet presAssocID="{3641298C-2933-4B5C-88F1-9C347C27954D}" presName="hierChild5" presStyleCnt="0"/>
      <dgm:spPr/>
    </dgm:pt>
    <dgm:pt modelId="{A0CB5F8B-AA95-417A-B1F1-703059BA631B}" type="pres">
      <dgm:prSet presAssocID="{9D6F5524-641C-4880-A3D1-B66718A28B97}" presName="hierChild5" presStyleCnt="0"/>
      <dgm:spPr/>
    </dgm:pt>
    <dgm:pt modelId="{DE08AF67-5004-4798-BAED-A4ABA979442B}" type="pres">
      <dgm:prSet presAssocID="{7D66D1BA-3244-4E9B-8415-402F3E3D256D}" presName="hierChild5" presStyleCnt="0"/>
      <dgm:spPr/>
    </dgm:pt>
    <dgm:pt modelId="{ABF11072-C779-4BA1-857D-852D30B701F9}" type="pres">
      <dgm:prSet presAssocID="{2B407BBF-E10D-49D4-ADC4-C4C936319F45}" presName="hierChild3" presStyleCnt="0"/>
      <dgm:spPr/>
    </dgm:pt>
  </dgm:ptLst>
  <dgm:cxnLst>
    <dgm:cxn modelId="{AEBF4021-FB7F-4929-9797-4A7C2AF951B7}" type="presOf" srcId="{EFDE3D5D-65F4-4841-9702-037A1FAA5A14}" destId="{18462861-E830-44B8-9C65-B5209170C3DE}" srcOrd="1" destOrd="0" presId="urn:microsoft.com/office/officeart/2005/8/layout/orgChart1"/>
    <dgm:cxn modelId="{D2621522-2AAD-43A8-8713-D0D8E9BA776B}" type="presOf" srcId="{04545E05-FD22-4847-AE13-EA7C975C988C}" destId="{10494BA1-96B0-4FEC-8400-EADA7A351CC3}" srcOrd="0" destOrd="0" presId="urn:microsoft.com/office/officeart/2005/8/layout/orgChart1"/>
    <dgm:cxn modelId="{6E852B2A-3574-478E-8A54-8D5EF09415D3}" type="presOf" srcId="{E70623EA-78E3-4494-85B1-76A50DD2D521}" destId="{4D0D67AD-19DA-4ECA-A253-A7B25154619A}" srcOrd="0" destOrd="0" presId="urn:microsoft.com/office/officeart/2005/8/layout/orgChart1"/>
    <dgm:cxn modelId="{B6DA862A-CC0E-42E8-ABF3-49166008C584}" type="presOf" srcId="{A6043590-332E-47B9-B18D-162167B0FADA}" destId="{EFAFBCFC-54F7-4723-8E9C-054BB94E4E0C}" srcOrd="0" destOrd="0" presId="urn:microsoft.com/office/officeart/2005/8/layout/orgChart1"/>
    <dgm:cxn modelId="{B9DBA82F-7083-4A6C-AD83-1E702A96B260}" type="presOf" srcId="{B73789E9-3BCC-4001-8F2E-C47C4FE55549}" destId="{385C4860-4F77-4438-A6D8-2957A9177BEA}" srcOrd="0" destOrd="0" presId="urn:microsoft.com/office/officeart/2005/8/layout/orgChart1"/>
    <dgm:cxn modelId="{99B23E34-4EB5-4E41-8902-58EF7178712F}" type="presOf" srcId="{CBE2C7AB-6617-4EE5-B073-496CF250BAAD}" destId="{9B6AE352-E2BB-4763-9C80-9275AADE2B4F}" srcOrd="1" destOrd="0" presId="urn:microsoft.com/office/officeart/2005/8/layout/orgChart1"/>
    <dgm:cxn modelId="{5ED7AB3A-2552-495B-9A0E-E4D650F9FA1E}" type="presOf" srcId="{04511269-CD7F-4C88-B15E-A79D32687DD9}" destId="{F37543E3-27B1-4DEB-A1EA-04DD1C4C5DDE}" srcOrd="0" destOrd="0" presId="urn:microsoft.com/office/officeart/2005/8/layout/orgChart1"/>
    <dgm:cxn modelId="{F659283B-4640-4B9D-9723-61D9B761DADE}" type="presOf" srcId="{86248B53-864C-49CE-9553-C8071A9EB2A0}" destId="{8E9A9B7E-907F-4D29-AB54-4D70C869635F}" srcOrd="0" destOrd="0" presId="urn:microsoft.com/office/officeart/2005/8/layout/orgChart1"/>
    <dgm:cxn modelId="{DCE5993B-2142-4114-AF4C-F1BA6EAA761A}" type="presOf" srcId="{921D9F10-6EA4-469D-A3D6-2FA8B9F421D4}" destId="{9C3C9FFC-6CE3-4516-BB48-0B379AF3246F}" srcOrd="0" destOrd="0" presId="urn:microsoft.com/office/officeart/2005/8/layout/orgChart1"/>
    <dgm:cxn modelId="{DEC9993D-4857-4B17-9DD6-3B13778F80D1}" type="presOf" srcId="{EBB9A858-B325-486C-8173-C7B05A2499DD}" destId="{71FE4D4A-B131-44F3-AD3E-E42695D80DA2}" srcOrd="0" destOrd="0" presId="urn:microsoft.com/office/officeart/2005/8/layout/orgChart1"/>
    <dgm:cxn modelId="{1D17453F-E370-4EAE-B1BD-A265FF0CFC66}" type="presOf" srcId="{3641298C-2933-4B5C-88F1-9C347C27954D}" destId="{7CEFD693-E055-4C50-BFA7-0C3137723433}" srcOrd="0" destOrd="0" presId="urn:microsoft.com/office/officeart/2005/8/layout/orgChart1"/>
    <dgm:cxn modelId="{8FA3D13F-C739-46CC-BFCD-04686826926F}" srcId="{2B407BBF-E10D-49D4-ADC4-C4C936319F45}" destId="{7D66D1BA-3244-4E9B-8415-402F3E3D256D}" srcOrd="1" destOrd="0" parTransId="{125F3890-B46C-4E18-B024-9FAFB884C3B6}" sibTransId="{C1644C6B-4EB3-4693-ADC1-F06434C915B2}"/>
    <dgm:cxn modelId="{5E83A340-487A-43BC-9E8B-0DF6832B34D2}" type="presOf" srcId="{04545E05-FD22-4847-AE13-EA7C975C988C}" destId="{D5AA8CCB-5EDF-4B72-9DFD-67F8E06A4CFC}" srcOrd="1" destOrd="0" presId="urn:microsoft.com/office/officeart/2005/8/layout/orgChart1"/>
    <dgm:cxn modelId="{A7574A44-A936-4D3F-8893-64C775ED60FB}" type="presOf" srcId="{E2740EFC-221D-41D6-8B2D-2EEBB2CC1DAB}" destId="{EFA2B48D-0875-4D4B-A648-0AF8BFF1025E}" srcOrd="1" destOrd="0" presId="urn:microsoft.com/office/officeart/2005/8/layout/orgChart1"/>
    <dgm:cxn modelId="{30A7E944-8618-4134-B967-D71DB151867F}" type="presOf" srcId="{CE4EF214-6531-4AA8-AE72-C93D432C505C}" destId="{FC1D3193-F46D-43A4-8062-E0EDD5DC45B8}" srcOrd="0" destOrd="0" presId="urn:microsoft.com/office/officeart/2005/8/layout/orgChart1"/>
    <dgm:cxn modelId="{13664449-EDE6-4FAD-B4B0-159FD78A33E1}" type="presOf" srcId="{921D9F10-6EA4-469D-A3D6-2FA8B9F421D4}" destId="{E4DC44BB-52EE-4F95-8B71-78BBDF92F603}" srcOrd="1" destOrd="0" presId="urn:microsoft.com/office/officeart/2005/8/layout/orgChart1"/>
    <dgm:cxn modelId="{A2ABEE4A-C59A-4A5F-A738-435174D4BD5A}" type="presOf" srcId="{374B108A-D4A2-4A80-886C-14D2711D64D9}" destId="{7DC4373B-0F8F-4FDB-B285-C238BFAE51E2}" srcOrd="0" destOrd="0" presId="urn:microsoft.com/office/officeart/2005/8/layout/orgChart1"/>
    <dgm:cxn modelId="{4F59C34B-7F3E-4C13-A6D7-B7F2467630BB}" type="presOf" srcId="{EFDE3D5D-65F4-4841-9702-037A1FAA5A14}" destId="{2560B20E-0565-4FC8-AE1B-3049EDCD181D}" srcOrd="0" destOrd="0" presId="urn:microsoft.com/office/officeart/2005/8/layout/orgChart1"/>
    <dgm:cxn modelId="{6E523471-F32C-440E-A8F6-F3B54E56910F}" type="presOf" srcId="{587D308B-B5E3-42BB-B249-CE13F6DE1870}" destId="{856D7389-7F4F-4185-A0B0-C217BF053CEC}" srcOrd="0" destOrd="0" presId="urn:microsoft.com/office/officeart/2005/8/layout/orgChart1"/>
    <dgm:cxn modelId="{B20B5172-39F3-4F25-91EC-0E1CFE611341}" type="presOf" srcId="{3641298C-2933-4B5C-88F1-9C347C27954D}" destId="{DBBBF837-32ED-41C9-AC67-6B352105A257}" srcOrd="1" destOrd="0" presId="urn:microsoft.com/office/officeart/2005/8/layout/orgChart1"/>
    <dgm:cxn modelId="{199B4478-460C-4457-B380-158C9036A1D3}" type="presOf" srcId="{E1336CA2-574E-4B0C-8040-5FDC1BB28B07}" destId="{C7A6C7CE-C4F5-4BC6-A0A8-F985343462E5}" srcOrd="0" destOrd="0" presId="urn:microsoft.com/office/officeart/2005/8/layout/orgChart1"/>
    <dgm:cxn modelId="{06ACAC79-A8B1-40B7-B87B-12927845AC3E}" type="presOf" srcId="{2B407BBF-E10D-49D4-ADC4-C4C936319F45}" destId="{7CCC9B79-2A2E-4E9B-8B25-FA4382B79E9C}" srcOrd="0" destOrd="0" presId="urn:microsoft.com/office/officeart/2005/8/layout/orgChart1"/>
    <dgm:cxn modelId="{7E5AB859-9A2C-4FF3-A10E-C3616DD80393}" type="presOf" srcId="{9194D665-D17F-46BF-9873-0877AFFA3813}" destId="{4C4EF9AA-BC71-4CDD-8053-5413FC01E663}" srcOrd="0" destOrd="0" presId="urn:microsoft.com/office/officeart/2005/8/layout/orgChart1"/>
    <dgm:cxn modelId="{C26BC979-A74D-4403-9BFF-30931AFD04E4}" type="presOf" srcId="{E2740EFC-221D-41D6-8B2D-2EEBB2CC1DAB}" destId="{A80037A4-023F-4557-8F10-D3BD4D8F16AF}" srcOrd="0" destOrd="0" presId="urn:microsoft.com/office/officeart/2005/8/layout/orgChart1"/>
    <dgm:cxn modelId="{4F237C7C-147C-46D4-B701-8B09DC6C1B60}" srcId="{9D6F5524-641C-4880-A3D1-B66718A28B97}" destId="{3641298C-2933-4B5C-88F1-9C347C27954D}" srcOrd="0" destOrd="0" parTransId="{C760F09F-23B5-4B49-9F44-1333D69CF2E0}" sibTransId="{81A1E2D8-FBFB-4CC4-9459-F17FC38521FB}"/>
    <dgm:cxn modelId="{265AF77F-1B1B-41AE-8E4B-4CB0A6E2688E}" srcId="{7D66D1BA-3244-4E9B-8415-402F3E3D256D}" destId="{9D6F5524-641C-4880-A3D1-B66718A28B97}" srcOrd="1" destOrd="0" parTransId="{B6ABD7A9-BB03-4785-8DA3-1BBC4BBEBE4E}" sibTransId="{02CFAF66-9DAD-4150-A6FF-CE1138CB7F4B}"/>
    <dgm:cxn modelId="{72012280-A35D-4345-BDCA-C97609FBD93F}" type="presOf" srcId="{E42C0361-2AF4-403D-9556-EC28E8565404}" destId="{26549DFE-1534-4633-B2B1-49E5605A2548}" srcOrd="0" destOrd="0" presId="urn:microsoft.com/office/officeart/2005/8/layout/orgChart1"/>
    <dgm:cxn modelId="{00389184-D617-404F-917A-609AA103C5A0}" type="presOf" srcId="{48ACB221-425D-4209-AF83-3454838F433E}" destId="{78382E3D-F7B7-41A6-AE23-F8106B8EA9B5}" srcOrd="0" destOrd="0" presId="urn:microsoft.com/office/officeart/2005/8/layout/orgChart1"/>
    <dgm:cxn modelId="{0DED8485-CCDF-4885-B9A3-D1247F4F8B91}" srcId="{921D9F10-6EA4-469D-A3D6-2FA8B9F421D4}" destId="{EFDE3D5D-65F4-4841-9702-037A1FAA5A14}" srcOrd="2" destOrd="0" parTransId="{CE4EF214-6531-4AA8-AE72-C93D432C505C}" sibTransId="{4685A0DE-194D-4B54-A646-3F791A5653F2}"/>
    <dgm:cxn modelId="{37DCFC88-CC17-46DA-9C21-BCA5B1C7358E}" srcId="{EFDE3D5D-65F4-4841-9702-037A1FAA5A14}" destId="{E1336CA2-574E-4B0C-8040-5FDC1BB28B07}" srcOrd="0" destOrd="0" parTransId="{59E05A3B-BDBD-4BE0-B12F-4F60768F1E4A}" sibTransId="{7948CDA1-02F6-4960-A36D-5154108F5076}"/>
    <dgm:cxn modelId="{0EE3C989-3716-4E88-B036-1A7A526EFB65}" srcId="{2B407BBF-E10D-49D4-ADC4-C4C936319F45}" destId="{921D9F10-6EA4-469D-A3D6-2FA8B9F421D4}" srcOrd="0" destOrd="0" parTransId="{374B108A-D4A2-4A80-886C-14D2711D64D9}" sibTransId="{9B57671D-B35E-4E5E-B75E-946B588954D4}"/>
    <dgm:cxn modelId="{EB0F9F8B-F9AD-441D-9C8B-6509B0AD9E6E}" type="presOf" srcId="{C760F09F-23B5-4B49-9F44-1333D69CF2E0}" destId="{A1A9F043-3973-4633-ABFF-180F34CD04B5}" srcOrd="0" destOrd="0" presId="urn:microsoft.com/office/officeart/2005/8/layout/orgChart1"/>
    <dgm:cxn modelId="{0C987993-A9CA-4DA0-8CEF-73C0AD2C2BAA}" type="presOf" srcId="{BD417481-34A1-4371-B135-E63EF8950C0B}" destId="{F1C54E49-88DF-41B8-9CE4-1580051055D3}" srcOrd="0" destOrd="0" presId="urn:microsoft.com/office/officeart/2005/8/layout/orgChart1"/>
    <dgm:cxn modelId="{1401AF9A-477B-4444-9116-33AD529A4498}" srcId="{EFDE3D5D-65F4-4841-9702-037A1FAA5A14}" destId="{587D308B-B5E3-42BB-B249-CE13F6DE1870}" srcOrd="2" destOrd="0" parTransId="{148FD8DF-3F40-4D86-A67E-ABDA340AB608}" sibTransId="{9D106E89-C498-4E3D-9591-5720CC7B9D95}"/>
    <dgm:cxn modelId="{43EB3BA3-8E7E-47E6-886E-B9B7B676597E}" srcId="{E42C0361-2AF4-403D-9556-EC28E8565404}" destId="{2B407BBF-E10D-49D4-ADC4-C4C936319F45}" srcOrd="0" destOrd="0" parTransId="{74DDAC21-A09D-4644-BA90-93C87D93DCFD}" sibTransId="{87BD3336-8813-4C80-9F0B-2E8D3D01CD6A}"/>
    <dgm:cxn modelId="{768F33AA-B7EE-4C43-80BF-BB870292F748}" type="presOf" srcId="{E1336CA2-574E-4B0C-8040-5FDC1BB28B07}" destId="{75457FEE-0D45-49A0-A782-C870B4AB5CD6}" srcOrd="1" destOrd="0" presId="urn:microsoft.com/office/officeart/2005/8/layout/orgChart1"/>
    <dgm:cxn modelId="{4E0B74AD-361B-4CAA-B029-88881EF987EB}" srcId="{7D66D1BA-3244-4E9B-8415-402F3E3D256D}" destId="{CBE2C7AB-6617-4EE5-B073-496CF250BAAD}" srcOrd="0" destOrd="0" parTransId="{7C589D82-36DA-40B0-8344-FCAC680EA735}" sibTransId="{E106E858-32B4-4C36-BC3E-35C3DD85BA47}"/>
    <dgm:cxn modelId="{CC7621B1-B50B-4CEA-BB21-519D6EDE5D5C}" type="presOf" srcId="{F39ACF81-B471-42F2-B9B4-FAEB38F17930}" destId="{9B15108C-3527-4ADE-9348-70DEF36E738E}" srcOrd="0" destOrd="0" presId="urn:microsoft.com/office/officeart/2005/8/layout/orgChart1"/>
    <dgm:cxn modelId="{9240C9B1-87A3-4C40-930F-24BE45DA2769}" type="presOf" srcId="{04511269-CD7F-4C88-B15E-A79D32687DD9}" destId="{BFEC7FB8-446C-4474-9970-701A05C015B5}" srcOrd="1" destOrd="0" presId="urn:microsoft.com/office/officeart/2005/8/layout/orgChart1"/>
    <dgm:cxn modelId="{913FCCB3-4051-47A2-9D52-0E7B531BA980}" type="presOf" srcId="{86248B53-864C-49CE-9553-C8071A9EB2A0}" destId="{D3B5CCC0-61AD-4BDA-B0E1-A1D58BFA0768}" srcOrd="1" destOrd="0" presId="urn:microsoft.com/office/officeart/2005/8/layout/orgChart1"/>
    <dgm:cxn modelId="{0B35FCB4-448C-4BD4-913C-77B4271CF3E5}" srcId="{CBE2C7AB-6617-4EE5-B073-496CF250BAAD}" destId="{86248B53-864C-49CE-9553-C8071A9EB2A0}" srcOrd="0" destOrd="0" parTransId="{48ACB221-425D-4209-AF83-3454838F433E}" sibTransId="{91FB92B2-2530-4882-A341-18892C90EF58}"/>
    <dgm:cxn modelId="{F58B6FB9-8C90-4EC2-A54D-6595D9FB9DD0}" type="presOf" srcId="{2B407BBF-E10D-49D4-ADC4-C4C936319F45}" destId="{2FB19B05-6550-4F86-8D95-E37624305099}" srcOrd="1" destOrd="0" presId="urn:microsoft.com/office/officeart/2005/8/layout/orgChart1"/>
    <dgm:cxn modelId="{F48258B9-FD94-46FF-8DB3-A3CB49A8FD6E}" type="presOf" srcId="{7D66D1BA-3244-4E9B-8415-402F3E3D256D}" destId="{D7CE84D8-5A9B-4243-BFAD-A10EC40DF307}" srcOrd="0" destOrd="0" presId="urn:microsoft.com/office/officeart/2005/8/layout/orgChart1"/>
    <dgm:cxn modelId="{39E85CBB-C155-4460-B418-ACB6054E9C42}" srcId="{587D308B-B5E3-42BB-B249-CE13F6DE1870}" destId="{E2740EFC-221D-41D6-8B2D-2EEBB2CC1DAB}" srcOrd="1" destOrd="0" parTransId="{E70623EA-78E3-4494-85B1-76A50DD2D521}" sibTransId="{A7998C02-45BE-4354-B0F3-B7BED92D3151}"/>
    <dgm:cxn modelId="{284BA1C4-2C37-4A77-B0EC-B7152D50DA3B}" type="presOf" srcId="{9D6F5524-641C-4880-A3D1-B66718A28B97}" destId="{78B41A26-2EB1-4E2B-884F-73A15160A423}" srcOrd="0" destOrd="0" presId="urn:microsoft.com/office/officeart/2005/8/layout/orgChart1"/>
    <dgm:cxn modelId="{A74FBAC5-2DB6-4FEA-8EAF-57600B5D3B14}" type="presOf" srcId="{587D308B-B5E3-42BB-B249-CE13F6DE1870}" destId="{2B771D93-605C-47A6-9CDB-BDC5A5DF58C5}" srcOrd="1" destOrd="0" presId="urn:microsoft.com/office/officeart/2005/8/layout/orgChart1"/>
    <dgm:cxn modelId="{7E6527CA-D196-464D-8B68-937823489E5B}" type="presOf" srcId="{CBE2C7AB-6617-4EE5-B073-496CF250BAAD}" destId="{90B3EEEC-4BEA-4F2C-9390-7382EBF2E384}" srcOrd="0" destOrd="0" presId="urn:microsoft.com/office/officeart/2005/8/layout/orgChart1"/>
    <dgm:cxn modelId="{6ABC92D9-A05D-48B8-9A2F-C8F6B9069288}" type="presOf" srcId="{B6ABD7A9-BB03-4785-8DA3-1BBC4BBEBE4E}" destId="{BDD18F89-A724-4748-8AE6-AAFD1C5AE2A5}" srcOrd="0" destOrd="0" presId="urn:microsoft.com/office/officeart/2005/8/layout/orgChart1"/>
    <dgm:cxn modelId="{00DE12DB-C67D-4985-BC74-B17A52073D36}" type="presOf" srcId="{BD417481-34A1-4371-B135-E63EF8950C0B}" destId="{D3540972-B845-4C48-8094-37895EC89941}" srcOrd="1" destOrd="0" presId="urn:microsoft.com/office/officeart/2005/8/layout/orgChart1"/>
    <dgm:cxn modelId="{787527DE-3AD7-4A78-A8EC-06C2114A4C80}" type="presOf" srcId="{7D66D1BA-3244-4E9B-8415-402F3E3D256D}" destId="{CD7C79BE-B9FB-49F6-BABE-D511A638DBF7}" srcOrd="1" destOrd="0" presId="urn:microsoft.com/office/officeart/2005/8/layout/orgChart1"/>
    <dgm:cxn modelId="{27391AE2-EEA1-4EEA-B7E9-BEC876D7980E}" srcId="{921D9F10-6EA4-469D-A3D6-2FA8B9F421D4}" destId="{BD417481-34A1-4371-B135-E63EF8950C0B}" srcOrd="0" destOrd="0" parTransId="{A6043590-332E-47B9-B18D-162167B0FADA}" sibTransId="{92DA3A49-F489-45C5-A5DB-62ED6BC1897C}"/>
    <dgm:cxn modelId="{0E7304E8-9AEB-428E-8062-825BB6D83050}" type="presOf" srcId="{125F3890-B46C-4E18-B024-9FAFB884C3B6}" destId="{3AC20B5E-6098-4A47-9EF1-D51B0BA7F14A}" srcOrd="0" destOrd="0" presId="urn:microsoft.com/office/officeart/2005/8/layout/orgChart1"/>
    <dgm:cxn modelId="{1AFA23F0-D761-4551-B218-9B2D8259BE7E}" srcId="{587D308B-B5E3-42BB-B249-CE13F6DE1870}" destId="{04511269-CD7F-4C88-B15E-A79D32687DD9}" srcOrd="0" destOrd="0" parTransId="{9194D665-D17F-46BF-9873-0877AFFA3813}" sibTransId="{2F972072-4AAA-47CA-AD8C-EE5F34370E48}"/>
    <dgm:cxn modelId="{2C664AF2-0C1F-440B-AE35-EC756C2F723A}" type="presOf" srcId="{9D6F5524-641C-4880-A3D1-B66718A28B97}" destId="{5EA00EE2-897F-43C1-909F-854EB98F8088}" srcOrd="1" destOrd="0" presId="urn:microsoft.com/office/officeart/2005/8/layout/orgChart1"/>
    <dgm:cxn modelId="{A69B10F6-7AA1-423D-B6AD-21FCF807CAB5}" type="presOf" srcId="{F39ACF81-B471-42F2-B9B4-FAEB38F17930}" destId="{A6D386E4-3CDD-4455-AEC2-40A2C13A78E2}" srcOrd="1" destOrd="0" presId="urn:microsoft.com/office/officeart/2005/8/layout/orgChart1"/>
    <dgm:cxn modelId="{EF32DBF8-CB73-4356-B80D-DDA6235E7B70}" type="presOf" srcId="{148FD8DF-3F40-4D86-A67E-ABDA340AB608}" destId="{B3966EA0-9522-4AC7-B0F5-45E7808C1799}" srcOrd="0" destOrd="0" presId="urn:microsoft.com/office/officeart/2005/8/layout/orgChart1"/>
    <dgm:cxn modelId="{65B120F9-6436-44C2-8A4A-B8EF00D2375A}" type="presOf" srcId="{59E05A3B-BDBD-4BE0-B12F-4F60768F1E4A}" destId="{4D637F2B-344F-44C0-9B0A-1D1AD26C24F5}" srcOrd="0" destOrd="0" presId="urn:microsoft.com/office/officeart/2005/8/layout/orgChart1"/>
    <dgm:cxn modelId="{717CD3FA-964C-468C-9368-D88F7878222E}" type="presOf" srcId="{7C589D82-36DA-40B0-8344-FCAC680EA735}" destId="{F09046E2-F351-4C0E-9903-BB63930E82C8}" srcOrd="0" destOrd="0" presId="urn:microsoft.com/office/officeart/2005/8/layout/orgChart1"/>
    <dgm:cxn modelId="{1ED671FB-13A5-4904-A22D-F16526FDE5A5}" srcId="{EFDE3D5D-65F4-4841-9702-037A1FAA5A14}" destId="{F39ACF81-B471-42F2-B9B4-FAEB38F17930}" srcOrd="1" destOrd="0" parTransId="{EBB9A858-B325-486C-8173-C7B05A2499DD}" sibTransId="{F74E3D17-9CEE-4E81-9207-91603CE734CD}"/>
    <dgm:cxn modelId="{7FBBA7FC-2875-4E28-AA60-C0E6CA307620}" srcId="{921D9F10-6EA4-469D-A3D6-2FA8B9F421D4}" destId="{04545E05-FD22-4847-AE13-EA7C975C988C}" srcOrd="1" destOrd="0" parTransId="{B73789E9-3BCC-4001-8F2E-C47C4FE55549}" sibTransId="{523A3E81-C01A-4D1B-996D-C17C7A1DB4AA}"/>
    <dgm:cxn modelId="{FC24323E-8B17-490D-AE8B-D10577C4C1D2}" type="presParOf" srcId="{26549DFE-1534-4633-B2B1-49E5605A2548}" destId="{F38C306E-80B9-4389-A53B-F4BACE4F9B88}" srcOrd="0" destOrd="0" presId="urn:microsoft.com/office/officeart/2005/8/layout/orgChart1"/>
    <dgm:cxn modelId="{248ED9AA-6719-4876-9367-1AFB656FE323}" type="presParOf" srcId="{F38C306E-80B9-4389-A53B-F4BACE4F9B88}" destId="{32342361-4138-47A3-B99E-B47EE0667514}" srcOrd="0" destOrd="0" presId="urn:microsoft.com/office/officeart/2005/8/layout/orgChart1"/>
    <dgm:cxn modelId="{6E51E323-82B3-44AC-B553-5CA515A2E762}" type="presParOf" srcId="{32342361-4138-47A3-B99E-B47EE0667514}" destId="{7CCC9B79-2A2E-4E9B-8B25-FA4382B79E9C}" srcOrd="0" destOrd="0" presId="urn:microsoft.com/office/officeart/2005/8/layout/orgChart1"/>
    <dgm:cxn modelId="{DFF929E3-AE63-49DF-BBFE-FC36F88E33E5}" type="presParOf" srcId="{32342361-4138-47A3-B99E-B47EE0667514}" destId="{2FB19B05-6550-4F86-8D95-E37624305099}" srcOrd="1" destOrd="0" presId="urn:microsoft.com/office/officeart/2005/8/layout/orgChart1"/>
    <dgm:cxn modelId="{EA68564B-FE1B-48D0-9FF5-351F3863F76F}" type="presParOf" srcId="{F38C306E-80B9-4389-A53B-F4BACE4F9B88}" destId="{97FC22E7-04EE-461B-8D57-99113EAC0E23}" srcOrd="1" destOrd="0" presId="urn:microsoft.com/office/officeart/2005/8/layout/orgChart1"/>
    <dgm:cxn modelId="{D05F8842-19ED-48F7-A493-3795C1520315}" type="presParOf" srcId="{97FC22E7-04EE-461B-8D57-99113EAC0E23}" destId="{7DC4373B-0F8F-4FDB-B285-C238BFAE51E2}" srcOrd="0" destOrd="0" presId="urn:microsoft.com/office/officeart/2005/8/layout/orgChart1"/>
    <dgm:cxn modelId="{A60B16C9-336E-4614-9C9C-6E6B403A2081}" type="presParOf" srcId="{97FC22E7-04EE-461B-8D57-99113EAC0E23}" destId="{D80E65C5-4A65-4A50-A036-DA008FC61B1A}" srcOrd="1" destOrd="0" presId="urn:microsoft.com/office/officeart/2005/8/layout/orgChart1"/>
    <dgm:cxn modelId="{1C9E0861-8D7E-4F28-BFC1-CDF715E0F93C}" type="presParOf" srcId="{D80E65C5-4A65-4A50-A036-DA008FC61B1A}" destId="{9007D6C1-5DF8-47E7-9014-3596A338CB58}" srcOrd="0" destOrd="0" presId="urn:microsoft.com/office/officeart/2005/8/layout/orgChart1"/>
    <dgm:cxn modelId="{CDA6D129-1DE2-47B9-ACA6-33EC10EB3660}" type="presParOf" srcId="{9007D6C1-5DF8-47E7-9014-3596A338CB58}" destId="{9C3C9FFC-6CE3-4516-BB48-0B379AF3246F}" srcOrd="0" destOrd="0" presId="urn:microsoft.com/office/officeart/2005/8/layout/orgChart1"/>
    <dgm:cxn modelId="{4CE3F15E-0A16-4A9A-A77E-3E7E4B08C246}" type="presParOf" srcId="{9007D6C1-5DF8-47E7-9014-3596A338CB58}" destId="{E4DC44BB-52EE-4F95-8B71-78BBDF92F603}" srcOrd="1" destOrd="0" presId="urn:microsoft.com/office/officeart/2005/8/layout/orgChart1"/>
    <dgm:cxn modelId="{F3D3651D-E42A-46E4-8F8B-ADADC8F2A11D}" type="presParOf" srcId="{D80E65C5-4A65-4A50-A036-DA008FC61B1A}" destId="{3A6F3DC8-075D-4FF7-B421-14773B0AAF78}" srcOrd="1" destOrd="0" presId="urn:microsoft.com/office/officeart/2005/8/layout/orgChart1"/>
    <dgm:cxn modelId="{5B3BFD59-70F3-4C6D-A3CE-97C58C21DDC1}" type="presParOf" srcId="{3A6F3DC8-075D-4FF7-B421-14773B0AAF78}" destId="{EFAFBCFC-54F7-4723-8E9C-054BB94E4E0C}" srcOrd="0" destOrd="0" presId="urn:microsoft.com/office/officeart/2005/8/layout/orgChart1"/>
    <dgm:cxn modelId="{A3A17FFA-2762-4AEF-835F-3EB0C044E087}" type="presParOf" srcId="{3A6F3DC8-075D-4FF7-B421-14773B0AAF78}" destId="{558D10C8-158C-46E7-A378-2CADB2051E33}" srcOrd="1" destOrd="0" presId="urn:microsoft.com/office/officeart/2005/8/layout/orgChart1"/>
    <dgm:cxn modelId="{CB965653-E8A8-4220-8489-561EF316FDC6}" type="presParOf" srcId="{558D10C8-158C-46E7-A378-2CADB2051E33}" destId="{24E1D088-2493-44C7-A467-6827E274B704}" srcOrd="0" destOrd="0" presId="urn:microsoft.com/office/officeart/2005/8/layout/orgChart1"/>
    <dgm:cxn modelId="{B1C7E3C4-547D-468C-AB50-A37D1A2A6281}" type="presParOf" srcId="{24E1D088-2493-44C7-A467-6827E274B704}" destId="{F1C54E49-88DF-41B8-9CE4-1580051055D3}" srcOrd="0" destOrd="0" presId="urn:microsoft.com/office/officeart/2005/8/layout/orgChart1"/>
    <dgm:cxn modelId="{2BDFF210-9FCB-4DE9-A2A3-BD97CF669C08}" type="presParOf" srcId="{24E1D088-2493-44C7-A467-6827E274B704}" destId="{D3540972-B845-4C48-8094-37895EC89941}" srcOrd="1" destOrd="0" presId="urn:microsoft.com/office/officeart/2005/8/layout/orgChart1"/>
    <dgm:cxn modelId="{D681B642-74A6-47C9-9370-09F4EAA16687}" type="presParOf" srcId="{558D10C8-158C-46E7-A378-2CADB2051E33}" destId="{BDD70F0D-6DFA-49DE-B502-45FF7B3DF169}" srcOrd="1" destOrd="0" presId="urn:microsoft.com/office/officeart/2005/8/layout/orgChart1"/>
    <dgm:cxn modelId="{70801E2D-BA96-41EF-8143-936D798AC622}" type="presParOf" srcId="{558D10C8-158C-46E7-A378-2CADB2051E33}" destId="{231B4D3A-C7DA-472B-90B5-B69CC3C55288}" srcOrd="2" destOrd="0" presId="urn:microsoft.com/office/officeart/2005/8/layout/orgChart1"/>
    <dgm:cxn modelId="{02E753FE-1CF7-40C0-AF8B-F91406B37D27}" type="presParOf" srcId="{3A6F3DC8-075D-4FF7-B421-14773B0AAF78}" destId="{385C4860-4F77-4438-A6D8-2957A9177BEA}" srcOrd="2" destOrd="0" presId="urn:microsoft.com/office/officeart/2005/8/layout/orgChart1"/>
    <dgm:cxn modelId="{8AADAFDD-D9A6-448E-AD06-7B1E704CCC33}" type="presParOf" srcId="{3A6F3DC8-075D-4FF7-B421-14773B0AAF78}" destId="{C4B09100-59A7-4020-91A7-587A330C6559}" srcOrd="3" destOrd="0" presId="urn:microsoft.com/office/officeart/2005/8/layout/orgChart1"/>
    <dgm:cxn modelId="{8B7CE0D8-B656-4857-A05C-2F6B31FAE206}" type="presParOf" srcId="{C4B09100-59A7-4020-91A7-587A330C6559}" destId="{3E902D51-E2DE-404C-90C4-13C1EE88CCE0}" srcOrd="0" destOrd="0" presId="urn:microsoft.com/office/officeart/2005/8/layout/orgChart1"/>
    <dgm:cxn modelId="{8C11FDF4-B1BD-4970-B9D5-CD41F20D3120}" type="presParOf" srcId="{3E902D51-E2DE-404C-90C4-13C1EE88CCE0}" destId="{10494BA1-96B0-4FEC-8400-EADA7A351CC3}" srcOrd="0" destOrd="0" presId="urn:microsoft.com/office/officeart/2005/8/layout/orgChart1"/>
    <dgm:cxn modelId="{2A4CA686-BB70-4AA4-8F20-6F5BBC35C1EB}" type="presParOf" srcId="{3E902D51-E2DE-404C-90C4-13C1EE88CCE0}" destId="{D5AA8CCB-5EDF-4B72-9DFD-67F8E06A4CFC}" srcOrd="1" destOrd="0" presId="urn:microsoft.com/office/officeart/2005/8/layout/orgChart1"/>
    <dgm:cxn modelId="{7A992812-1916-4A2B-A078-711F8C1F8482}" type="presParOf" srcId="{C4B09100-59A7-4020-91A7-587A330C6559}" destId="{D49D2C08-BC5B-467A-9135-03FA6EA1797E}" srcOrd="1" destOrd="0" presId="urn:microsoft.com/office/officeart/2005/8/layout/orgChart1"/>
    <dgm:cxn modelId="{15F21C10-8DE5-4003-9149-F47391B49719}" type="presParOf" srcId="{C4B09100-59A7-4020-91A7-587A330C6559}" destId="{9D6586DD-29A1-4224-9726-5D5CB64EC702}" srcOrd="2" destOrd="0" presId="urn:microsoft.com/office/officeart/2005/8/layout/orgChart1"/>
    <dgm:cxn modelId="{E0713C52-DF29-478D-827D-1DFCB08D7080}" type="presParOf" srcId="{3A6F3DC8-075D-4FF7-B421-14773B0AAF78}" destId="{FC1D3193-F46D-43A4-8062-E0EDD5DC45B8}" srcOrd="4" destOrd="0" presId="urn:microsoft.com/office/officeart/2005/8/layout/orgChart1"/>
    <dgm:cxn modelId="{BE360179-C255-4242-B51D-F09F2A46BA59}" type="presParOf" srcId="{3A6F3DC8-075D-4FF7-B421-14773B0AAF78}" destId="{1905A84F-505B-4C4E-B12C-00A9B87A9F28}" srcOrd="5" destOrd="0" presId="urn:microsoft.com/office/officeart/2005/8/layout/orgChart1"/>
    <dgm:cxn modelId="{720261FC-6CA2-437C-A977-0C1F72C95507}" type="presParOf" srcId="{1905A84F-505B-4C4E-B12C-00A9B87A9F28}" destId="{1BFC7160-548F-4B49-ADCE-C446F3ABBC1B}" srcOrd="0" destOrd="0" presId="urn:microsoft.com/office/officeart/2005/8/layout/orgChart1"/>
    <dgm:cxn modelId="{0C89D0D7-9248-484E-A8F6-6C6930B71E9E}" type="presParOf" srcId="{1BFC7160-548F-4B49-ADCE-C446F3ABBC1B}" destId="{2560B20E-0565-4FC8-AE1B-3049EDCD181D}" srcOrd="0" destOrd="0" presId="urn:microsoft.com/office/officeart/2005/8/layout/orgChart1"/>
    <dgm:cxn modelId="{DD2144A4-1251-4CF4-AACC-83E36EF37F9E}" type="presParOf" srcId="{1BFC7160-548F-4B49-ADCE-C446F3ABBC1B}" destId="{18462861-E830-44B8-9C65-B5209170C3DE}" srcOrd="1" destOrd="0" presId="urn:microsoft.com/office/officeart/2005/8/layout/orgChart1"/>
    <dgm:cxn modelId="{07536890-F37C-4415-855E-37F46EEB96FB}" type="presParOf" srcId="{1905A84F-505B-4C4E-B12C-00A9B87A9F28}" destId="{DACC8BCC-22D1-4CA1-BC65-9DA7D8650A06}" srcOrd="1" destOrd="0" presId="urn:microsoft.com/office/officeart/2005/8/layout/orgChart1"/>
    <dgm:cxn modelId="{B94A60EE-CDF3-4646-8FEA-726C65689519}" type="presParOf" srcId="{DACC8BCC-22D1-4CA1-BC65-9DA7D8650A06}" destId="{4D637F2B-344F-44C0-9B0A-1D1AD26C24F5}" srcOrd="0" destOrd="0" presId="urn:microsoft.com/office/officeart/2005/8/layout/orgChart1"/>
    <dgm:cxn modelId="{27E12382-EC9E-4A44-8E0A-752DFC321B77}" type="presParOf" srcId="{DACC8BCC-22D1-4CA1-BC65-9DA7D8650A06}" destId="{A2A45B30-1AC7-4DEE-B560-EB6A4D8FB1AC}" srcOrd="1" destOrd="0" presId="urn:microsoft.com/office/officeart/2005/8/layout/orgChart1"/>
    <dgm:cxn modelId="{291CD5EE-F64F-471E-83F5-0512F41E8FE4}" type="presParOf" srcId="{A2A45B30-1AC7-4DEE-B560-EB6A4D8FB1AC}" destId="{6ACC8648-C4B5-4491-8632-799D147C0B39}" srcOrd="0" destOrd="0" presId="urn:microsoft.com/office/officeart/2005/8/layout/orgChart1"/>
    <dgm:cxn modelId="{EADFE528-FA89-4313-A369-4D6AA432E9CF}" type="presParOf" srcId="{6ACC8648-C4B5-4491-8632-799D147C0B39}" destId="{C7A6C7CE-C4F5-4BC6-A0A8-F985343462E5}" srcOrd="0" destOrd="0" presId="urn:microsoft.com/office/officeart/2005/8/layout/orgChart1"/>
    <dgm:cxn modelId="{3976C859-142D-4B58-9642-1251780363D8}" type="presParOf" srcId="{6ACC8648-C4B5-4491-8632-799D147C0B39}" destId="{75457FEE-0D45-49A0-A782-C870B4AB5CD6}" srcOrd="1" destOrd="0" presId="urn:microsoft.com/office/officeart/2005/8/layout/orgChart1"/>
    <dgm:cxn modelId="{8FB46F4A-2C9D-4B45-8D60-62A7BCF42491}" type="presParOf" srcId="{A2A45B30-1AC7-4DEE-B560-EB6A4D8FB1AC}" destId="{FAA2195F-DF91-4CA3-AADB-27174F1AA273}" srcOrd="1" destOrd="0" presId="urn:microsoft.com/office/officeart/2005/8/layout/orgChart1"/>
    <dgm:cxn modelId="{6A65124F-7B0A-4D6E-961E-0EE36CC08182}" type="presParOf" srcId="{A2A45B30-1AC7-4DEE-B560-EB6A4D8FB1AC}" destId="{D932BBDD-49A2-4146-ACDA-39499D71F8FA}" srcOrd="2" destOrd="0" presId="urn:microsoft.com/office/officeart/2005/8/layout/orgChart1"/>
    <dgm:cxn modelId="{DD51CAFD-DD10-45A0-920C-B9E782F7ED28}" type="presParOf" srcId="{DACC8BCC-22D1-4CA1-BC65-9DA7D8650A06}" destId="{71FE4D4A-B131-44F3-AD3E-E42695D80DA2}" srcOrd="2" destOrd="0" presId="urn:microsoft.com/office/officeart/2005/8/layout/orgChart1"/>
    <dgm:cxn modelId="{08A116E3-C42F-4459-A381-1537E6852F9B}" type="presParOf" srcId="{DACC8BCC-22D1-4CA1-BC65-9DA7D8650A06}" destId="{6CA11D68-94BE-40DC-A318-8D90D5B4390F}" srcOrd="3" destOrd="0" presId="urn:microsoft.com/office/officeart/2005/8/layout/orgChart1"/>
    <dgm:cxn modelId="{6FA3C652-D800-4F92-84B2-977471119851}" type="presParOf" srcId="{6CA11D68-94BE-40DC-A318-8D90D5B4390F}" destId="{FE9B323D-1E65-4F7B-9032-040EBE5121BA}" srcOrd="0" destOrd="0" presId="urn:microsoft.com/office/officeart/2005/8/layout/orgChart1"/>
    <dgm:cxn modelId="{6C96A99A-058D-4922-93F5-07A3B3A466C2}" type="presParOf" srcId="{FE9B323D-1E65-4F7B-9032-040EBE5121BA}" destId="{9B15108C-3527-4ADE-9348-70DEF36E738E}" srcOrd="0" destOrd="0" presId="urn:microsoft.com/office/officeart/2005/8/layout/orgChart1"/>
    <dgm:cxn modelId="{311D1FC4-1899-48FB-918C-9E10481D2490}" type="presParOf" srcId="{FE9B323D-1E65-4F7B-9032-040EBE5121BA}" destId="{A6D386E4-3CDD-4455-AEC2-40A2C13A78E2}" srcOrd="1" destOrd="0" presId="urn:microsoft.com/office/officeart/2005/8/layout/orgChart1"/>
    <dgm:cxn modelId="{6FAAFF57-2738-4C4D-943A-B93B91701DC1}" type="presParOf" srcId="{6CA11D68-94BE-40DC-A318-8D90D5B4390F}" destId="{4903F1FC-B05A-473D-9CE6-9D87B13BC2D5}" srcOrd="1" destOrd="0" presId="urn:microsoft.com/office/officeart/2005/8/layout/orgChart1"/>
    <dgm:cxn modelId="{EAB24300-A9A9-4334-837E-C36F512467B7}" type="presParOf" srcId="{6CA11D68-94BE-40DC-A318-8D90D5B4390F}" destId="{34CB2547-BD71-46F2-9D74-7723B4F3E28F}" srcOrd="2" destOrd="0" presId="urn:microsoft.com/office/officeart/2005/8/layout/orgChart1"/>
    <dgm:cxn modelId="{7212903F-F56C-45DD-930A-446BD878C96A}" type="presParOf" srcId="{DACC8BCC-22D1-4CA1-BC65-9DA7D8650A06}" destId="{B3966EA0-9522-4AC7-B0F5-45E7808C1799}" srcOrd="4" destOrd="0" presId="urn:microsoft.com/office/officeart/2005/8/layout/orgChart1"/>
    <dgm:cxn modelId="{F5BE8F9B-939F-44DB-9799-5FA81AE41A17}" type="presParOf" srcId="{DACC8BCC-22D1-4CA1-BC65-9DA7D8650A06}" destId="{3CAA5141-46B8-48E4-B485-3353040B4DA6}" srcOrd="5" destOrd="0" presId="urn:microsoft.com/office/officeart/2005/8/layout/orgChart1"/>
    <dgm:cxn modelId="{0E12C274-641C-4566-A972-E0AE372EF148}" type="presParOf" srcId="{3CAA5141-46B8-48E4-B485-3353040B4DA6}" destId="{AC6C15FB-312F-4136-8740-FDE1D7038737}" srcOrd="0" destOrd="0" presId="urn:microsoft.com/office/officeart/2005/8/layout/orgChart1"/>
    <dgm:cxn modelId="{EA81154D-B7E6-4307-B62D-F77C49718D61}" type="presParOf" srcId="{AC6C15FB-312F-4136-8740-FDE1D7038737}" destId="{856D7389-7F4F-4185-A0B0-C217BF053CEC}" srcOrd="0" destOrd="0" presId="urn:microsoft.com/office/officeart/2005/8/layout/orgChart1"/>
    <dgm:cxn modelId="{868A838C-E453-4B07-8C81-450D201B09E0}" type="presParOf" srcId="{AC6C15FB-312F-4136-8740-FDE1D7038737}" destId="{2B771D93-605C-47A6-9CDB-BDC5A5DF58C5}" srcOrd="1" destOrd="0" presId="urn:microsoft.com/office/officeart/2005/8/layout/orgChart1"/>
    <dgm:cxn modelId="{F6B375C1-9516-44CA-92A9-0DFEEC7DFA30}" type="presParOf" srcId="{3CAA5141-46B8-48E4-B485-3353040B4DA6}" destId="{1B9F65EC-1516-4C0D-AC7E-B01BCB14AD1C}" srcOrd="1" destOrd="0" presId="urn:microsoft.com/office/officeart/2005/8/layout/orgChart1"/>
    <dgm:cxn modelId="{DA6BADC4-B236-4122-8FA2-3A7462CC48E1}" type="presParOf" srcId="{1B9F65EC-1516-4C0D-AC7E-B01BCB14AD1C}" destId="{4C4EF9AA-BC71-4CDD-8053-5413FC01E663}" srcOrd="0" destOrd="0" presId="urn:microsoft.com/office/officeart/2005/8/layout/orgChart1"/>
    <dgm:cxn modelId="{6F6706CB-58FF-44AF-8396-CBBBD43A4D6D}" type="presParOf" srcId="{1B9F65EC-1516-4C0D-AC7E-B01BCB14AD1C}" destId="{C54CE29A-746C-47C3-B538-9A9681338A4B}" srcOrd="1" destOrd="0" presId="urn:microsoft.com/office/officeart/2005/8/layout/orgChart1"/>
    <dgm:cxn modelId="{502BCCCD-2573-436E-969A-9CDBF6B98968}" type="presParOf" srcId="{C54CE29A-746C-47C3-B538-9A9681338A4B}" destId="{F3B3CFFC-BD7A-4BD4-A37D-8BF88F6D6A66}" srcOrd="0" destOrd="0" presId="urn:microsoft.com/office/officeart/2005/8/layout/orgChart1"/>
    <dgm:cxn modelId="{0D32A1B5-1634-42C5-87F6-F8DE77F96DDB}" type="presParOf" srcId="{F3B3CFFC-BD7A-4BD4-A37D-8BF88F6D6A66}" destId="{F37543E3-27B1-4DEB-A1EA-04DD1C4C5DDE}" srcOrd="0" destOrd="0" presId="urn:microsoft.com/office/officeart/2005/8/layout/orgChart1"/>
    <dgm:cxn modelId="{FCEA0465-114A-49CE-80FC-D67280E0FE6F}" type="presParOf" srcId="{F3B3CFFC-BD7A-4BD4-A37D-8BF88F6D6A66}" destId="{BFEC7FB8-446C-4474-9970-701A05C015B5}" srcOrd="1" destOrd="0" presId="urn:microsoft.com/office/officeart/2005/8/layout/orgChart1"/>
    <dgm:cxn modelId="{BB7EFA65-7C38-4475-9E8F-53E817C29B8B}" type="presParOf" srcId="{C54CE29A-746C-47C3-B538-9A9681338A4B}" destId="{7BFCAD73-E6D3-4BBD-A7FE-81F9498BDF49}" srcOrd="1" destOrd="0" presId="urn:microsoft.com/office/officeart/2005/8/layout/orgChart1"/>
    <dgm:cxn modelId="{11F9413C-3E03-43D7-86FE-4BF0A2CB0CF6}" type="presParOf" srcId="{C54CE29A-746C-47C3-B538-9A9681338A4B}" destId="{E9B4CEC1-4512-4B95-8418-6F4579FEE020}" srcOrd="2" destOrd="0" presId="urn:microsoft.com/office/officeart/2005/8/layout/orgChart1"/>
    <dgm:cxn modelId="{CE9ACADE-E720-48E0-AC46-2962A7F5CE20}" type="presParOf" srcId="{1B9F65EC-1516-4C0D-AC7E-B01BCB14AD1C}" destId="{4D0D67AD-19DA-4ECA-A253-A7B25154619A}" srcOrd="2" destOrd="0" presId="urn:microsoft.com/office/officeart/2005/8/layout/orgChart1"/>
    <dgm:cxn modelId="{543EAF04-01E1-45E5-9461-6BCD30035786}" type="presParOf" srcId="{1B9F65EC-1516-4C0D-AC7E-B01BCB14AD1C}" destId="{BCFA5F45-CC54-4685-B520-DBD7D18A775A}" srcOrd="3" destOrd="0" presId="urn:microsoft.com/office/officeart/2005/8/layout/orgChart1"/>
    <dgm:cxn modelId="{959BC2B9-EFC9-4BA4-9CF3-59E9E9E67698}" type="presParOf" srcId="{BCFA5F45-CC54-4685-B520-DBD7D18A775A}" destId="{4E112E6D-8220-48DF-8426-656BCEC9E686}" srcOrd="0" destOrd="0" presId="urn:microsoft.com/office/officeart/2005/8/layout/orgChart1"/>
    <dgm:cxn modelId="{BA99FBC5-2D17-416C-80BC-E72561B5E4A6}" type="presParOf" srcId="{4E112E6D-8220-48DF-8426-656BCEC9E686}" destId="{A80037A4-023F-4557-8F10-D3BD4D8F16AF}" srcOrd="0" destOrd="0" presId="urn:microsoft.com/office/officeart/2005/8/layout/orgChart1"/>
    <dgm:cxn modelId="{2D3B1B1B-E42A-4548-8EB2-4F5DD627453C}" type="presParOf" srcId="{4E112E6D-8220-48DF-8426-656BCEC9E686}" destId="{EFA2B48D-0875-4D4B-A648-0AF8BFF1025E}" srcOrd="1" destOrd="0" presId="urn:microsoft.com/office/officeart/2005/8/layout/orgChart1"/>
    <dgm:cxn modelId="{8C703581-5165-4854-892E-5EC48A8AB936}" type="presParOf" srcId="{BCFA5F45-CC54-4685-B520-DBD7D18A775A}" destId="{C6F157B0-0DA4-42AB-940F-A165C7623492}" srcOrd="1" destOrd="0" presId="urn:microsoft.com/office/officeart/2005/8/layout/orgChart1"/>
    <dgm:cxn modelId="{29140384-D2AA-48FD-9918-C9B35CDDF561}" type="presParOf" srcId="{BCFA5F45-CC54-4685-B520-DBD7D18A775A}" destId="{90C6DCB9-E905-46E7-B022-F8779B1F80BC}" srcOrd="2" destOrd="0" presId="urn:microsoft.com/office/officeart/2005/8/layout/orgChart1"/>
    <dgm:cxn modelId="{5762C139-F2E9-4BCA-9881-FA8501C3038A}" type="presParOf" srcId="{3CAA5141-46B8-48E4-B485-3353040B4DA6}" destId="{932C5543-0BEF-406C-B7BA-70E7AF834A9F}" srcOrd="2" destOrd="0" presId="urn:microsoft.com/office/officeart/2005/8/layout/orgChart1"/>
    <dgm:cxn modelId="{609FD330-4CFA-45F0-B0B3-F392D12819C6}" type="presParOf" srcId="{1905A84F-505B-4C4E-B12C-00A9B87A9F28}" destId="{2013EFB3-CC14-4DDF-AC71-0D5F955551D2}" srcOrd="2" destOrd="0" presId="urn:microsoft.com/office/officeart/2005/8/layout/orgChart1"/>
    <dgm:cxn modelId="{F10EB1F8-5579-41F5-B028-CE3538C82A74}" type="presParOf" srcId="{D80E65C5-4A65-4A50-A036-DA008FC61B1A}" destId="{C5254BF7-106D-435B-8786-962FFD9ADB33}" srcOrd="2" destOrd="0" presId="urn:microsoft.com/office/officeart/2005/8/layout/orgChart1"/>
    <dgm:cxn modelId="{5774A5C2-96B5-49F8-BBB6-F3247AF335C4}" type="presParOf" srcId="{97FC22E7-04EE-461B-8D57-99113EAC0E23}" destId="{3AC20B5E-6098-4A47-9EF1-D51B0BA7F14A}" srcOrd="2" destOrd="0" presId="urn:microsoft.com/office/officeart/2005/8/layout/orgChart1"/>
    <dgm:cxn modelId="{5979DA71-9119-4751-A584-48FF37F66331}" type="presParOf" srcId="{97FC22E7-04EE-461B-8D57-99113EAC0E23}" destId="{C33C7935-7273-4F7B-BE0C-3AF9BA94BE25}" srcOrd="3" destOrd="0" presId="urn:microsoft.com/office/officeart/2005/8/layout/orgChart1"/>
    <dgm:cxn modelId="{11EEF6E7-AEA7-4B9C-B077-C860C95E8E9D}" type="presParOf" srcId="{C33C7935-7273-4F7B-BE0C-3AF9BA94BE25}" destId="{CDE1020B-9BE0-463D-B36C-8F44FA1C50C0}" srcOrd="0" destOrd="0" presId="urn:microsoft.com/office/officeart/2005/8/layout/orgChart1"/>
    <dgm:cxn modelId="{70B9C419-7EBF-4327-9B77-419490EA04FF}" type="presParOf" srcId="{CDE1020B-9BE0-463D-B36C-8F44FA1C50C0}" destId="{D7CE84D8-5A9B-4243-BFAD-A10EC40DF307}" srcOrd="0" destOrd="0" presId="urn:microsoft.com/office/officeart/2005/8/layout/orgChart1"/>
    <dgm:cxn modelId="{BCE92820-AD08-4F12-BBF3-9F887FCB5A68}" type="presParOf" srcId="{CDE1020B-9BE0-463D-B36C-8F44FA1C50C0}" destId="{CD7C79BE-B9FB-49F6-BABE-D511A638DBF7}" srcOrd="1" destOrd="0" presId="urn:microsoft.com/office/officeart/2005/8/layout/orgChart1"/>
    <dgm:cxn modelId="{432376B3-805A-48A3-987D-F0DA792B4CF1}" type="presParOf" srcId="{C33C7935-7273-4F7B-BE0C-3AF9BA94BE25}" destId="{D2208961-EE10-474B-9741-D45FF2212D3F}" srcOrd="1" destOrd="0" presId="urn:microsoft.com/office/officeart/2005/8/layout/orgChart1"/>
    <dgm:cxn modelId="{8ABCBFDA-4C3E-40E5-AC9E-33D1BCF15791}" type="presParOf" srcId="{D2208961-EE10-474B-9741-D45FF2212D3F}" destId="{F09046E2-F351-4C0E-9903-BB63930E82C8}" srcOrd="0" destOrd="0" presId="urn:microsoft.com/office/officeart/2005/8/layout/orgChart1"/>
    <dgm:cxn modelId="{52D2E99C-2592-45A1-AD90-75BFE0402B6D}" type="presParOf" srcId="{D2208961-EE10-474B-9741-D45FF2212D3F}" destId="{08CD7F7B-216B-4586-B91D-0874BBDE3D00}" srcOrd="1" destOrd="0" presId="urn:microsoft.com/office/officeart/2005/8/layout/orgChart1"/>
    <dgm:cxn modelId="{05D8D9CF-EC19-48B0-8593-9DA6580A91AE}" type="presParOf" srcId="{08CD7F7B-216B-4586-B91D-0874BBDE3D00}" destId="{D1447F47-51ED-4AC6-AFC5-957AB908B56A}" srcOrd="0" destOrd="0" presId="urn:microsoft.com/office/officeart/2005/8/layout/orgChart1"/>
    <dgm:cxn modelId="{2CB1B389-E216-4858-9748-C7F4BDBAB80C}" type="presParOf" srcId="{D1447F47-51ED-4AC6-AFC5-957AB908B56A}" destId="{90B3EEEC-4BEA-4F2C-9390-7382EBF2E384}" srcOrd="0" destOrd="0" presId="urn:microsoft.com/office/officeart/2005/8/layout/orgChart1"/>
    <dgm:cxn modelId="{88E6E208-375B-401B-9896-2FFF9754B7F4}" type="presParOf" srcId="{D1447F47-51ED-4AC6-AFC5-957AB908B56A}" destId="{9B6AE352-E2BB-4763-9C80-9275AADE2B4F}" srcOrd="1" destOrd="0" presId="urn:microsoft.com/office/officeart/2005/8/layout/orgChart1"/>
    <dgm:cxn modelId="{7F620D54-4EC5-443A-B4E0-E5B054BEEA14}" type="presParOf" srcId="{08CD7F7B-216B-4586-B91D-0874BBDE3D00}" destId="{28B79522-40EA-48DB-92E1-33DE2D734146}" srcOrd="1" destOrd="0" presId="urn:microsoft.com/office/officeart/2005/8/layout/orgChart1"/>
    <dgm:cxn modelId="{06B7142F-8D4F-4F01-8B44-EFA2261A06DE}" type="presParOf" srcId="{28B79522-40EA-48DB-92E1-33DE2D734146}" destId="{78382E3D-F7B7-41A6-AE23-F8106B8EA9B5}" srcOrd="0" destOrd="0" presId="urn:microsoft.com/office/officeart/2005/8/layout/orgChart1"/>
    <dgm:cxn modelId="{62A42F24-B65E-4651-B3F0-94FBD44E532E}" type="presParOf" srcId="{28B79522-40EA-48DB-92E1-33DE2D734146}" destId="{2DA4D414-AEEA-49BA-9652-CDB5986A94D4}" srcOrd="1" destOrd="0" presId="urn:microsoft.com/office/officeart/2005/8/layout/orgChart1"/>
    <dgm:cxn modelId="{B2B174A1-E5B0-4A76-ADB1-CC10003BA91B}" type="presParOf" srcId="{2DA4D414-AEEA-49BA-9652-CDB5986A94D4}" destId="{C4C210AA-5A34-4BA3-88F9-AB0B0D4B6CC3}" srcOrd="0" destOrd="0" presId="urn:microsoft.com/office/officeart/2005/8/layout/orgChart1"/>
    <dgm:cxn modelId="{13BFEE5D-EB40-4ACB-B613-FE13769558FB}" type="presParOf" srcId="{C4C210AA-5A34-4BA3-88F9-AB0B0D4B6CC3}" destId="{8E9A9B7E-907F-4D29-AB54-4D70C869635F}" srcOrd="0" destOrd="0" presId="urn:microsoft.com/office/officeart/2005/8/layout/orgChart1"/>
    <dgm:cxn modelId="{656F7135-0286-4544-A420-0DE88ED15EFC}" type="presParOf" srcId="{C4C210AA-5A34-4BA3-88F9-AB0B0D4B6CC3}" destId="{D3B5CCC0-61AD-4BDA-B0E1-A1D58BFA0768}" srcOrd="1" destOrd="0" presId="urn:microsoft.com/office/officeart/2005/8/layout/orgChart1"/>
    <dgm:cxn modelId="{9C581106-BF0A-4C8C-808C-8A0F0BD142A2}" type="presParOf" srcId="{2DA4D414-AEEA-49BA-9652-CDB5986A94D4}" destId="{E0765B0E-DE63-4B4D-99BD-3DC42B5DF482}" srcOrd="1" destOrd="0" presId="urn:microsoft.com/office/officeart/2005/8/layout/orgChart1"/>
    <dgm:cxn modelId="{14E459B3-3CB0-49D8-8979-5659B6276B10}" type="presParOf" srcId="{2DA4D414-AEEA-49BA-9652-CDB5986A94D4}" destId="{CAEAD495-8156-4CEE-9168-3BDD3043483E}" srcOrd="2" destOrd="0" presId="urn:microsoft.com/office/officeart/2005/8/layout/orgChart1"/>
    <dgm:cxn modelId="{C6AE33D9-4488-4D4A-84A2-78B2B9C1DED9}" type="presParOf" srcId="{08CD7F7B-216B-4586-B91D-0874BBDE3D00}" destId="{2794F0D2-5018-4442-80B1-53876772A39B}" srcOrd="2" destOrd="0" presId="urn:microsoft.com/office/officeart/2005/8/layout/orgChart1"/>
    <dgm:cxn modelId="{7742A079-7866-4E65-9643-6790507E8BFA}" type="presParOf" srcId="{D2208961-EE10-474B-9741-D45FF2212D3F}" destId="{BDD18F89-A724-4748-8AE6-AAFD1C5AE2A5}" srcOrd="2" destOrd="0" presId="urn:microsoft.com/office/officeart/2005/8/layout/orgChart1"/>
    <dgm:cxn modelId="{29C2ED6A-9105-460B-B1CB-30F44BDEC559}" type="presParOf" srcId="{D2208961-EE10-474B-9741-D45FF2212D3F}" destId="{9D70C5FD-35F0-463A-A07A-BE42D1C6AC49}" srcOrd="3" destOrd="0" presId="urn:microsoft.com/office/officeart/2005/8/layout/orgChart1"/>
    <dgm:cxn modelId="{03227BD2-A795-422D-B833-B479059D613B}" type="presParOf" srcId="{9D70C5FD-35F0-463A-A07A-BE42D1C6AC49}" destId="{09743E14-78AC-4BF6-9E33-0AE477E85904}" srcOrd="0" destOrd="0" presId="urn:microsoft.com/office/officeart/2005/8/layout/orgChart1"/>
    <dgm:cxn modelId="{0DC81253-BA35-400B-9B25-79D3FE82084C}" type="presParOf" srcId="{09743E14-78AC-4BF6-9E33-0AE477E85904}" destId="{78B41A26-2EB1-4E2B-884F-73A15160A423}" srcOrd="0" destOrd="0" presId="urn:microsoft.com/office/officeart/2005/8/layout/orgChart1"/>
    <dgm:cxn modelId="{A019A732-67A3-4C3E-A746-B54A533CDCDF}" type="presParOf" srcId="{09743E14-78AC-4BF6-9E33-0AE477E85904}" destId="{5EA00EE2-897F-43C1-909F-854EB98F8088}" srcOrd="1" destOrd="0" presId="urn:microsoft.com/office/officeart/2005/8/layout/orgChart1"/>
    <dgm:cxn modelId="{7472F524-33D5-4AF8-8D0B-8651354C65D6}" type="presParOf" srcId="{9D70C5FD-35F0-463A-A07A-BE42D1C6AC49}" destId="{BD60064C-0B0E-4164-BA57-32932A09ACCD}" srcOrd="1" destOrd="0" presId="urn:microsoft.com/office/officeart/2005/8/layout/orgChart1"/>
    <dgm:cxn modelId="{9F692E12-D3E3-4098-B461-FE0257001675}" type="presParOf" srcId="{BD60064C-0B0E-4164-BA57-32932A09ACCD}" destId="{A1A9F043-3973-4633-ABFF-180F34CD04B5}" srcOrd="0" destOrd="0" presId="urn:microsoft.com/office/officeart/2005/8/layout/orgChart1"/>
    <dgm:cxn modelId="{81E94F7F-1A0C-4913-ABE7-E4B5996A382C}" type="presParOf" srcId="{BD60064C-0B0E-4164-BA57-32932A09ACCD}" destId="{8D76A2DE-AE2B-44FB-8BDD-57C638E96755}" srcOrd="1" destOrd="0" presId="urn:microsoft.com/office/officeart/2005/8/layout/orgChart1"/>
    <dgm:cxn modelId="{4EFEAEF6-D9F6-4E09-B175-45C84212F163}" type="presParOf" srcId="{8D76A2DE-AE2B-44FB-8BDD-57C638E96755}" destId="{25B2F510-D8F0-444A-B96B-321570D81149}" srcOrd="0" destOrd="0" presId="urn:microsoft.com/office/officeart/2005/8/layout/orgChart1"/>
    <dgm:cxn modelId="{F6475AA0-BD56-4C88-9D3C-D09C25301173}" type="presParOf" srcId="{25B2F510-D8F0-444A-B96B-321570D81149}" destId="{7CEFD693-E055-4C50-BFA7-0C3137723433}" srcOrd="0" destOrd="0" presId="urn:microsoft.com/office/officeart/2005/8/layout/orgChart1"/>
    <dgm:cxn modelId="{B298DD4C-D1F3-41E5-A4B1-2B45AB45D18E}" type="presParOf" srcId="{25B2F510-D8F0-444A-B96B-321570D81149}" destId="{DBBBF837-32ED-41C9-AC67-6B352105A257}" srcOrd="1" destOrd="0" presId="urn:microsoft.com/office/officeart/2005/8/layout/orgChart1"/>
    <dgm:cxn modelId="{A7D14813-88BF-479C-9578-C8C8ABE34AC2}" type="presParOf" srcId="{8D76A2DE-AE2B-44FB-8BDD-57C638E96755}" destId="{B62922F5-2767-44AA-B09E-2C44B72BDF96}" srcOrd="1" destOrd="0" presId="urn:microsoft.com/office/officeart/2005/8/layout/orgChart1"/>
    <dgm:cxn modelId="{9A6EABE2-2269-44CC-9D48-8BB8029733A8}" type="presParOf" srcId="{8D76A2DE-AE2B-44FB-8BDD-57C638E96755}" destId="{D68788C8-D779-496F-A0D2-46EC98CEAB43}" srcOrd="2" destOrd="0" presId="urn:microsoft.com/office/officeart/2005/8/layout/orgChart1"/>
    <dgm:cxn modelId="{93096C51-BC72-49FA-836F-1B6040D9AA9D}" type="presParOf" srcId="{9D70C5FD-35F0-463A-A07A-BE42D1C6AC49}" destId="{A0CB5F8B-AA95-417A-B1F1-703059BA631B}" srcOrd="2" destOrd="0" presId="urn:microsoft.com/office/officeart/2005/8/layout/orgChart1"/>
    <dgm:cxn modelId="{53CBC75E-A484-4E15-A8DE-0D49F3C0653B}" type="presParOf" srcId="{C33C7935-7273-4F7B-BE0C-3AF9BA94BE25}" destId="{DE08AF67-5004-4798-BAED-A4ABA979442B}" srcOrd="2" destOrd="0" presId="urn:microsoft.com/office/officeart/2005/8/layout/orgChart1"/>
    <dgm:cxn modelId="{6F068F55-9258-4BBC-975A-56B365924C1B}" type="presParOf" srcId="{F38C306E-80B9-4389-A53B-F4BACE4F9B88}" destId="{ABF11072-C779-4BA1-857D-852D30B701F9}"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5382090-D389-4E46-AA83-EE7C9A0AF2FB}" type="doc">
      <dgm:prSet loTypeId="urn:microsoft.com/office/officeart/2016/7/layout/RoundedRectangleTimeline" loCatId="timeline" qsTypeId="urn:microsoft.com/office/officeart/2005/8/quickstyle/simple1" qsCatId="simple" csTypeId="urn:microsoft.com/office/officeart/2005/8/colors/accent2_2" csCatId="accent2" phldr="1"/>
      <dgm:spPr/>
      <dgm:t>
        <a:bodyPr/>
        <a:lstStyle/>
        <a:p>
          <a:endParaRPr lang="en-US"/>
        </a:p>
      </dgm:t>
    </dgm:pt>
    <dgm:pt modelId="{6CAF2D26-65A5-4A39-A5AA-F1A1B24729A5}">
      <dgm:prSet phldrT="[Text]" phldr="0"/>
      <dgm:spPr/>
      <dgm:t>
        <a:bodyPr/>
        <a:lstStyle/>
        <a:p>
          <a:pPr rtl="0"/>
          <a:r>
            <a:rPr lang="en-US" b="1">
              <a:latin typeface="Trebuchet MS"/>
            </a:rPr>
            <a:t>2 Months</a:t>
          </a:r>
          <a:endParaRPr lang="en-US" b="1"/>
        </a:p>
      </dgm:t>
    </dgm:pt>
    <dgm:pt modelId="{77EF17C5-C60C-47F0-A1F6-862A3422C0E6}" type="parTrans" cxnId="{72CCA59E-E059-40B8-9711-8167E4D1DAD1}">
      <dgm:prSet/>
      <dgm:spPr/>
      <dgm:t>
        <a:bodyPr/>
        <a:lstStyle/>
        <a:p>
          <a:endParaRPr lang="en-US"/>
        </a:p>
      </dgm:t>
    </dgm:pt>
    <dgm:pt modelId="{2F6BE94D-31C4-4553-8818-924A39FD9A82}" type="sibTrans" cxnId="{72CCA59E-E059-40B8-9711-8167E4D1DAD1}">
      <dgm:prSet/>
      <dgm:spPr/>
      <dgm:t>
        <a:bodyPr/>
        <a:lstStyle/>
        <a:p>
          <a:endParaRPr lang="en-US"/>
        </a:p>
      </dgm:t>
    </dgm:pt>
    <dgm:pt modelId="{93EB4D4D-7041-46AF-BE9D-AA98A090F910}">
      <dgm:prSet phldr="0"/>
      <dgm:spPr/>
      <dgm:t>
        <a:bodyPr/>
        <a:lstStyle/>
        <a:p>
          <a:pPr rtl="0"/>
          <a:r>
            <a:rPr lang="en-US" b="1">
              <a:latin typeface="Trebuchet MS"/>
            </a:rPr>
            <a:t>4 – 5 Months</a:t>
          </a:r>
        </a:p>
      </dgm:t>
    </dgm:pt>
    <dgm:pt modelId="{22CDD264-543C-4828-8E37-934D1D485100}" type="parTrans" cxnId="{8014FE13-2CB8-4675-9919-CA57F2FB51FA}">
      <dgm:prSet/>
      <dgm:spPr/>
    </dgm:pt>
    <dgm:pt modelId="{84643A88-91BA-48FF-9867-56210E59F180}" type="sibTrans" cxnId="{8014FE13-2CB8-4675-9919-CA57F2FB51FA}">
      <dgm:prSet/>
      <dgm:spPr/>
    </dgm:pt>
    <dgm:pt modelId="{B6DA5852-C50B-4453-BAA4-DB044A1E2C70}">
      <dgm:prSet phldr="0"/>
      <dgm:spPr/>
      <dgm:t>
        <a:bodyPr/>
        <a:lstStyle/>
        <a:p>
          <a:pPr rtl="0"/>
          <a:r>
            <a:rPr lang="en-US" b="1">
              <a:solidFill>
                <a:srgbClr val="002060"/>
              </a:solidFill>
              <a:latin typeface="Trebuchet MS"/>
            </a:rPr>
            <a:t>- AB Testing on Dashboard &amp; user feedback</a:t>
          </a:r>
          <a:endParaRPr lang="en-US">
            <a:solidFill>
              <a:srgbClr val="002060"/>
            </a:solidFill>
          </a:endParaRPr>
        </a:p>
      </dgm:t>
    </dgm:pt>
    <dgm:pt modelId="{556FBDBA-79DA-49FF-9C12-3F64EBC8858F}" type="parTrans" cxnId="{90873505-74A8-4F4F-B5B2-C4E3EB6F3772}">
      <dgm:prSet/>
      <dgm:spPr/>
    </dgm:pt>
    <dgm:pt modelId="{85E3D758-5D2D-4C2A-9286-10E65AC691DA}" type="sibTrans" cxnId="{90873505-74A8-4F4F-B5B2-C4E3EB6F3772}">
      <dgm:prSet/>
      <dgm:spPr/>
    </dgm:pt>
    <dgm:pt modelId="{E1437169-0413-4A39-A1BD-A2F8EBCF2471}">
      <dgm:prSet phldr="0"/>
      <dgm:spPr/>
      <dgm:t>
        <a:bodyPr/>
        <a:lstStyle/>
        <a:p>
          <a:pPr rtl="0"/>
          <a:r>
            <a:rPr lang="en-US" b="1">
              <a:solidFill>
                <a:srgbClr val="002060"/>
              </a:solidFill>
              <a:latin typeface="Trebuchet MS"/>
            </a:rPr>
            <a:t>Live on App and Dashboard</a:t>
          </a:r>
        </a:p>
      </dgm:t>
    </dgm:pt>
    <dgm:pt modelId="{FAF04500-CD33-4162-909B-567AF6C20552}" type="parTrans" cxnId="{83D5F926-237D-4FC4-97FB-D207A0D876E1}">
      <dgm:prSet/>
      <dgm:spPr/>
    </dgm:pt>
    <dgm:pt modelId="{5913FF5D-5F91-42FC-B6E7-389B5EC41193}" type="sibTrans" cxnId="{83D5F926-237D-4FC4-97FB-D207A0D876E1}">
      <dgm:prSet/>
      <dgm:spPr/>
    </dgm:pt>
    <dgm:pt modelId="{2F4B8EEC-1E4C-4712-81BB-D63BE9855C61}">
      <dgm:prSet phldr="0"/>
      <dgm:spPr/>
      <dgm:t>
        <a:bodyPr/>
        <a:lstStyle/>
        <a:p>
          <a:pPr rtl="0"/>
          <a:r>
            <a:rPr lang="en-US" b="1">
              <a:latin typeface="Trebuchet MS"/>
            </a:rPr>
            <a:t>Immediate</a:t>
          </a:r>
        </a:p>
      </dgm:t>
    </dgm:pt>
    <dgm:pt modelId="{BFF0DC42-9D80-42B5-A983-6F359D9BC442}" type="parTrans" cxnId="{8345E84F-09EE-4FD9-BD0B-3F294090E9B9}">
      <dgm:prSet/>
      <dgm:spPr/>
    </dgm:pt>
    <dgm:pt modelId="{68C5AE89-F039-4DA9-AB3F-C85DD62B3F96}" type="sibTrans" cxnId="{8345E84F-09EE-4FD9-BD0B-3F294090E9B9}">
      <dgm:prSet/>
      <dgm:spPr/>
    </dgm:pt>
    <dgm:pt modelId="{9D17A697-6675-40A1-A7DB-F1B0ABE7E91F}">
      <dgm:prSet phldr="0"/>
      <dgm:spPr>
        <a:solidFill>
          <a:srgbClr val="000000">
            <a:alpha val="0"/>
          </a:srgbClr>
        </a:solidFill>
      </dgm:spPr>
      <dgm:t>
        <a:bodyPr/>
        <a:lstStyle/>
        <a:p>
          <a:pPr rtl="0"/>
          <a:r>
            <a:rPr lang="en-US" b="1">
              <a:solidFill>
                <a:srgbClr val="002060"/>
              </a:solidFill>
              <a:latin typeface="Trebuchet MS"/>
            </a:rPr>
            <a:t>- Acquire longer period data</a:t>
          </a:r>
        </a:p>
      </dgm:t>
    </dgm:pt>
    <dgm:pt modelId="{6A428814-87A2-4924-82E0-829EB682F359}" type="parTrans" cxnId="{38F89E66-3554-4EBD-A747-62C896BD1AFF}">
      <dgm:prSet/>
      <dgm:spPr/>
    </dgm:pt>
    <dgm:pt modelId="{946FC9BE-F42A-4983-8526-1879C11E8755}" type="sibTrans" cxnId="{38F89E66-3554-4EBD-A747-62C896BD1AFF}">
      <dgm:prSet/>
      <dgm:spPr/>
    </dgm:pt>
    <dgm:pt modelId="{11AEDB9E-F2C5-40EC-97D3-280FE412FEAB}">
      <dgm:prSet phldr="0"/>
      <dgm:spPr/>
      <dgm:t>
        <a:bodyPr/>
        <a:lstStyle/>
        <a:p>
          <a:pPr rtl="0"/>
          <a:r>
            <a:rPr lang="en-US" b="1">
              <a:solidFill>
                <a:srgbClr val="002060"/>
              </a:solidFill>
              <a:latin typeface="Trebuchet MS"/>
            </a:rPr>
            <a:t>- Consider additional features </a:t>
          </a:r>
        </a:p>
      </dgm:t>
    </dgm:pt>
    <dgm:pt modelId="{6FAF509E-C589-435B-B639-7CDC9FE57B50}" type="parTrans" cxnId="{3BB3AC0D-4D39-4D6B-9456-33ED67C8AA9A}">
      <dgm:prSet/>
      <dgm:spPr/>
    </dgm:pt>
    <dgm:pt modelId="{D1E60B0F-44DD-4E0A-A015-106E60550CD4}" type="sibTrans" cxnId="{3BB3AC0D-4D39-4D6B-9456-33ED67C8AA9A}">
      <dgm:prSet/>
      <dgm:spPr/>
    </dgm:pt>
    <dgm:pt modelId="{7E3B377A-80FA-4031-BB26-CAFF134D3C5E}">
      <dgm:prSet phldr="0"/>
      <dgm:spPr/>
      <dgm:t>
        <a:bodyPr/>
        <a:lstStyle/>
        <a:p>
          <a:pPr rtl="0"/>
          <a:r>
            <a:rPr lang="en-US" b="1">
              <a:solidFill>
                <a:srgbClr val="002060"/>
              </a:solidFill>
              <a:latin typeface="Trebuchet MS"/>
            </a:rPr>
            <a:t>- App Soft Launch   </a:t>
          </a:r>
          <a:endParaRPr lang="en-US" b="0">
            <a:solidFill>
              <a:srgbClr val="002060"/>
            </a:solidFill>
          </a:endParaRPr>
        </a:p>
      </dgm:t>
    </dgm:pt>
    <dgm:pt modelId="{6EA894D9-96B6-4471-9DBF-20662724ABE3}" type="parTrans" cxnId="{BCE132D5-9E6C-420C-8118-A6E61F2E2A50}">
      <dgm:prSet/>
      <dgm:spPr/>
    </dgm:pt>
    <dgm:pt modelId="{B7D2ACD8-619D-4876-8ACC-17BCF43D93EE}" type="sibTrans" cxnId="{BCE132D5-9E6C-420C-8118-A6E61F2E2A50}">
      <dgm:prSet/>
      <dgm:spPr/>
    </dgm:pt>
    <dgm:pt modelId="{CC606587-5A8B-49E0-9A71-271856C0BAB9}">
      <dgm:prSet phldr="0"/>
      <dgm:spPr/>
      <dgm:t>
        <a:bodyPr/>
        <a:lstStyle/>
        <a:p>
          <a:pPr rtl="0"/>
          <a:r>
            <a:rPr lang="en-US" b="1">
              <a:latin typeface="Trebuchet MS"/>
            </a:rPr>
            <a:t>6 Months</a:t>
          </a:r>
          <a:endParaRPr lang="en-US"/>
        </a:p>
      </dgm:t>
    </dgm:pt>
    <dgm:pt modelId="{124C822C-5988-4829-B271-A6F2FB875E50}" type="parTrans" cxnId="{7FD0A3AD-9B41-48EB-AE8F-78B367D7D756}">
      <dgm:prSet/>
      <dgm:spPr/>
    </dgm:pt>
    <dgm:pt modelId="{B6E5B8F0-E62D-410D-8020-125D5FDA19E3}" type="sibTrans" cxnId="{7FD0A3AD-9B41-48EB-AE8F-78B367D7D756}">
      <dgm:prSet/>
      <dgm:spPr/>
    </dgm:pt>
    <dgm:pt modelId="{E7163975-B508-4423-9A1C-A6A92AF9BAEB}">
      <dgm:prSet phldr="0"/>
      <dgm:spPr/>
      <dgm:t>
        <a:bodyPr/>
        <a:lstStyle/>
        <a:p>
          <a:pPr rtl="0"/>
          <a:r>
            <a:rPr lang="en-US" b="1">
              <a:solidFill>
                <a:srgbClr val="002060"/>
              </a:solidFill>
            </a:rPr>
            <a:t>- </a:t>
          </a:r>
          <a:r>
            <a:rPr lang="en-US" b="1">
              <a:solidFill>
                <a:srgbClr val="002060"/>
              </a:solidFill>
              <a:latin typeface="Trebuchet MS"/>
            </a:rPr>
            <a:t>Model Implementation </a:t>
          </a:r>
          <a:r>
            <a:rPr lang="en-US" b="1">
              <a:solidFill>
                <a:srgbClr val="002060"/>
              </a:solidFill>
            </a:rPr>
            <a:t>(CSV)</a:t>
          </a:r>
          <a:endParaRPr lang="en-US" b="1">
            <a:solidFill>
              <a:srgbClr val="002060"/>
            </a:solidFill>
            <a:latin typeface="Trebuchet MS"/>
          </a:endParaRPr>
        </a:p>
      </dgm:t>
    </dgm:pt>
    <dgm:pt modelId="{D121BC99-EE3E-403C-8417-2FEE19AC8270}" type="parTrans" cxnId="{5F928992-0FBB-4AB3-8EB5-F1980EA7F52F}">
      <dgm:prSet/>
      <dgm:spPr/>
    </dgm:pt>
    <dgm:pt modelId="{835DB201-843C-4E47-945A-5653298D45A2}" type="sibTrans" cxnId="{5F928992-0FBB-4AB3-8EB5-F1980EA7F52F}">
      <dgm:prSet/>
      <dgm:spPr/>
    </dgm:pt>
    <dgm:pt modelId="{8DAA56A3-DBA5-4ACF-83BF-BA74D2CD94F0}">
      <dgm:prSet phldr="0"/>
      <dgm:spPr/>
      <dgm:t>
        <a:bodyPr/>
        <a:lstStyle/>
        <a:p>
          <a:pPr rtl="0"/>
          <a:r>
            <a:rPr lang="en-US" b="1">
              <a:solidFill>
                <a:srgbClr val="002060"/>
              </a:solidFill>
              <a:latin typeface="Trebuchet MS"/>
            </a:rPr>
            <a:t>- </a:t>
          </a:r>
          <a:r>
            <a:rPr lang="en-US" b="1">
              <a:solidFill>
                <a:srgbClr val="002060"/>
              </a:solidFill>
            </a:rPr>
            <a:t>Improve &amp; </a:t>
          </a:r>
          <a:r>
            <a:rPr lang="en-US" b="1" err="1">
              <a:solidFill>
                <a:srgbClr val="002060"/>
              </a:solidFill>
            </a:rPr>
            <a:t>Optimise</a:t>
          </a:r>
          <a:r>
            <a:rPr lang="en-US" b="1">
              <a:solidFill>
                <a:srgbClr val="002060"/>
              </a:solidFill>
            </a:rPr>
            <a:t> Model</a:t>
          </a:r>
          <a:r>
            <a:rPr lang="en-US" b="1">
              <a:solidFill>
                <a:srgbClr val="002060"/>
              </a:solidFill>
              <a:latin typeface="Trebuchet MS"/>
            </a:rPr>
            <a:t> (other bus stops)</a:t>
          </a:r>
          <a:endParaRPr lang="en-US" b="1">
            <a:solidFill>
              <a:srgbClr val="002060"/>
            </a:solidFill>
          </a:endParaRPr>
        </a:p>
      </dgm:t>
    </dgm:pt>
    <dgm:pt modelId="{DCF9731F-C331-4720-95A8-CBFE7EF90165}" type="parTrans" cxnId="{6E168400-7382-4E45-8FB7-426664678D0D}">
      <dgm:prSet/>
      <dgm:spPr/>
    </dgm:pt>
    <dgm:pt modelId="{3AB4761F-9269-4215-BDA1-A23DB7BACF04}" type="sibTrans" cxnId="{6E168400-7382-4E45-8FB7-426664678D0D}">
      <dgm:prSet/>
      <dgm:spPr/>
    </dgm:pt>
    <dgm:pt modelId="{DD6C78AF-BC43-4B59-8A0D-BCF55709CD6E}">
      <dgm:prSet phldr="0"/>
      <dgm:spPr/>
      <dgm:t>
        <a:bodyPr/>
        <a:lstStyle/>
        <a:p>
          <a:pPr rtl="0"/>
          <a:r>
            <a:rPr lang="en-US" b="1">
              <a:solidFill>
                <a:srgbClr val="002060"/>
              </a:solidFill>
              <a:latin typeface="Trebuchet MS"/>
            </a:rPr>
            <a:t>- </a:t>
          </a:r>
          <a:r>
            <a:rPr lang="en-US" b="1">
              <a:solidFill>
                <a:srgbClr val="002060"/>
              </a:solidFill>
            </a:rPr>
            <a:t>Build App </a:t>
          </a:r>
          <a:r>
            <a:rPr lang="en-US" b="1">
              <a:solidFill>
                <a:srgbClr val="002060"/>
              </a:solidFill>
              <a:latin typeface="Trebuchet MS"/>
            </a:rPr>
            <a:t>Features prototype</a:t>
          </a:r>
          <a:r>
            <a:rPr lang="en-US" b="1">
              <a:solidFill>
                <a:srgbClr val="002060"/>
              </a:solidFill>
            </a:rPr>
            <a:t> </a:t>
          </a:r>
        </a:p>
      </dgm:t>
    </dgm:pt>
    <dgm:pt modelId="{975FF2EF-7EB2-4F40-B584-B7ED3D747EAF}" type="parTrans" cxnId="{C9A64AFB-AC38-47CB-94F7-4CE022C56823}">
      <dgm:prSet/>
      <dgm:spPr/>
    </dgm:pt>
    <dgm:pt modelId="{AD0E4763-8626-4D72-8F04-94697DFEF045}" type="sibTrans" cxnId="{C9A64AFB-AC38-47CB-94F7-4CE022C56823}">
      <dgm:prSet/>
      <dgm:spPr/>
    </dgm:pt>
    <dgm:pt modelId="{3CCC7BA8-F830-4282-8995-60282ED2AF84}">
      <dgm:prSet phldr="0"/>
      <dgm:spPr/>
      <dgm:t>
        <a:bodyPr/>
        <a:lstStyle/>
        <a:p>
          <a:pPr rtl="0"/>
          <a:r>
            <a:rPr lang="en-US" b="1">
              <a:latin typeface="Trebuchet MS"/>
            </a:rPr>
            <a:t>3 Months</a:t>
          </a:r>
          <a:endParaRPr lang="en-US" b="1"/>
        </a:p>
      </dgm:t>
    </dgm:pt>
    <dgm:pt modelId="{D0F60D02-3B3F-483D-8BFE-F6B4FB9DD9B7}" type="parTrans" cxnId="{6875B647-C7FD-42D7-A870-464412A77F95}">
      <dgm:prSet/>
      <dgm:spPr/>
    </dgm:pt>
    <dgm:pt modelId="{B70366BE-52AC-4478-9006-5DAED037748E}" type="sibTrans" cxnId="{6875B647-C7FD-42D7-A870-464412A77F95}">
      <dgm:prSet/>
      <dgm:spPr/>
    </dgm:pt>
    <dgm:pt modelId="{FDA694CD-E71F-4F5A-BCAD-F7098C4B6BCB}">
      <dgm:prSet phldr="0"/>
      <dgm:spPr/>
      <dgm:t>
        <a:bodyPr/>
        <a:lstStyle/>
        <a:p>
          <a:pPr rtl="0"/>
          <a:r>
            <a:rPr lang="en-US" b="1">
              <a:solidFill>
                <a:srgbClr val="002060"/>
              </a:solidFill>
              <a:latin typeface="Trebuchet MS"/>
            </a:rPr>
            <a:t>- Develop Dashboard prototype</a:t>
          </a:r>
        </a:p>
      </dgm:t>
    </dgm:pt>
    <dgm:pt modelId="{2AAF8557-1D3F-4983-8932-5A91E1D8ED95}" type="parTrans" cxnId="{91BEBBD9-0D76-4CBE-9828-C6E073D930C5}">
      <dgm:prSet/>
      <dgm:spPr/>
    </dgm:pt>
    <dgm:pt modelId="{7359738A-2EF5-43DA-85BF-69125DD9E49A}" type="sibTrans" cxnId="{91BEBBD9-0D76-4CBE-9828-C6E073D930C5}">
      <dgm:prSet/>
      <dgm:spPr/>
    </dgm:pt>
    <dgm:pt modelId="{F0DA5227-3008-4C12-BBF4-0E9B37866C7D}">
      <dgm:prSet phldr="0"/>
      <dgm:spPr/>
      <dgm:t>
        <a:bodyPr/>
        <a:lstStyle/>
        <a:p>
          <a:pPr rtl="0"/>
          <a:r>
            <a:rPr lang="en-US" b="1">
              <a:solidFill>
                <a:srgbClr val="002060"/>
              </a:solidFill>
              <a:latin typeface="Trebuchet MS"/>
            </a:rPr>
            <a:t>- Feedback on Model (CSV) and integrate into Dashboard prototype</a:t>
          </a:r>
        </a:p>
      </dgm:t>
    </dgm:pt>
    <dgm:pt modelId="{B9DB6597-99BF-4C9E-A7A2-E9705DA390AA}" type="parTrans" cxnId="{D95AC2E7-7AE7-4E13-8E28-20F90AD5FCEA}">
      <dgm:prSet/>
      <dgm:spPr/>
    </dgm:pt>
    <dgm:pt modelId="{913E5628-055C-4D5E-8D80-633EFA343EED}" type="sibTrans" cxnId="{D95AC2E7-7AE7-4E13-8E28-20F90AD5FCEA}">
      <dgm:prSet/>
      <dgm:spPr/>
    </dgm:pt>
    <dgm:pt modelId="{99DBFDEF-6402-4697-B155-D8A79419499B}">
      <dgm:prSet phldr="0"/>
      <dgm:spPr/>
      <dgm:t>
        <a:bodyPr/>
        <a:lstStyle/>
        <a:p>
          <a:pPr rtl="0"/>
          <a:r>
            <a:rPr lang="en-US" b="1">
              <a:solidFill>
                <a:srgbClr val="002060"/>
              </a:solidFill>
              <a:latin typeface="Trebuchet MS"/>
            </a:rPr>
            <a:t>- User Testing on App</a:t>
          </a:r>
        </a:p>
      </dgm:t>
    </dgm:pt>
    <dgm:pt modelId="{8367D9F7-3B16-4460-AF71-F5E6400BCEE6}" type="parTrans" cxnId="{2EA67F2B-FBB7-479B-8FF4-AB94FD6EACA9}">
      <dgm:prSet/>
      <dgm:spPr/>
    </dgm:pt>
    <dgm:pt modelId="{3364A19D-CE7A-4EC3-90CE-C7B2470E94DE}" type="sibTrans" cxnId="{2EA67F2B-FBB7-479B-8FF4-AB94FD6EACA9}">
      <dgm:prSet/>
      <dgm:spPr/>
    </dgm:pt>
    <dgm:pt modelId="{61CB4F07-D820-4684-A2E2-58493A83A1AB}" type="pres">
      <dgm:prSet presAssocID="{B5382090-D389-4E46-AA83-EE7C9A0AF2FB}" presName="Name0" presStyleCnt="0">
        <dgm:presLayoutVars>
          <dgm:chMax/>
          <dgm:chPref/>
          <dgm:animLvl val="lvl"/>
        </dgm:presLayoutVars>
      </dgm:prSet>
      <dgm:spPr/>
    </dgm:pt>
    <dgm:pt modelId="{177A8DEF-551D-43CE-B53F-CBC2EF28F0BA}" type="pres">
      <dgm:prSet presAssocID="{2F4B8EEC-1E4C-4712-81BB-D63BE9855C61}" presName="composite1" presStyleCnt="0"/>
      <dgm:spPr/>
    </dgm:pt>
    <dgm:pt modelId="{2A264F77-B2FA-4287-8CB3-C21226EC55BC}" type="pres">
      <dgm:prSet presAssocID="{2F4B8EEC-1E4C-4712-81BB-D63BE9855C61}" presName="parent1" presStyleLbl="alignNode1" presStyleIdx="0" presStyleCnt="5">
        <dgm:presLayoutVars>
          <dgm:chMax val="1"/>
          <dgm:chPref val="1"/>
          <dgm:bulletEnabled val="1"/>
        </dgm:presLayoutVars>
      </dgm:prSet>
      <dgm:spPr/>
    </dgm:pt>
    <dgm:pt modelId="{3BF414E0-9BED-4B93-BAE4-0FE63D3F3D0D}" type="pres">
      <dgm:prSet presAssocID="{2F4B8EEC-1E4C-4712-81BB-D63BE9855C61}" presName="Childtext1" presStyleLbl="revTx" presStyleIdx="0" presStyleCnt="5">
        <dgm:presLayoutVars>
          <dgm:bulletEnabled val="1"/>
        </dgm:presLayoutVars>
      </dgm:prSet>
      <dgm:spPr/>
    </dgm:pt>
    <dgm:pt modelId="{67BC571C-90DF-423A-BE46-261CD6D15CD9}" type="pres">
      <dgm:prSet presAssocID="{2F4B8EEC-1E4C-4712-81BB-D63BE9855C61}" presName="ConnectLine1" presStyleLbl="sibTrans1D1" presStyleIdx="0" presStyleCnt="5"/>
      <dgm:spPr>
        <a:noFill/>
        <a:ln w="9525" cap="flat" cmpd="sng" algn="ctr">
          <a:solidFill>
            <a:schemeClr val="accent2">
              <a:hueOff val="0"/>
              <a:satOff val="0"/>
              <a:lumOff val="0"/>
              <a:alphaOff val="0"/>
            </a:schemeClr>
          </a:solidFill>
          <a:prstDash val="dash"/>
        </a:ln>
        <a:effectLst/>
      </dgm:spPr>
    </dgm:pt>
    <dgm:pt modelId="{7071E5EA-6A1E-4936-AA67-E6DF12E44E4A}" type="pres">
      <dgm:prSet presAssocID="{2F4B8EEC-1E4C-4712-81BB-D63BE9855C61}" presName="ConnectLineEnd1" presStyleLbl="lnNode1" presStyleIdx="0" presStyleCnt="5"/>
      <dgm:spPr/>
    </dgm:pt>
    <dgm:pt modelId="{12A2CD21-CC18-4E7F-A84F-6AE4E2663E3B}" type="pres">
      <dgm:prSet presAssocID="{2F4B8EEC-1E4C-4712-81BB-D63BE9855C61}" presName="EmptyPane1" presStyleCnt="0"/>
      <dgm:spPr/>
    </dgm:pt>
    <dgm:pt modelId="{057B253B-A2A0-4963-92F6-DBE3E400E6CE}" type="pres">
      <dgm:prSet presAssocID="{68C5AE89-F039-4DA9-AB3F-C85DD62B3F96}" presName="spaceBetweenRectangles1" presStyleCnt="0"/>
      <dgm:spPr/>
    </dgm:pt>
    <dgm:pt modelId="{9924B38D-E40F-48F3-BCDA-174D2F327F02}" type="pres">
      <dgm:prSet presAssocID="{6CAF2D26-65A5-4A39-A5AA-F1A1B24729A5}" presName="composite1" presStyleCnt="0"/>
      <dgm:spPr/>
    </dgm:pt>
    <dgm:pt modelId="{36279CEF-236B-43ED-907C-B557697BEC8D}" type="pres">
      <dgm:prSet presAssocID="{6CAF2D26-65A5-4A39-A5AA-F1A1B24729A5}" presName="parent1" presStyleLbl="alignNode1" presStyleIdx="1" presStyleCnt="5">
        <dgm:presLayoutVars>
          <dgm:chMax val="1"/>
          <dgm:chPref val="1"/>
          <dgm:bulletEnabled val="1"/>
        </dgm:presLayoutVars>
      </dgm:prSet>
      <dgm:spPr/>
    </dgm:pt>
    <dgm:pt modelId="{EDD5675C-83C4-4769-8648-4EF5BC6B613D}" type="pres">
      <dgm:prSet presAssocID="{6CAF2D26-65A5-4A39-A5AA-F1A1B24729A5}" presName="Childtext1" presStyleLbl="revTx" presStyleIdx="1" presStyleCnt="5">
        <dgm:presLayoutVars>
          <dgm:bulletEnabled val="1"/>
        </dgm:presLayoutVars>
      </dgm:prSet>
      <dgm:spPr/>
    </dgm:pt>
    <dgm:pt modelId="{61269B63-A20B-41B1-8A64-C7F49377B384}" type="pres">
      <dgm:prSet presAssocID="{6CAF2D26-65A5-4A39-A5AA-F1A1B24729A5}" presName="ConnectLine1" presStyleLbl="sibTrans1D1" presStyleIdx="1" presStyleCnt="5"/>
      <dgm:spPr>
        <a:noFill/>
        <a:ln w="9525" cap="flat" cmpd="sng" algn="ctr">
          <a:solidFill>
            <a:schemeClr val="accent2">
              <a:hueOff val="0"/>
              <a:satOff val="0"/>
              <a:lumOff val="0"/>
              <a:alphaOff val="0"/>
            </a:schemeClr>
          </a:solidFill>
          <a:prstDash val="dash"/>
        </a:ln>
        <a:effectLst/>
      </dgm:spPr>
    </dgm:pt>
    <dgm:pt modelId="{46FA7420-7536-4337-AFA6-1BBBB7AE3A4E}" type="pres">
      <dgm:prSet presAssocID="{6CAF2D26-65A5-4A39-A5AA-F1A1B24729A5}" presName="ConnectLineEnd1" presStyleLbl="lnNode1" presStyleIdx="1" presStyleCnt="5"/>
      <dgm:spPr/>
    </dgm:pt>
    <dgm:pt modelId="{6689BA8C-D7B8-458C-86A2-7D59BC92E2FF}" type="pres">
      <dgm:prSet presAssocID="{6CAF2D26-65A5-4A39-A5AA-F1A1B24729A5}" presName="EmptyPane1" presStyleCnt="0"/>
      <dgm:spPr/>
    </dgm:pt>
    <dgm:pt modelId="{E956CBB4-ECC1-4BE7-9ADF-863FE97529E6}" type="pres">
      <dgm:prSet presAssocID="{2F6BE94D-31C4-4553-8818-924A39FD9A82}" presName="spaceBetweenRectangles1" presStyleCnt="0"/>
      <dgm:spPr/>
    </dgm:pt>
    <dgm:pt modelId="{5156FF32-0822-43BC-A010-6F0EE06888EA}" type="pres">
      <dgm:prSet presAssocID="{3CCC7BA8-F830-4282-8995-60282ED2AF84}" presName="composite1" presStyleCnt="0"/>
      <dgm:spPr/>
    </dgm:pt>
    <dgm:pt modelId="{D0523C11-87BF-4677-B69F-65F76242AA47}" type="pres">
      <dgm:prSet presAssocID="{3CCC7BA8-F830-4282-8995-60282ED2AF84}" presName="parent1" presStyleLbl="alignNode1" presStyleIdx="2" presStyleCnt="5">
        <dgm:presLayoutVars>
          <dgm:chMax val="1"/>
          <dgm:chPref val="1"/>
          <dgm:bulletEnabled val="1"/>
        </dgm:presLayoutVars>
      </dgm:prSet>
      <dgm:spPr/>
    </dgm:pt>
    <dgm:pt modelId="{B7F91847-0032-447D-8816-FC686C440B19}" type="pres">
      <dgm:prSet presAssocID="{3CCC7BA8-F830-4282-8995-60282ED2AF84}" presName="Childtext1" presStyleLbl="revTx" presStyleIdx="2" presStyleCnt="5">
        <dgm:presLayoutVars>
          <dgm:bulletEnabled val="1"/>
        </dgm:presLayoutVars>
      </dgm:prSet>
      <dgm:spPr/>
    </dgm:pt>
    <dgm:pt modelId="{6E49F180-E2B2-4820-A02B-E6CBCD4B03C9}" type="pres">
      <dgm:prSet presAssocID="{3CCC7BA8-F830-4282-8995-60282ED2AF84}" presName="ConnectLine1" presStyleLbl="sibTrans1D1" presStyleIdx="2" presStyleCnt="5"/>
      <dgm:spPr>
        <a:noFill/>
        <a:ln w="9525" cap="flat" cmpd="sng" algn="ctr">
          <a:solidFill>
            <a:schemeClr val="accent2">
              <a:hueOff val="0"/>
              <a:satOff val="0"/>
              <a:lumOff val="0"/>
              <a:alphaOff val="0"/>
            </a:schemeClr>
          </a:solidFill>
          <a:prstDash val="dash"/>
        </a:ln>
        <a:effectLst/>
      </dgm:spPr>
    </dgm:pt>
    <dgm:pt modelId="{C716EC80-6C9F-442F-AC00-4867FF001B7F}" type="pres">
      <dgm:prSet presAssocID="{3CCC7BA8-F830-4282-8995-60282ED2AF84}" presName="ConnectLineEnd1" presStyleLbl="lnNode1" presStyleIdx="2" presStyleCnt="5"/>
      <dgm:spPr/>
    </dgm:pt>
    <dgm:pt modelId="{2A3CBE89-E359-471B-8BF5-884D79AA0CBB}" type="pres">
      <dgm:prSet presAssocID="{3CCC7BA8-F830-4282-8995-60282ED2AF84}" presName="EmptyPane1" presStyleCnt="0"/>
      <dgm:spPr/>
    </dgm:pt>
    <dgm:pt modelId="{B9DF08E9-0A04-4E56-90D5-7576554DE34A}" type="pres">
      <dgm:prSet presAssocID="{B70366BE-52AC-4478-9006-5DAED037748E}" presName="spaceBetweenRectangles1" presStyleCnt="0"/>
      <dgm:spPr/>
    </dgm:pt>
    <dgm:pt modelId="{633EF82F-023A-4D47-BE04-2B9B131CC340}" type="pres">
      <dgm:prSet presAssocID="{93EB4D4D-7041-46AF-BE9D-AA98A090F910}" presName="composite1" presStyleCnt="0"/>
      <dgm:spPr/>
    </dgm:pt>
    <dgm:pt modelId="{348918C2-BB52-40BD-A734-17B37F1C393A}" type="pres">
      <dgm:prSet presAssocID="{93EB4D4D-7041-46AF-BE9D-AA98A090F910}" presName="parent1" presStyleLbl="alignNode1" presStyleIdx="3" presStyleCnt="5">
        <dgm:presLayoutVars>
          <dgm:chMax val="1"/>
          <dgm:chPref val="1"/>
          <dgm:bulletEnabled val="1"/>
        </dgm:presLayoutVars>
      </dgm:prSet>
      <dgm:spPr/>
    </dgm:pt>
    <dgm:pt modelId="{E2E51C52-4030-4BEA-9AB5-ACD8C111DBF2}" type="pres">
      <dgm:prSet presAssocID="{93EB4D4D-7041-46AF-BE9D-AA98A090F910}" presName="Childtext1" presStyleLbl="revTx" presStyleIdx="3" presStyleCnt="5">
        <dgm:presLayoutVars>
          <dgm:bulletEnabled val="1"/>
        </dgm:presLayoutVars>
      </dgm:prSet>
      <dgm:spPr/>
    </dgm:pt>
    <dgm:pt modelId="{049B9701-D383-4FF8-B0F8-7AF825779BE5}" type="pres">
      <dgm:prSet presAssocID="{93EB4D4D-7041-46AF-BE9D-AA98A090F910}" presName="ConnectLine1" presStyleLbl="sibTrans1D1" presStyleIdx="3" presStyleCnt="5"/>
      <dgm:spPr>
        <a:noFill/>
        <a:ln w="9525" cap="flat" cmpd="sng" algn="ctr">
          <a:solidFill>
            <a:schemeClr val="accent2">
              <a:hueOff val="0"/>
              <a:satOff val="0"/>
              <a:lumOff val="0"/>
              <a:alphaOff val="0"/>
            </a:schemeClr>
          </a:solidFill>
          <a:prstDash val="dash"/>
        </a:ln>
        <a:effectLst/>
      </dgm:spPr>
    </dgm:pt>
    <dgm:pt modelId="{6A52CAC0-17AA-4870-BDAB-09AA7F96891F}" type="pres">
      <dgm:prSet presAssocID="{93EB4D4D-7041-46AF-BE9D-AA98A090F910}" presName="ConnectLineEnd1" presStyleLbl="lnNode1" presStyleIdx="3" presStyleCnt="5"/>
      <dgm:spPr/>
    </dgm:pt>
    <dgm:pt modelId="{7F5AB221-F6E4-45F1-9CBA-C03B34A248D2}" type="pres">
      <dgm:prSet presAssocID="{93EB4D4D-7041-46AF-BE9D-AA98A090F910}" presName="EmptyPane1" presStyleCnt="0"/>
      <dgm:spPr/>
    </dgm:pt>
    <dgm:pt modelId="{AA5A88A6-FB47-4A93-B60F-BF5DA87D39F2}" type="pres">
      <dgm:prSet presAssocID="{84643A88-91BA-48FF-9867-56210E59F180}" presName="spaceBetweenRectangles1" presStyleCnt="0"/>
      <dgm:spPr/>
    </dgm:pt>
    <dgm:pt modelId="{5730AFE9-712E-4F5C-BEC8-DA0ADAFB139C}" type="pres">
      <dgm:prSet presAssocID="{CC606587-5A8B-49E0-9A71-271856C0BAB9}" presName="composite1" presStyleCnt="0"/>
      <dgm:spPr/>
    </dgm:pt>
    <dgm:pt modelId="{B65F089C-AC3F-42D1-9558-75FFA066A59B}" type="pres">
      <dgm:prSet presAssocID="{CC606587-5A8B-49E0-9A71-271856C0BAB9}" presName="parent1" presStyleLbl="alignNode1" presStyleIdx="4" presStyleCnt="5">
        <dgm:presLayoutVars>
          <dgm:chMax val="1"/>
          <dgm:chPref val="1"/>
          <dgm:bulletEnabled val="1"/>
        </dgm:presLayoutVars>
      </dgm:prSet>
      <dgm:spPr/>
    </dgm:pt>
    <dgm:pt modelId="{56516020-B037-4B43-B65D-83A0B87F7AAD}" type="pres">
      <dgm:prSet presAssocID="{CC606587-5A8B-49E0-9A71-271856C0BAB9}" presName="Childtext1" presStyleLbl="revTx" presStyleIdx="4" presStyleCnt="5">
        <dgm:presLayoutVars>
          <dgm:bulletEnabled val="1"/>
        </dgm:presLayoutVars>
      </dgm:prSet>
      <dgm:spPr/>
    </dgm:pt>
    <dgm:pt modelId="{B39307CB-B732-48EA-AAB4-37B06AE60009}" type="pres">
      <dgm:prSet presAssocID="{CC606587-5A8B-49E0-9A71-271856C0BAB9}" presName="ConnectLine1" presStyleLbl="sibTrans1D1" presStyleIdx="4" presStyleCnt="5"/>
      <dgm:spPr>
        <a:noFill/>
        <a:ln w="9525" cap="flat" cmpd="sng" algn="ctr">
          <a:solidFill>
            <a:schemeClr val="accent2">
              <a:hueOff val="0"/>
              <a:satOff val="0"/>
              <a:lumOff val="0"/>
              <a:alphaOff val="0"/>
            </a:schemeClr>
          </a:solidFill>
          <a:prstDash val="dash"/>
        </a:ln>
        <a:effectLst/>
      </dgm:spPr>
    </dgm:pt>
    <dgm:pt modelId="{D7A78797-430E-481D-A66B-2F17F20047DF}" type="pres">
      <dgm:prSet presAssocID="{CC606587-5A8B-49E0-9A71-271856C0BAB9}" presName="ConnectLineEnd1" presStyleLbl="lnNode1" presStyleIdx="4" presStyleCnt="5"/>
      <dgm:spPr/>
    </dgm:pt>
    <dgm:pt modelId="{E3704BF8-9CC9-4A54-A014-62262A3D0562}" type="pres">
      <dgm:prSet presAssocID="{CC606587-5A8B-49E0-9A71-271856C0BAB9}" presName="EmptyPane1" presStyleCnt="0"/>
      <dgm:spPr/>
    </dgm:pt>
  </dgm:ptLst>
  <dgm:cxnLst>
    <dgm:cxn modelId="{6E168400-7382-4E45-8FB7-426664678D0D}" srcId="{2F4B8EEC-1E4C-4712-81BB-D63BE9855C61}" destId="{8DAA56A3-DBA5-4ACF-83BF-BA74D2CD94F0}" srcOrd="2" destOrd="0" parTransId="{DCF9731F-C331-4720-95A8-CBFE7EF90165}" sibTransId="{3AB4761F-9269-4215-BDA1-A23DB7BACF04}"/>
    <dgm:cxn modelId="{90873505-74A8-4F4F-B5B2-C4E3EB6F3772}" srcId="{93EB4D4D-7041-46AF-BE9D-AA98A090F910}" destId="{B6DA5852-C50B-4453-BAA4-DB044A1E2C70}" srcOrd="0" destOrd="0" parTransId="{556FBDBA-79DA-49FF-9C12-3F64EBC8858F}" sibTransId="{85E3D758-5D2D-4C2A-9286-10E65AC691DA}"/>
    <dgm:cxn modelId="{3BB3AC0D-4D39-4D6B-9456-33ED67C8AA9A}" srcId="{2F4B8EEC-1E4C-4712-81BB-D63BE9855C61}" destId="{11AEDB9E-F2C5-40EC-97D3-280FE412FEAB}" srcOrd="1" destOrd="0" parTransId="{6FAF509E-C589-435B-B639-7CDC9FE57B50}" sibTransId="{D1E60B0F-44DD-4E0A-A015-106E60550CD4}"/>
    <dgm:cxn modelId="{8014FE13-2CB8-4675-9919-CA57F2FB51FA}" srcId="{B5382090-D389-4E46-AA83-EE7C9A0AF2FB}" destId="{93EB4D4D-7041-46AF-BE9D-AA98A090F910}" srcOrd="3" destOrd="0" parTransId="{22CDD264-543C-4828-8E37-934D1D485100}" sibTransId="{84643A88-91BA-48FF-9867-56210E59F180}"/>
    <dgm:cxn modelId="{C05A721C-2F92-4C9C-A398-90D135613438}" type="presOf" srcId="{E1437169-0413-4A39-A1BD-A2F8EBCF2471}" destId="{56516020-B037-4B43-B65D-83A0B87F7AAD}" srcOrd="0" destOrd="0" presId="urn:microsoft.com/office/officeart/2016/7/layout/RoundedRectangleTimeline"/>
    <dgm:cxn modelId="{C3B1A125-E929-455A-8D67-181155737359}" type="presOf" srcId="{2F4B8EEC-1E4C-4712-81BB-D63BE9855C61}" destId="{2A264F77-B2FA-4287-8CB3-C21226EC55BC}" srcOrd="0" destOrd="0" presId="urn:microsoft.com/office/officeart/2016/7/layout/RoundedRectangleTimeline"/>
    <dgm:cxn modelId="{83D5F926-237D-4FC4-97FB-D207A0D876E1}" srcId="{CC606587-5A8B-49E0-9A71-271856C0BAB9}" destId="{E1437169-0413-4A39-A1BD-A2F8EBCF2471}" srcOrd="0" destOrd="0" parTransId="{FAF04500-CD33-4162-909B-567AF6C20552}" sibTransId="{5913FF5D-5F91-42FC-B6E7-389B5EC41193}"/>
    <dgm:cxn modelId="{2EA67F2B-FBB7-479B-8FF4-AB94FD6EACA9}" srcId="{3CCC7BA8-F830-4282-8995-60282ED2AF84}" destId="{99DBFDEF-6402-4697-B155-D8A79419499B}" srcOrd="1" destOrd="0" parTransId="{8367D9F7-3B16-4460-AF71-F5E6400BCEE6}" sibTransId="{3364A19D-CE7A-4EC3-90CE-C7B2470E94DE}"/>
    <dgm:cxn modelId="{3D214261-088C-48DD-AF77-FC27017E0AA8}" type="presOf" srcId="{3CCC7BA8-F830-4282-8995-60282ED2AF84}" destId="{D0523C11-87BF-4677-B69F-65F76242AA47}" srcOrd="0" destOrd="0" presId="urn:microsoft.com/office/officeart/2016/7/layout/RoundedRectangleTimeline"/>
    <dgm:cxn modelId="{38F89E66-3554-4EBD-A747-62C896BD1AFF}" srcId="{2F4B8EEC-1E4C-4712-81BB-D63BE9855C61}" destId="{9D17A697-6675-40A1-A7DB-F1B0ABE7E91F}" srcOrd="0" destOrd="0" parTransId="{6A428814-87A2-4924-82E0-829EB682F359}" sibTransId="{946FC9BE-F42A-4983-8526-1879C11E8755}"/>
    <dgm:cxn modelId="{CB274A67-8C68-42A0-9DF6-9226C996BDF0}" type="presOf" srcId="{F0DA5227-3008-4C12-BBF4-0E9B37866C7D}" destId="{B7F91847-0032-447D-8816-FC686C440B19}" srcOrd="0" destOrd="0" presId="urn:microsoft.com/office/officeart/2016/7/layout/RoundedRectangleTimeline"/>
    <dgm:cxn modelId="{6875B647-C7FD-42D7-A870-464412A77F95}" srcId="{B5382090-D389-4E46-AA83-EE7C9A0AF2FB}" destId="{3CCC7BA8-F830-4282-8995-60282ED2AF84}" srcOrd="2" destOrd="0" parTransId="{D0F60D02-3B3F-483D-8BFE-F6B4FB9DD9B7}" sibTransId="{B70366BE-52AC-4478-9006-5DAED037748E}"/>
    <dgm:cxn modelId="{8345E84F-09EE-4FD9-BD0B-3F294090E9B9}" srcId="{B5382090-D389-4E46-AA83-EE7C9A0AF2FB}" destId="{2F4B8EEC-1E4C-4712-81BB-D63BE9855C61}" srcOrd="0" destOrd="0" parTransId="{BFF0DC42-9D80-42B5-A983-6F359D9BC442}" sibTransId="{68C5AE89-F039-4DA9-AB3F-C85DD62B3F96}"/>
    <dgm:cxn modelId="{DFB31E7D-8E42-4273-8372-7445A808F08C}" type="presOf" srcId="{99DBFDEF-6402-4697-B155-D8A79419499B}" destId="{B7F91847-0032-447D-8816-FC686C440B19}" srcOrd="0" destOrd="1" presId="urn:microsoft.com/office/officeart/2016/7/layout/RoundedRectangleTimeline"/>
    <dgm:cxn modelId="{654BD68E-CAF2-4855-847C-815E82482837}" type="presOf" srcId="{6CAF2D26-65A5-4A39-A5AA-F1A1B24729A5}" destId="{36279CEF-236B-43ED-907C-B557697BEC8D}" srcOrd="0" destOrd="0" presId="urn:microsoft.com/office/officeart/2016/7/layout/RoundedRectangleTimeline"/>
    <dgm:cxn modelId="{5F928992-0FBB-4AB3-8EB5-F1980EA7F52F}" srcId="{6CAF2D26-65A5-4A39-A5AA-F1A1B24729A5}" destId="{E7163975-B508-4423-9A1C-A6A92AF9BAEB}" srcOrd="0" destOrd="0" parTransId="{D121BC99-EE3E-403C-8417-2FEE19AC8270}" sibTransId="{835DB201-843C-4E47-945A-5653298D45A2}"/>
    <dgm:cxn modelId="{5E18D294-B37C-41DA-B707-DBC301C9E11C}" type="presOf" srcId="{8DAA56A3-DBA5-4ACF-83BF-BA74D2CD94F0}" destId="{3BF414E0-9BED-4B93-BAE4-0FE63D3F3D0D}" srcOrd="0" destOrd="2" presId="urn:microsoft.com/office/officeart/2016/7/layout/RoundedRectangleTimeline"/>
    <dgm:cxn modelId="{C65ACF9C-D479-4A2A-8F15-3A7EBD85DA9B}" type="presOf" srcId="{7E3B377A-80FA-4031-BB26-CAFF134D3C5E}" destId="{E2E51C52-4030-4BEA-9AB5-ACD8C111DBF2}" srcOrd="0" destOrd="1" presId="urn:microsoft.com/office/officeart/2016/7/layout/RoundedRectangleTimeline"/>
    <dgm:cxn modelId="{72CCA59E-E059-40B8-9711-8167E4D1DAD1}" srcId="{B5382090-D389-4E46-AA83-EE7C9A0AF2FB}" destId="{6CAF2D26-65A5-4A39-A5AA-F1A1B24729A5}" srcOrd="1" destOrd="0" parTransId="{77EF17C5-C60C-47F0-A1F6-862A3422C0E6}" sibTransId="{2F6BE94D-31C4-4553-8818-924A39FD9A82}"/>
    <dgm:cxn modelId="{DE5CA7AC-8F6C-4102-8155-3B8547A06734}" type="presOf" srcId="{B6DA5852-C50B-4453-BAA4-DB044A1E2C70}" destId="{E2E51C52-4030-4BEA-9AB5-ACD8C111DBF2}" srcOrd="0" destOrd="0" presId="urn:microsoft.com/office/officeart/2016/7/layout/RoundedRectangleTimeline"/>
    <dgm:cxn modelId="{7FD0A3AD-9B41-48EB-AE8F-78B367D7D756}" srcId="{B5382090-D389-4E46-AA83-EE7C9A0AF2FB}" destId="{CC606587-5A8B-49E0-9A71-271856C0BAB9}" srcOrd="4" destOrd="0" parTransId="{124C822C-5988-4829-B271-A6F2FB875E50}" sibTransId="{B6E5B8F0-E62D-410D-8020-125D5FDA19E3}"/>
    <dgm:cxn modelId="{E89315BB-F32D-4B4B-AE14-82C6C9CBA81E}" type="presOf" srcId="{CC606587-5A8B-49E0-9A71-271856C0BAB9}" destId="{B65F089C-AC3F-42D1-9558-75FFA066A59B}" srcOrd="0" destOrd="0" presId="urn:microsoft.com/office/officeart/2016/7/layout/RoundedRectangleTimeline"/>
    <dgm:cxn modelId="{D73F4EBB-7935-45C0-944B-E4A7E32AAFA8}" type="presOf" srcId="{11AEDB9E-F2C5-40EC-97D3-280FE412FEAB}" destId="{3BF414E0-9BED-4B93-BAE4-0FE63D3F3D0D}" srcOrd="0" destOrd="1" presId="urn:microsoft.com/office/officeart/2016/7/layout/RoundedRectangleTimeline"/>
    <dgm:cxn modelId="{F06878BC-A1C5-4811-9DEB-4C94EE37821D}" type="presOf" srcId="{E7163975-B508-4423-9A1C-A6A92AF9BAEB}" destId="{EDD5675C-83C4-4769-8648-4EF5BC6B613D}" srcOrd="0" destOrd="0" presId="urn:microsoft.com/office/officeart/2016/7/layout/RoundedRectangleTimeline"/>
    <dgm:cxn modelId="{640011BD-E496-4C43-AF1A-807550056348}" type="presOf" srcId="{FDA694CD-E71F-4F5A-BCAD-F7098C4B6BCB}" destId="{EDD5675C-83C4-4769-8648-4EF5BC6B613D}" srcOrd="0" destOrd="1" presId="urn:microsoft.com/office/officeart/2016/7/layout/RoundedRectangleTimeline"/>
    <dgm:cxn modelId="{BCE132D5-9E6C-420C-8118-A6E61F2E2A50}" srcId="{93EB4D4D-7041-46AF-BE9D-AA98A090F910}" destId="{7E3B377A-80FA-4031-BB26-CAFF134D3C5E}" srcOrd="1" destOrd="0" parTransId="{6EA894D9-96B6-4471-9DBF-20662724ABE3}" sibTransId="{B7D2ACD8-619D-4876-8ACC-17BCF43D93EE}"/>
    <dgm:cxn modelId="{91BEBBD9-0D76-4CBE-9828-C6E073D930C5}" srcId="{6CAF2D26-65A5-4A39-A5AA-F1A1B24729A5}" destId="{FDA694CD-E71F-4F5A-BCAD-F7098C4B6BCB}" srcOrd="1" destOrd="0" parTransId="{2AAF8557-1D3F-4983-8932-5A91E1D8ED95}" sibTransId="{7359738A-2EF5-43DA-85BF-69125DD9E49A}"/>
    <dgm:cxn modelId="{A2CB34DC-5D74-471D-BD83-CC4F4B0C46A4}" type="presOf" srcId="{DD6C78AF-BC43-4B59-8A0D-BCF55709CD6E}" destId="{EDD5675C-83C4-4769-8648-4EF5BC6B613D}" srcOrd="0" destOrd="2" presId="urn:microsoft.com/office/officeart/2016/7/layout/RoundedRectangleTimeline"/>
    <dgm:cxn modelId="{8D996FDE-D4AE-42DF-8063-6ABF47694D79}" type="presOf" srcId="{93EB4D4D-7041-46AF-BE9D-AA98A090F910}" destId="{348918C2-BB52-40BD-A734-17B37F1C393A}" srcOrd="0" destOrd="0" presId="urn:microsoft.com/office/officeart/2016/7/layout/RoundedRectangleTimeline"/>
    <dgm:cxn modelId="{CC11E6E1-A450-47FF-8261-28FE3A9A1EC8}" type="presOf" srcId="{9D17A697-6675-40A1-A7DB-F1B0ABE7E91F}" destId="{3BF414E0-9BED-4B93-BAE4-0FE63D3F3D0D}" srcOrd="0" destOrd="0" presId="urn:microsoft.com/office/officeart/2016/7/layout/RoundedRectangleTimeline"/>
    <dgm:cxn modelId="{D95AC2E7-7AE7-4E13-8E28-20F90AD5FCEA}" srcId="{3CCC7BA8-F830-4282-8995-60282ED2AF84}" destId="{F0DA5227-3008-4C12-BBF4-0E9B37866C7D}" srcOrd="0" destOrd="0" parTransId="{B9DB6597-99BF-4C9E-A7A2-E9705DA390AA}" sibTransId="{913E5628-055C-4D5E-8D80-633EFA343EED}"/>
    <dgm:cxn modelId="{C9A64AFB-AC38-47CB-94F7-4CE022C56823}" srcId="{6CAF2D26-65A5-4A39-A5AA-F1A1B24729A5}" destId="{DD6C78AF-BC43-4B59-8A0D-BCF55709CD6E}" srcOrd="2" destOrd="0" parTransId="{975FF2EF-7EB2-4F40-B584-B7ED3D747EAF}" sibTransId="{AD0E4763-8626-4D72-8F04-94697DFEF045}"/>
    <dgm:cxn modelId="{DF0FE6FE-E918-4DCB-9907-94E2EB33EDBE}" type="presOf" srcId="{B5382090-D389-4E46-AA83-EE7C9A0AF2FB}" destId="{61CB4F07-D820-4684-A2E2-58493A83A1AB}" srcOrd="0" destOrd="0" presId="urn:microsoft.com/office/officeart/2016/7/layout/RoundedRectangleTimeline"/>
    <dgm:cxn modelId="{699F38B0-38F6-4A65-ADE5-D74A3BA63F34}" type="presParOf" srcId="{61CB4F07-D820-4684-A2E2-58493A83A1AB}" destId="{177A8DEF-551D-43CE-B53F-CBC2EF28F0BA}" srcOrd="0" destOrd="0" presId="urn:microsoft.com/office/officeart/2016/7/layout/RoundedRectangleTimeline"/>
    <dgm:cxn modelId="{FBF356B7-AA78-4F63-8F7A-189DAEEE69C8}" type="presParOf" srcId="{177A8DEF-551D-43CE-B53F-CBC2EF28F0BA}" destId="{2A264F77-B2FA-4287-8CB3-C21226EC55BC}" srcOrd="0" destOrd="0" presId="urn:microsoft.com/office/officeart/2016/7/layout/RoundedRectangleTimeline"/>
    <dgm:cxn modelId="{2BB0C65D-0F37-485E-A93F-DAAFAE055E62}" type="presParOf" srcId="{177A8DEF-551D-43CE-B53F-CBC2EF28F0BA}" destId="{3BF414E0-9BED-4B93-BAE4-0FE63D3F3D0D}" srcOrd="1" destOrd="0" presId="urn:microsoft.com/office/officeart/2016/7/layout/RoundedRectangleTimeline"/>
    <dgm:cxn modelId="{DC6B1CF6-D223-4637-BBB2-7C1789F429AB}" type="presParOf" srcId="{177A8DEF-551D-43CE-B53F-CBC2EF28F0BA}" destId="{67BC571C-90DF-423A-BE46-261CD6D15CD9}" srcOrd="2" destOrd="0" presId="urn:microsoft.com/office/officeart/2016/7/layout/RoundedRectangleTimeline"/>
    <dgm:cxn modelId="{6C8C6839-D98F-415C-AC02-AF9C7506694A}" type="presParOf" srcId="{177A8DEF-551D-43CE-B53F-CBC2EF28F0BA}" destId="{7071E5EA-6A1E-4936-AA67-E6DF12E44E4A}" srcOrd="3" destOrd="0" presId="urn:microsoft.com/office/officeart/2016/7/layout/RoundedRectangleTimeline"/>
    <dgm:cxn modelId="{AA68E216-DD16-4898-8A1F-F93865CB2A9F}" type="presParOf" srcId="{177A8DEF-551D-43CE-B53F-CBC2EF28F0BA}" destId="{12A2CD21-CC18-4E7F-A84F-6AE4E2663E3B}" srcOrd="4" destOrd="0" presId="urn:microsoft.com/office/officeart/2016/7/layout/RoundedRectangleTimeline"/>
    <dgm:cxn modelId="{035552C6-7D59-4F9A-AAF4-3245B68114C5}" type="presParOf" srcId="{61CB4F07-D820-4684-A2E2-58493A83A1AB}" destId="{057B253B-A2A0-4963-92F6-DBE3E400E6CE}" srcOrd="1" destOrd="0" presId="urn:microsoft.com/office/officeart/2016/7/layout/RoundedRectangleTimeline"/>
    <dgm:cxn modelId="{65576CCD-B07E-48B1-9477-1995DA73A92D}" type="presParOf" srcId="{61CB4F07-D820-4684-A2E2-58493A83A1AB}" destId="{9924B38D-E40F-48F3-BCDA-174D2F327F02}" srcOrd="2" destOrd="0" presId="urn:microsoft.com/office/officeart/2016/7/layout/RoundedRectangleTimeline"/>
    <dgm:cxn modelId="{202A8FF7-FF86-4E42-9C0A-690BFB4C87F7}" type="presParOf" srcId="{9924B38D-E40F-48F3-BCDA-174D2F327F02}" destId="{36279CEF-236B-43ED-907C-B557697BEC8D}" srcOrd="0" destOrd="0" presId="urn:microsoft.com/office/officeart/2016/7/layout/RoundedRectangleTimeline"/>
    <dgm:cxn modelId="{C1E47BD8-7897-4185-9EDF-9E5A377D2A8A}" type="presParOf" srcId="{9924B38D-E40F-48F3-BCDA-174D2F327F02}" destId="{EDD5675C-83C4-4769-8648-4EF5BC6B613D}" srcOrd="1" destOrd="0" presId="urn:microsoft.com/office/officeart/2016/7/layout/RoundedRectangleTimeline"/>
    <dgm:cxn modelId="{1C08FEB5-98A9-40A2-BD3E-275BEE2F8C59}" type="presParOf" srcId="{9924B38D-E40F-48F3-BCDA-174D2F327F02}" destId="{61269B63-A20B-41B1-8A64-C7F49377B384}" srcOrd="2" destOrd="0" presId="urn:microsoft.com/office/officeart/2016/7/layout/RoundedRectangleTimeline"/>
    <dgm:cxn modelId="{BE136286-650B-412A-B2E5-4A2DEFBF86E1}" type="presParOf" srcId="{9924B38D-E40F-48F3-BCDA-174D2F327F02}" destId="{46FA7420-7536-4337-AFA6-1BBBB7AE3A4E}" srcOrd="3" destOrd="0" presId="urn:microsoft.com/office/officeart/2016/7/layout/RoundedRectangleTimeline"/>
    <dgm:cxn modelId="{13EE08A1-D898-4686-8092-3D9D3AC5491C}" type="presParOf" srcId="{9924B38D-E40F-48F3-BCDA-174D2F327F02}" destId="{6689BA8C-D7B8-458C-86A2-7D59BC92E2FF}" srcOrd="4" destOrd="0" presId="urn:microsoft.com/office/officeart/2016/7/layout/RoundedRectangleTimeline"/>
    <dgm:cxn modelId="{59A5CC03-6CDC-4BB2-8EC6-41C9DFE23986}" type="presParOf" srcId="{61CB4F07-D820-4684-A2E2-58493A83A1AB}" destId="{E956CBB4-ECC1-4BE7-9ADF-863FE97529E6}" srcOrd="3" destOrd="0" presId="urn:microsoft.com/office/officeart/2016/7/layout/RoundedRectangleTimeline"/>
    <dgm:cxn modelId="{161AC256-FFA2-4431-A988-AE9CFAD0BA3C}" type="presParOf" srcId="{61CB4F07-D820-4684-A2E2-58493A83A1AB}" destId="{5156FF32-0822-43BC-A010-6F0EE06888EA}" srcOrd="4" destOrd="0" presId="urn:microsoft.com/office/officeart/2016/7/layout/RoundedRectangleTimeline"/>
    <dgm:cxn modelId="{725CA45B-123D-4346-9E16-81F4BAE8BAFB}" type="presParOf" srcId="{5156FF32-0822-43BC-A010-6F0EE06888EA}" destId="{D0523C11-87BF-4677-B69F-65F76242AA47}" srcOrd="0" destOrd="0" presId="urn:microsoft.com/office/officeart/2016/7/layout/RoundedRectangleTimeline"/>
    <dgm:cxn modelId="{2BDA967E-CBB3-467A-88DF-E997D39BF290}" type="presParOf" srcId="{5156FF32-0822-43BC-A010-6F0EE06888EA}" destId="{B7F91847-0032-447D-8816-FC686C440B19}" srcOrd="1" destOrd="0" presId="urn:microsoft.com/office/officeart/2016/7/layout/RoundedRectangleTimeline"/>
    <dgm:cxn modelId="{9BC9B71D-16EA-4D6C-82D6-C941898F96F2}" type="presParOf" srcId="{5156FF32-0822-43BC-A010-6F0EE06888EA}" destId="{6E49F180-E2B2-4820-A02B-E6CBCD4B03C9}" srcOrd="2" destOrd="0" presId="urn:microsoft.com/office/officeart/2016/7/layout/RoundedRectangleTimeline"/>
    <dgm:cxn modelId="{72D06DA1-5E5C-4420-835F-7C4DC72B248F}" type="presParOf" srcId="{5156FF32-0822-43BC-A010-6F0EE06888EA}" destId="{C716EC80-6C9F-442F-AC00-4867FF001B7F}" srcOrd="3" destOrd="0" presId="urn:microsoft.com/office/officeart/2016/7/layout/RoundedRectangleTimeline"/>
    <dgm:cxn modelId="{9D4E02D8-2471-4DEF-B441-292827069049}" type="presParOf" srcId="{5156FF32-0822-43BC-A010-6F0EE06888EA}" destId="{2A3CBE89-E359-471B-8BF5-884D79AA0CBB}" srcOrd="4" destOrd="0" presId="urn:microsoft.com/office/officeart/2016/7/layout/RoundedRectangleTimeline"/>
    <dgm:cxn modelId="{8AD1C962-0E6A-4775-BBB3-40454F8BE9B7}" type="presParOf" srcId="{61CB4F07-D820-4684-A2E2-58493A83A1AB}" destId="{B9DF08E9-0A04-4E56-90D5-7576554DE34A}" srcOrd="5" destOrd="0" presId="urn:microsoft.com/office/officeart/2016/7/layout/RoundedRectangleTimeline"/>
    <dgm:cxn modelId="{62E8827B-8F4C-4B5B-8A6F-1BDC6B2B8C45}" type="presParOf" srcId="{61CB4F07-D820-4684-A2E2-58493A83A1AB}" destId="{633EF82F-023A-4D47-BE04-2B9B131CC340}" srcOrd="6" destOrd="0" presId="urn:microsoft.com/office/officeart/2016/7/layout/RoundedRectangleTimeline"/>
    <dgm:cxn modelId="{F97C4E36-3BD3-4977-A32B-D2B1A9332241}" type="presParOf" srcId="{633EF82F-023A-4D47-BE04-2B9B131CC340}" destId="{348918C2-BB52-40BD-A734-17B37F1C393A}" srcOrd="0" destOrd="0" presId="urn:microsoft.com/office/officeart/2016/7/layout/RoundedRectangleTimeline"/>
    <dgm:cxn modelId="{CFAF5FAE-8BA7-40B1-B491-FF7E8F4758E2}" type="presParOf" srcId="{633EF82F-023A-4D47-BE04-2B9B131CC340}" destId="{E2E51C52-4030-4BEA-9AB5-ACD8C111DBF2}" srcOrd="1" destOrd="0" presId="urn:microsoft.com/office/officeart/2016/7/layout/RoundedRectangleTimeline"/>
    <dgm:cxn modelId="{27E7246F-467D-408F-9A28-F83803788CB5}" type="presParOf" srcId="{633EF82F-023A-4D47-BE04-2B9B131CC340}" destId="{049B9701-D383-4FF8-B0F8-7AF825779BE5}" srcOrd="2" destOrd="0" presId="urn:microsoft.com/office/officeart/2016/7/layout/RoundedRectangleTimeline"/>
    <dgm:cxn modelId="{59C307FF-D3C0-42B9-A6DA-903B08F4212A}" type="presParOf" srcId="{633EF82F-023A-4D47-BE04-2B9B131CC340}" destId="{6A52CAC0-17AA-4870-BDAB-09AA7F96891F}" srcOrd="3" destOrd="0" presId="urn:microsoft.com/office/officeart/2016/7/layout/RoundedRectangleTimeline"/>
    <dgm:cxn modelId="{00EABDC8-8CD4-4C7F-95F1-97168EDE92F4}" type="presParOf" srcId="{633EF82F-023A-4D47-BE04-2B9B131CC340}" destId="{7F5AB221-F6E4-45F1-9CBA-C03B34A248D2}" srcOrd="4" destOrd="0" presId="urn:microsoft.com/office/officeart/2016/7/layout/RoundedRectangleTimeline"/>
    <dgm:cxn modelId="{06DDA548-99F9-4C94-918A-3D031906CDA1}" type="presParOf" srcId="{61CB4F07-D820-4684-A2E2-58493A83A1AB}" destId="{AA5A88A6-FB47-4A93-B60F-BF5DA87D39F2}" srcOrd="7" destOrd="0" presId="urn:microsoft.com/office/officeart/2016/7/layout/RoundedRectangleTimeline"/>
    <dgm:cxn modelId="{A4327712-435F-43B1-BF2F-D731077DB423}" type="presParOf" srcId="{61CB4F07-D820-4684-A2E2-58493A83A1AB}" destId="{5730AFE9-712E-4F5C-BEC8-DA0ADAFB139C}" srcOrd="8" destOrd="0" presId="urn:microsoft.com/office/officeart/2016/7/layout/RoundedRectangleTimeline"/>
    <dgm:cxn modelId="{980051E3-A073-4F00-9CD6-5D9E892DB480}" type="presParOf" srcId="{5730AFE9-712E-4F5C-BEC8-DA0ADAFB139C}" destId="{B65F089C-AC3F-42D1-9558-75FFA066A59B}" srcOrd="0" destOrd="0" presId="urn:microsoft.com/office/officeart/2016/7/layout/RoundedRectangleTimeline"/>
    <dgm:cxn modelId="{9998468A-991E-4627-9D3C-DB7C43992982}" type="presParOf" srcId="{5730AFE9-712E-4F5C-BEC8-DA0ADAFB139C}" destId="{56516020-B037-4B43-B65D-83A0B87F7AAD}" srcOrd="1" destOrd="0" presId="urn:microsoft.com/office/officeart/2016/7/layout/RoundedRectangleTimeline"/>
    <dgm:cxn modelId="{D00997B6-98F1-47A7-B887-AF0DCFAF6A69}" type="presParOf" srcId="{5730AFE9-712E-4F5C-BEC8-DA0ADAFB139C}" destId="{B39307CB-B732-48EA-AAB4-37B06AE60009}" srcOrd="2" destOrd="0" presId="urn:microsoft.com/office/officeart/2016/7/layout/RoundedRectangleTimeline"/>
    <dgm:cxn modelId="{355CF684-2556-4DE4-8A71-8C2940B039E1}" type="presParOf" srcId="{5730AFE9-712E-4F5C-BEC8-DA0ADAFB139C}" destId="{D7A78797-430E-481D-A66B-2F17F20047DF}" srcOrd="3" destOrd="0" presId="urn:microsoft.com/office/officeart/2016/7/layout/RoundedRectangleTimeline"/>
    <dgm:cxn modelId="{FE29C5B7-895F-4870-BE8E-2F9E46ABED56}" type="presParOf" srcId="{5730AFE9-712E-4F5C-BEC8-DA0ADAFB139C}" destId="{E3704BF8-9CC9-4A54-A014-62262A3D0562}"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9F043-3973-4633-ABFF-180F34CD04B5}">
      <dsp:nvSpPr>
        <dsp:cNvPr id="0" name=""/>
        <dsp:cNvSpPr/>
      </dsp:nvSpPr>
      <dsp:spPr>
        <a:xfrm>
          <a:off x="9324717" y="2966256"/>
          <a:ext cx="180325" cy="631727"/>
        </a:xfrm>
        <a:custGeom>
          <a:avLst/>
          <a:gdLst/>
          <a:ahLst/>
          <a:cxnLst/>
          <a:rect l="0" t="0" r="0" b="0"/>
          <a:pathLst>
            <a:path>
              <a:moveTo>
                <a:pt x="0" y="0"/>
              </a:moveTo>
              <a:lnTo>
                <a:pt x="0" y="631727"/>
              </a:lnTo>
              <a:lnTo>
                <a:pt x="180325" y="631727"/>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D18F89-A724-4748-8AE6-AAFD1C5AE2A5}">
      <dsp:nvSpPr>
        <dsp:cNvPr id="0" name=""/>
        <dsp:cNvSpPr/>
      </dsp:nvSpPr>
      <dsp:spPr>
        <a:xfrm>
          <a:off x="8736902" y="1986926"/>
          <a:ext cx="1121551" cy="451567"/>
        </a:xfrm>
        <a:custGeom>
          <a:avLst/>
          <a:gdLst/>
          <a:ahLst/>
          <a:cxnLst/>
          <a:rect l="0" t="0" r="0" b="0"/>
          <a:pathLst>
            <a:path>
              <a:moveTo>
                <a:pt x="0" y="0"/>
              </a:moveTo>
              <a:lnTo>
                <a:pt x="0" y="322349"/>
              </a:lnTo>
              <a:lnTo>
                <a:pt x="1121551" y="322349"/>
              </a:lnTo>
              <a:lnTo>
                <a:pt x="1121551" y="451567"/>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382E3D-F7B7-41A6-AE23-F8106B8EA9B5}">
      <dsp:nvSpPr>
        <dsp:cNvPr id="0" name=""/>
        <dsp:cNvSpPr/>
      </dsp:nvSpPr>
      <dsp:spPr>
        <a:xfrm>
          <a:off x="7273811" y="2985657"/>
          <a:ext cx="142873" cy="602201"/>
        </a:xfrm>
        <a:custGeom>
          <a:avLst/>
          <a:gdLst/>
          <a:ahLst/>
          <a:cxnLst/>
          <a:rect l="0" t="0" r="0" b="0"/>
          <a:pathLst>
            <a:path>
              <a:moveTo>
                <a:pt x="0" y="0"/>
              </a:moveTo>
              <a:lnTo>
                <a:pt x="0" y="602201"/>
              </a:lnTo>
              <a:lnTo>
                <a:pt x="142873" y="602201"/>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9046E2-F351-4C0E-9903-BB63930E82C8}">
      <dsp:nvSpPr>
        <dsp:cNvPr id="0" name=""/>
        <dsp:cNvSpPr/>
      </dsp:nvSpPr>
      <dsp:spPr>
        <a:xfrm>
          <a:off x="7839864" y="1986926"/>
          <a:ext cx="897038" cy="451567"/>
        </a:xfrm>
        <a:custGeom>
          <a:avLst/>
          <a:gdLst/>
          <a:ahLst/>
          <a:cxnLst/>
          <a:rect l="0" t="0" r="0" b="0"/>
          <a:pathLst>
            <a:path>
              <a:moveTo>
                <a:pt x="897038" y="0"/>
              </a:moveTo>
              <a:lnTo>
                <a:pt x="897038" y="322349"/>
              </a:lnTo>
              <a:lnTo>
                <a:pt x="0" y="322349"/>
              </a:lnTo>
              <a:lnTo>
                <a:pt x="0" y="451567"/>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C20B5E-6098-4A47-9EF1-D51B0BA7F14A}">
      <dsp:nvSpPr>
        <dsp:cNvPr id="0" name=""/>
        <dsp:cNvSpPr/>
      </dsp:nvSpPr>
      <dsp:spPr>
        <a:xfrm>
          <a:off x="5756081" y="1166688"/>
          <a:ext cx="2980821" cy="278495"/>
        </a:xfrm>
        <a:custGeom>
          <a:avLst/>
          <a:gdLst/>
          <a:ahLst/>
          <a:cxnLst/>
          <a:rect l="0" t="0" r="0" b="0"/>
          <a:pathLst>
            <a:path>
              <a:moveTo>
                <a:pt x="0" y="0"/>
              </a:moveTo>
              <a:lnTo>
                <a:pt x="0" y="149277"/>
              </a:lnTo>
              <a:lnTo>
                <a:pt x="2980821" y="149277"/>
              </a:lnTo>
              <a:lnTo>
                <a:pt x="2980821" y="278495"/>
              </a:lnTo>
            </a:path>
          </a:pathLst>
        </a:custGeom>
        <a:noFill/>
        <a:ln w="10795"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0D67AD-19DA-4ECA-A253-A7B25154619A}">
      <dsp:nvSpPr>
        <dsp:cNvPr id="0" name=""/>
        <dsp:cNvSpPr/>
      </dsp:nvSpPr>
      <dsp:spPr>
        <a:xfrm>
          <a:off x="5062358" y="3819020"/>
          <a:ext cx="186254" cy="1169680"/>
        </a:xfrm>
        <a:custGeom>
          <a:avLst/>
          <a:gdLst/>
          <a:ahLst/>
          <a:cxnLst/>
          <a:rect l="0" t="0" r="0" b="0"/>
          <a:pathLst>
            <a:path>
              <a:moveTo>
                <a:pt x="0" y="0"/>
              </a:moveTo>
              <a:lnTo>
                <a:pt x="0" y="1169680"/>
              </a:lnTo>
              <a:lnTo>
                <a:pt x="186254" y="1169680"/>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4EF9AA-BC71-4CDD-8053-5413FC01E663}">
      <dsp:nvSpPr>
        <dsp:cNvPr id="0" name=""/>
        <dsp:cNvSpPr/>
      </dsp:nvSpPr>
      <dsp:spPr>
        <a:xfrm>
          <a:off x="5062358" y="3819020"/>
          <a:ext cx="186254" cy="422788"/>
        </a:xfrm>
        <a:custGeom>
          <a:avLst/>
          <a:gdLst/>
          <a:ahLst/>
          <a:cxnLst/>
          <a:rect l="0" t="0" r="0" b="0"/>
          <a:pathLst>
            <a:path>
              <a:moveTo>
                <a:pt x="0" y="0"/>
              </a:moveTo>
              <a:lnTo>
                <a:pt x="0" y="422788"/>
              </a:lnTo>
              <a:lnTo>
                <a:pt x="186254" y="422788"/>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966EA0-9522-4AC7-B0F5-45E7808C1799}">
      <dsp:nvSpPr>
        <dsp:cNvPr id="0" name=""/>
        <dsp:cNvSpPr/>
      </dsp:nvSpPr>
      <dsp:spPr>
        <a:xfrm>
          <a:off x="4473681" y="3046193"/>
          <a:ext cx="1137634" cy="229853"/>
        </a:xfrm>
        <a:custGeom>
          <a:avLst/>
          <a:gdLst/>
          <a:ahLst/>
          <a:cxnLst/>
          <a:rect l="0" t="0" r="0" b="0"/>
          <a:pathLst>
            <a:path>
              <a:moveTo>
                <a:pt x="0" y="0"/>
              </a:moveTo>
              <a:lnTo>
                <a:pt x="0" y="100636"/>
              </a:lnTo>
              <a:lnTo>
                <a:pt x="1137634" y="100636"/>
              </a:lnTo>
              <a:lnTo>
                <a:pt x="1137634" y="22985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FE4D4A-B131-44F3-AD3E-E42695D80DA2}">
      <dsp:nvSpPr>
        <dsp:cNvPr id="0" name=""/>
        <dsp:cNvSpPr/>
      </dsp:nvSpPr>
      <dsp:spPr>
        <a:xfrm>
          <a:off x="2702048" y="3046193"/>
          <a:ext cx="1771632" cy="1908929"/>
        </a:xfrm>
        <a:custGeom>
          <a:avLst/>
          <a:gdLst/>
          <a:ahLst/>
          <a:cxnLst/>
          <a:rect l="0" t="0" r="0" b="0"/>
          <a:pathLst>
            <a:path>
              <a:moveTo>
                <a:pt x="1771632" y="0"/>
              </a:moveTo>
              <a:lnTo>
                <a:pt x="1771632" y="1779711"/>
              </a:lnTo>
              <a:lnTo>
                <a:pt x="0" y="1779711"/>
              </a:lnTo>
              <a:lnTo>
                <a:pt x="0" y="1908929"/>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637F2B-344F-44C0-9B0A-1D1AD26C24F5}">
      <dsp:nvSpPr>
        <dsp:cNvPr id="0" name=""/>
        <dsp:cNvSpPr/>
      </dsp:nvSpPr>
      <dsp:spPr>
        <a:xfrm>
          <a:off x="2450037" y="3046193"/>
          <a:ext cx="2023644" cy="672455"/>
        </a:xfrm>
        <a:custGeom>
          <a:avLst/>
          <a:gdLst/>
          <a:ahLst/>
          <a:cxnLst/>
          <a:rect l="0" t="0" r="0" b="0"/>
          <a:pathLst>
            <a:path>
              <a:moveTo>
                <a:pt x="2023644" y="0"/>
              </a:moveTo>
              <a:lnTo>
                <a:pt x="2023644" y="543238"/>
              </a:lnTo>
              <a:lnTo>
                <a:pt x="0" y="543238"/>
              </a:lnTo>
              <a:lnTo>
                <a:pt x="0" y="672455"/>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1D3193-F46D-43A4-8062-E0EDD5DC45B8}">
      <dsp:nvSpPr>
        <dsp:cNvPr id="0" name=""/>
        <dsp:cNvSpPr/>
      </dsp:nvSpPr>
      <dsp:spPr>
        <a:xfrm>
          <a:off x="2708848" y="2141532"/>
          <a:ext cx="1764832" cy="267191"/>
        </a:xfrm>
        <a:custGeom>
          <a:avLst/>
          <a:gdLst/>
          <a:ahLst/>
          <a:cxnLst/>
          <a:rect l="0" t="0" r="0" b="0"/>
          <a:pathLst>
            <a:path>
              <a:moveTo>
                <a:pt x="0" y="0"/>
              </a:moveTo>
              <a:lnTo>
                <a:pt x="0" y="137973"/>
              </a:lnTo>
              <a:lnTo>
                <a:pt x="1764832" y="137973"/>
              </a:lnTo>
              <a:lnTo>
                <a:pt x="1764832" y="267191"/>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5C4860-4F77-4438-A6D8-2957A9177BEA}">
      <dsp:nvSpPr>
        <dsp:cNvPr id="0" name=""/>
        <dsp:cNvSpPr/>
      </dsp:nvSpPr>
      <dsp:spPr>
        <a:xfrm>
          <a:off x="2660795" y="2141532"/>
          <a:ext cx="91440" cy="307710"/>
        </a:xfrm>
        <a:custGeom>
          <a:avLst/>
          <a:gdLst/>
          <a:ahLst/>
          <a:cxnLst/>
          <a:rect l="0" t="0" r="0" b="0"/>
          <a:pathLst>
            <a:path>
              <a:moveTo>
                <a:pt x="48052" y="0"/>
              </a:moveTo>
              <a:lnTo>
                <a:pt x="48052" y="178492"/>
              </a:lnTo>
              <a:lnTo>
                <a:pt x="45720" y="178492"/>
              </a:lnTo>
              <a:lnTo>
                <a:pt x="45720" y="307710"/>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AFBCFC-54F7-4723-8E9C-054BB94E4E0C}">
      <dsp:nvSpPr>
        <dsp:cNvPr id="0" name=""/>
        <dsp:cNvSpPr/>
      </dsp:nvSpPr>
      <dsp:spPr>
        <a:xfrm>
          <a:off x="821770" y="2141532"/>
          <a:ext cx="1887077" cy="255925"/>
        </a:xfrm>
        <a:custGeom>
          <a:avLst/>
          <a:gdLst/>
          <a:ahLst/>
          <a:cxnLst/>
          <a:rect l="0" t="0" r="0" b="0"/>
          <a:pathLst>
            <a:path>
              <a:moveTo>
                <a:pt x="1887077" y="0"/>
              </a:moveTo>
              <a:lnTo>
                <a:pt x="1887077" y="126707"/>
              </a:lnTo>
              <a:lnTo>
                <a:pt x="0" y="126707"/>
              </a:lnTo>
              <a:lnTo>
                <a:pt x="0" y="255925"/>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C4373B-0F8F-4FDB-B285-C238BFAE51E2}">
      <dsp:nvSpPr>
        <dsp:cNvPr id="0" name=""/>
        <dsp:cNvSpPr/>
      </dsp:nvSpPr>
      <dsp:spPr>
        <a:xfrm>
          <a:off x="2708848" y="1166688"/>
          <a:ext cx="3047233" cy="298314"/>
        </a:xfrm>
        <a:custGeom>
          <a:avLst/>
          <a:gdLst/>
          <a:ahLst/>
          <a:cxnLst/>
          <a:rect l="0" t="0" r="0" b="0"/>
          <a:pathLst>
            <a:path>
              <a:moveTo>
                <a:pt x="3047233" y="0"/>
              </a:moveTo>
              <a:lnTo>
                <a:pt x="3047233" y="169096"/>
              </a:lnTo>
              <a:lnTo>
                <a:pt x="0" y="169096"/>
              </a:lnTo>
              <a:lnTo>
                <a:pt x="0" y="298314"/>
              </a:lnTo>
            </a:path>
          </a:pathLst>
        </a:custGeom>
        <a:noFill/>
        <a:ln w="10795"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CCC9B79-2A2E-4E9B-8B25-FA4382B79E9C}">
      <dsp:nvSpPr>
        <dsp:cNvPr id="0" name=""/>
        <dsp:cNvSpPr/>
      </dsp:nvSpPr>
      <dsp:spPr>
        <a:xfrm>
          <a:off x="4868588" y="569905"/>
          <a:ext cx="1774985" cy="596783"/>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r>
            <a:rPr lang="en-US" sz="2000" kern="1200">
              <a:latin typeface="Trebuchet MS"/>
            </a:rPr>
            <a:t>Features</a:t>
          </a:r>
          <a:endParaRPr lang="en-US" sz="1300" kern="1200"/>
        </a:p>
      </dsp:txBody>
      <dsp:txXfrm>
        <a:off x="4868588" y="569905"/>
        <a:ext cx="1774985" cy="596783"/>
      </dsp:txXfrm>
    </dsp:sp>
    <dsp:sp modelId="{9C3C9FFC-6CE3-4516-BB48-0B379AF3246F}">
      <dsp:nvSpPr>
        <dsp:cNvPr id="0" name=""/>
        <dsp:cNvSpPr/>
      </dsp:nvSpPr>
      <dsp:spPr>
        <a:xfrm>
          <a:off x="1445214" y="1465003"/>
          <a:ext cx="2527267" cy="676529"/>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Trebuchet MS"/>
            </a:rPr>
            <a:t>Internal</a:t>
          </a:r>
        </a:p>
        <a:p>
          <a:pPr marL="0" lvl="0" indent="0" algn="ctr" defTabSz="711200" rtl="0">
            <a:lnSpc>
              <a:spcPct val="90000"/>
            </a:lnSpc>
            <a:spcBef>
              <a:spcPct val="0"/>
            </a:spcBef>
            <a:spcAft>
              <a:spcPct val="35000"/>
            </a:spcAft>
            <a:buNone/>
          </a:pPr>
          <a:r>
            <a:rPr lang="en-US" sz="1300" kern="1200">
              <a:latin typeface="Trebuchet MS"/>
            </a:rPr>
            <a:t>(Provided by Sentosa) </a:t>
          </a:r>
        </a:p>
      </dsp:txBody>
      <dsp:txXfrm>
        <a:off x="1445214" y="1465003"/>
        <a:ext cx="2527267" cy="676529"/>
      </dsp:txXfrm>
    </dsp:sp>
    <dsp:sp modelId="{F1C54E49-88DF-41B8-9CE4-1580051055D3}">
      <dsp:nvSpPr>
        <dsp:cNvPr id="0" name=""/>
        <dsp:cNvSpPr/>
      </dsp:nvSpPr>
      <dsp:spPr>
        <a:xfrm>
          <a:off x="0" y="2397457"/>
          <a:ext cx="1643540" cy="616978"/>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Trebuchet MS"/>
            </a:rPr>
            <a:t>Bus Routes / </a:t>
          </a:r>
        </a:p>
        <a:p>
          <a:pPr marL="0" lvl="0" indent="0" algn="ctr" defTabSz="622300" rtl="0">
            <a:lnSpc>
              <a:spcPct val="90000"/>
            </a:lnSpc>
            <a:spcBef>
              <a:spcPct val="0"/>
            </a:spcBef>
            <a:spcAft>
              <a:spcPct val="35000"/>
            </a:spcAft>
            <a:buNone/>
          </a:pPr>
          <a:r>
            <a:rPr lang="en-US" sz="1400" kern="1200">
              <a:latin typeface="Trebuchet MS"/>
            </a:rPr>
            <a:t>Bus Stops</a:t>
          </a:r>
        </a:p>
      </dsp:txBody>
      <dsp:txXfrm>
        <a:off x="0" y="2397457"/>
        <a:ext cx="1643540" cy="616978"/>
      </dsp:txXfrm>
    </dsp:sp>
    <dsp:sp modelId="{10494BA1-96B0-4FEC-8400-EADA7A351CC3}">
      <dsp:nvSpPr>
        <dsp:cNvPr id="0" name=""/>
        <dsp:cNvSpPr/>
      </dsp:nvSpPr>
      <dsp:spPr>
        <a:xfrm>
          <a:off x="1856810" y="2449243"/>
          <a:ext cx="1699411" cy="592882"/>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latin typeface="Trebuchet MS"/>
            </a:rPr>
            <a:t>Bus to Amenities / Attraction Details</a:t>
          </a:r>
        </a:p>
      </dsp:txBody>
      <dsp:txXfrm>
        <a:off x="1856810" y="2449243"/>
        <a:ext cx="1699411" cy="592882"/>
      </dsp:txXfrm>
    </dsp:sp>
    <dsp:sp modelId="{2560B20E-0565-4FC8-AE1B-3049EDCD181D}">
      <dsp:nvSpPr>
        <dsp:cNvPr id="0" name=""/>
        <dsp:cNvSpPr/>
      </dsp:nvSpPr>
      <dsp:spPr>
        <a:xfrm>
          <a:off x="3695494" y="2408724"/>
          <a:ext cx="1556373" cy="637468"/>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i="0" kern="1200">
              <a:latin typeface="Trebuchet MS"/>
            </a:rPr>
            <a:t>Ridership</a:t>
          </a:r>
        </a:p>
      </dsp:txBody>
      <dsp:txXfrm>
        <a:off x="3695494" y="2408724"/>
        <a:ext cx="1556373" cy="637468"/>
      </dsp:txXfrm>
    </dsp:sp>
    <dsp:sp modelId="{C7A6C7CE-C4F5-4BC6-A0A8-F985343462E5}">
      <dsp:nvSpPr>
        <dsp:cNvPr id="0" name=""/>
        <dsp:cNvSpPr/>
      </dsp:nvSpPr>
      <dsp:spPr>
        <a:xfrm>
          <a:off x="1093550" y="3718649"/>
          <a:ext cx="2712972" cy="857797"/>
        </a:xfrm>
        <a:prstGeom prst="rect">
          <a:avLst/>
        </a:prstGeom>
        <a:solidFill>
          <a:srgbClr val="FF84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Trebuchet MS"/>
            </a:rPr>
            <a:t>Average of Total Ridership </a:t>
          </a:r>
        </a:p>
        <a:p>
          <a:pPr marL="0" lvl="0" indent="0" algn="ctr" defTabSz="577850" rtl="0">
            <a:lnSpc>
              <a:spcPct val="90000"/>
            </a:lnSpc>
            <a:spcBef>
              <a:spcPct val="0"/>
            </a:spcBef>
            <a:spcAft>
              <a:spcPct val="35000"/>
            </a:spcAft>
            <a:buNone/>
          </a:pPr>
          <a:r>
            <a:rPr lang="en-US" sz="1300" kern="1200">
              <a:latin typeface="Trebuchet MS"/>
            </a:rPr>
            <a:t>(Sum of Total In &amp; Total Out/2) </a:t>
          </a:r>
        </a:p>
        <a:p>
          <a:pPr marL="0" lvl="0" indent="0" algn="ctr" defTabSz="577850" rtl="0">
            <a:lnSpc>
              <a:spcPct val="90000"/>
            </a:lnSpc>
            <a:spcBef>
              <a:spcPct val="0"/>
            </a:spcBef>
            <a:spcAft>
              <a:spcPct val="35000"/>
            </a:spcAft>
            <a:buNone/>
          </a:pPr>
          <a:r>
            <a:rPr lang="en-US" sz="1300" i="1" kern="1200">
              <a:latin typeface="Trebuchet MS"/>
            </a:rPr>
            <a:t>*Predicted Variable</a:t>
          </a:r>
        </a:p>
      </dsp:txBody>
      <dsp:txXfrm>
        <a:off x="1093550" y="3718649"/>
        <a:ext cx="2712972" cy="857797"/>
      </dsp:txXfrm>
    </dsp:sp>
    <dsp:sp modelId="{9B15108C-3527-4ADE-9348-70DEF36E738E}">
      <dsp:nvSpPr>
        <dsp:cNvPr id="0" name=""/>
        <dsp:cNvSpPr/>
      </dsp:nvSpPr>
      <dsp:spPr>
        <a:xfrm>
          <a:off x="1621276" y="4955122"/>
          <a:ext cx="2161544" cy="604308"/>
        </a:xfrm>
        <a:prstGeom prst="rect">
          <a:avLst/>
        </a:prstGeom>
        <a:solidFill>
          <a:srgbClr val="FF84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b="1" i="0" kern="1200">
              <a:latin typeface="Trebuchet MS"/>
            </a:rPr>
            <a:t>Bus Frequency </a:t>
          </a:r>
        </a:p>
        <a:p>
          <a:pPr marL="0" lvl="0" indent="0" algn="ctr" defTabSz="577850" rtl="0">
            <a:lnSpc>
              <a:spcPct val="90000"/>
            </a:lnSpc>
            <a:spcBef>
              <a:spcPct val="0"/>
            </a:spcBef>
            <a:spcAft>
              <a:spcPct val="35000"/>
            </a:spcAft>
            <a:buNone/>
          </a:pPr>
          <a:r>
            <a:rPr lang="en-US" sz="1300" i="1" kern="1200">
              <a:latin typeface="Trebuchet MS"/>
            </a:rPr>
            <a:t>(Total Ridership/50)</a:t>
          </a:r>
        </a:p>
      </dsp:txBody>
      <dsp:txXfrm>
        <a:off x="1621276" y="4955122"/>
        <a:ext cx="2161544" cy="604308"/>
      </dsp:txXfrm>
    </dsp:sp>
    <dsp:sp modelId="{856D7389-7F4F-4185-A0B0-C217BF053CEC}">
      <dsp:nvSpPr>
        <dsp:cNvPr id="0" name=""/>
        <dsp:cNvSpPr/>
      </dsp:nvSpPr>
      <dsp:spPr>
        <a:xfrm>
          <a:off x="4925119" y="3276047"/>
          <a:ext cx="1372392" cy="542973"/>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Day of Week </a:t>
          </a:r>
          <a:endParaRPr lang="en-US" sz="1300" i="1" kern="1200">
            <a:latin typeface="Trebuchet MS"/>
          </a:endParaRPr>
        </a:p>
      </dsp:txBody>
      <dsp:txXfrm>
        <a:off x="4925119" y="3276047"/>
        <a:ext cx="1372392" cy="542973"/>
      </dsp:txXfrm>
    </dsp:sp>
    <dsp:sp modelId="{F37543E3-27B1-4DEB-A1EA-04DD1C4C5DDE}">
      <dsp:nvSpPr>
        <dsp:cNvPr id="0" name=""/>
        <dsp:cNvSpPr/>
      </dsp:nvSpPr>
      <dsp:spPr>
        <a:xfrm>
          <a:off x="5248612" y="3958508"/>
          <a:ext cx="1230634" cy="566601"/>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Weekday </a:t>
          </a:r>
        </a:p>
      </dsp:txBody>
      <dsp:txXfrm>
        <a:off x="5248612" y="3958508"/>
        <a:ext cx="1230634" cy="566601"/>
      </dsp:txXfrm>
    </dsp:sp>
    <dsp:sp modelId="{A80037A4-023F-4557-8F10-D3BD4D8F16AF}">
      <dsp:nvSpPr>
        <dsp:cNvPr id="0" name=""/>
        <dsp:cNvSpPr/>
      </dsp:nvSpPr>
      <dsp:spPr>
        <a:xfrm>
          <a:off x="5248612" y="4694330"/>
          <a:ext cx="1237833" cy="588741"/>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Weekend </a:t>
          </a:r>
        </a:p>
      </dsp:txBody>
      <dsp:txXfrm>
        <a:off x="5248612" y="4694330"/>
        <a:ext cx="1237833" cy="588741"/>
      </dsp:txXfrm>
    </dsp:sp>
    <dsp:sp modelId="{D7CE84D8-5A9B-4243-BFAD-A10EC40DF307}">
      <dsp:nvSpPr>
        <dsp:cNvPr id="0" name=""/>
        <dsp:cNvSpPr/>
      </dsp:nvSpPr>
      <dsp:spPr>
        <a:xfrm>
          <a:off x="7689807" y="1445183"/>
          <a:ext cx="2094190" cy="541742"/>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Trebuchet MS"/>
            </a:rPr>
            <a:t> External</a:t>
          </a:r>
        </a:p>
      </dsp:txBody>
      <dsp:txXfrm>
        <a:off x="7689807" y="1445183"/>
        <a:ext cx="2094190" cy="541742"/>
      </dsp:txXfrm>
    </dsp:sp>
    <dsp:sp modelId="{90B3EEEC-4BEA-4F2C-9390-7382EBF2E384}">
      <dsp:nvSpPr>
        <dsp:cNvPr id="0" name=""/>
        <dsp:cNvSpPr/>
      </dsp:nvSpPr>
      <dsp:spPr>
        <a:xfrm>
          <a:off x="7132298" y="2438493"/>
          <a:ext cx="1415132" cy="547163"/>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Trebuchet MS"/>
            </a:rPr>
            <a:t> Holiday</a:t>
          </a:r>
        </a:p>
      </dsp:txBody>
      <dsp:txXfrm>
        <a:off x="7132298" y="2438493"/>
        <a:ext cx="1415132" cy="547163"/>
      </dsp:txXfrm>
    </dsp:sp>
    <dsp:sp modelId="{8E9A9B7E-907F-4D29-AB54-4D70C869635F}">
      <dsp:nvSpPr>
        <dsp:cNvPr id="0" name=""/>
        <dsp:cNvSpPr/>
      </dsp:nvSpPr>
      <dsp:spPr>
        <a:xfrm>
          <a:off x="7416685" y="3179822"/>
          <a:ext cx="1641571" cy="816072"/>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i="0" kern="1200">
              <a:solidFill>
                <a:schemeClr val="bg1"/>
              </a:solidFill>
              <a:latin typeface="Trebuchet MS"/>
            </a:rPr>
            <a:t>Public Holidays, School Holidays</a:t>
          </a:r>
          <a:r>
            <a:rPr lang="en-US" sz="1300" i="0" kern="1200" baseline="30000">
              <a:solidFill>
                <a:schemeClr val="bg1"/>
              </a:solidFill>
              <a:latin typeface="Trebuchet MS"/>
              <a:hlinkClick xmlns:r="http://schemas.openxmlformats.org/officeDocument/2006/relationships" r:id="rId1">
                <a:extLst>
                  <a:ext uri="{A12FA001-AC4F-418D-AE19-62706E023703}">
                    <ahyp:hlinkClr xmlns:ahyp="http://schemas.microsoft.com/office/drawing/2018/hyperlinkcolor" val="tx"/>
                  </a:ext>
                </a:extLst>
              </a:hlinkClick>
            </a:rPr>
            <a:t>1</a:t>
          </a:r>
          <a:endParaRPr lang="en-US" sz="1300" i="0" kern="1200" baseline="30000">
            <a:solidFill>
              <a:schemeClr val="bg1"/>
            </a:solidFill>
            <a:latin typeface="Trebuchet MS"/>
          </a:endParaRPr>
        </a:p>
      </dsp:txBody>
      <dsp:txXfrm>
        <a:off x="7416685" y="3179822"/>
        <a:ext cx="1641571" cy="816072"/>
      </dsp:txXfrm>
    </dsp:sp>
    <dsp:sp modelId="{78B41A26-2EB1-4E2B-884F-73A15160A423}">
      <dsp:nvSpPr>
        <dsp:cNvPr id="0" name=""/>
        <dsp:cNvSpPr/>
      </dsp:nvSpPr>
      <dsp:spPr>
        <a:xfrm>
          <a:off x="9191283" y="2438493"/>
          <a:ext cx="1334340" cy="527762"/>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solidFill>
                <a:schemeClr val="bg1"/>
              </a:solidFill>
              <a:latin typeface="Trebuchet MS"/>
            </a:rPr>
            <a:t>Weather</a:t>
          </a:r>
          <a:r>
            <a:rPr lang="en-US" sz="1400" kern="1200" baseline="30000">
              <a:solidFill>
                <a:schemeClr val="bg1"/>
              </a:solidFill>
              <a:latin typeface="Trebuchet MS"/>
              <a:hlinkClick xmlns:r="http://schemas.openxmlformats.org/officeDocument/2006/relationships" r:id="rId2">
                <a:extLst>
                  <a:ext uri="{A12FA001-AC4F-418D-AE19-62706E023703}">
                    <ahyp:hlinkClr xmlns:ahyp="http://schemas.microsoft.com/office/drawing/2018/hyperlinkcolor" val="tx"/>
                  </a:ext>
                </a:extLst>
              </a:hlinkClick>
            </a:rPr>
            <a:t>2</a:t>
          </a:r>
          <a:endParaRPr lang="en-US" sz="1100" kern="1200">
            <a:solidFill>
              <a:schemeClr val="bg1"/>
            </a:solidFill>
            <a:latin typeface="Trebuchet MS"/>
          </a:endParaRPr>
        </a:p>
      </dsp:txBody>
      <dsp:txXfrm>
        <a:off x="9191283" y="2438493"/>
        <a:ext cx="1334340" cy="527762"/>
      </dsp:txXfrm>
    </dsp:sp>
    <dsp:sp modelId="{7CEFD693-E055-4C50-BFA7-0C3137723433}">
      <dsp:nvSpPr>
        <dsp:cNvPr id="0" name=""/>
        <dsp:cNvSpPr/>
      </dsp:nvSpPr>
      <dsp:spPr>
        <a:xfrm>
          <a:off x="9505043" y="3319021"/>
          <a:ext cx="1006237" cy="557925"/>
        </a:xfrm>
        <a:prstGeom prst="rect">
          <a:avLst/>
        </a:prstGeom>
        <a:solidFill>
          <a:srgbClr val="0020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 Rain</a:t>
          </a:r>
        </a:p>
      </dsp:txBody>
      <dsp:txXfrm>
        <a:off x="9505043" y="3319021"/>
        <a:ext cx="1006237" cy="5579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64F77-B2FA-4287-8CB3-C21226EC55BC}">
      <dsp:nvSpPr>
        <dsp:cNvPr id="0" name=""/>
        <dsp:cNvSpPr/>
      </dsp:nvSpPr>
      <dsp:spPr>
        <a:xfrm rot="16200000">
          <a:off x="1377845" y="1451810"/>
          <a:ext cx="484379" cy="1940174"/>
        </a:xfrm>
        <a:prstGeom prst="round2Same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1">
          <a:noAutofit/>
        </a:bodyPr>
        <a:lstStyle/>
        <a:p>
          <a:pPr marL="0" lvl="0" indent="0" algn="ctr" defTabSz="666750" rtl="0">
            <a:lnSpc>
              <a:spcPct val="90000"/>
            </a:lnSpc>
            <a:spcBef>
              <a:spcPct val="0"/>
            </a:spcBef>
            <a:spcAft>
              <a:spcPct val="35000"/>
            </a:spcAft>
            <a:buNone/>
          </a:pPr>
          <a:r>
            <a:rPr lang="en-US" sz="1500" b="1" kern="1200">
              <a:latin typeface="Trebuchet MS"/>
            </a:rPr>
            <a:t>Immediate</a:t>
          </a:r>
        </a:p>
      </dsp:txBody>
      <dsp:txXfrm rot="5400000">
        <a:off x="673593" y="2203353"/>
        <a:ext cx="1916529" cy="437089"/>
      </dsp:txXfrm>
    </dsp:sp>
    <dsp:sp modelId="{3BF414E0-9BED-4B93-BAE4-0FE63D3F3D0D}">
      <dsp:nvSpPr>
        <dsp:cNvPr id="0" name=""/>
        <dsp:cNvSpPr/>
      </dsp:nvSpPr>
      <dsp:spPr>
        <a:xfrm>
          <a:off x="3222" y="0"/>
          <a:ext cx="3233624" cy="1695328"/>
        </a:xfrm>
        <a:prstGeom prst="rect">
          <a:avLst/>
        </a:prstGeom>
        <a:solidFill>
          <a:srgbClr val="000000">
            <a:alpha val="0"/>
          </a:srgbClr>
        </a:solid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14300" numCol="1" spcCol="1270" anchor="b" anchorCtr="1">
          <a:noAutofit/>
        </a:bodyPr>
        <a:lstStyle/>
        <a:p>
          <a:pPr marL="0" lvl="0" indent="0" algn="ctr" defTabSz="666750" rtl="0">
            <a:lnSpc>
              <a:spcPct val="90000"/>
            </a:lnSpc>
            <a:spcBef>
              <a:spcPct val="0"/>
            </a:spcBef>
            <a:spcAft>
              <a:spcPct val="35000"/>
            </a:spcAft>
            <a:buNone/>
          </a:pPr>
          <a:r>
            <a:rPr lang="en-US" sz="1500" b="1" kern="1200">
              <a:solidFill>
                <a:srgbClr val="002060"/>
              </a:solidFill>
              <a:latin typeface="Trebuchet MS"/>
            </a:rPr>
            <a:t>- Acquire longer period data</a:t>
          </a:r>
        </a:p>
        <a:p>
          <a:pPr marL="0" lvl="0" indent="0" algn="ctr" defTabSz="666750" rtl="0">
            <a:lnSpc>
              <a:spcPct val="90000"/>
            </a:lnSpc>
            <a:spcBef>
              <a:spcPct val="0"/>
            </a:spcBef>
            <a:spcAft>
              <a:spcPct val="35000"/>
            </a:spcAft>
            <a:buNone/>
          </a:pPr>
          <a:r>
            <a:rPr lang="en-US" sz="1500" b="1" kern="1200">
              <a:solidFill>
                <a:srgbClr val="002060"/>
              </a:solidFill>
              <a:latin typeface="Trebuchet MS"/>
            </a:rPr>
            <a:t>- Consider additional features </a:t>
          </a:r>
        </a:p>
        <a:p>
          <a:pPr marL="0" lvl="0" indent="0" algn="ctr" defTabSz="666750" rtl="0">
            <a:lnSpc>
              <a:spcPct val="90000"/>
            </a:lnSpc>
            <a:spcBef>
              <a:spcPct val="0"/>
            </a:spcBef>
            <a:spcAft>
              <a:spcPct val="35000"/>
            </a:spcAft>
            <a:buNone/>
          </a:pPr>
          <a:r>
            <a:rPr lang="en-US" sz="1500" b="1" kern="1200">
              <a:solidFill>
                <a:srgbClr val="002060"/>
              </a:solidFill>
              <a:latin typeface="Trebuchet MS"/>
            </a:rPr>
            <a:t>- </a:t>
          </a:r>
          <a:r>
            <a:rPr lang="en-US" sz="1500" b="1" kern="1200">
              <a:solidFill>
                <a:srgbClr val="002060"/>
              </a:solidFill>
            </a:rPr>
            <a:t>Improve &amp; </a:t>
          </a:r>
          <a:r>
            <a:rPr lang="en-US" sz="1500" b="1" kern="1200" err="1">
              <a:solidFill>
                <a:srgbClr val="002060"/>
              </a:solidFill>
            </a:rPr>
            <a:t>Optimise</a:t>
          </a:r>
          <a:r>
            <a:rPr lang="en-US" sz="1500" b="1" kern="1200">
              <a:solidFill>
                <a:srgbClr val="002060"/>
              </a:solidFill>
            </a:rPr>
            <a:t> Model</a:t>
          </a:r>
          <a:r>
            <a:rPr lang="en-US" sz="1500" b="1" kern="1200">
              <a:solidFill>
                <a:srgbClr val="002060"/>
              </a:solidFill>
              <a:latin typeface="Trebuchet MS"/>
            </a:rPr>
            <a:t> (other bus stops)</a:t>
          </a:r>
          <a:endParaRPr lang="en-US" sz="1500" b="1" kern="1200">
            <a:solidFill>
              <a:srgbClr val="002060"/>
            </a:solidFill>
          </a:endParaRPr>
        </a:p>
      </dsp:txBody>
      <dsp:txXfrm>
        <a:off x="3222" y="0"/>
        <a:ext cx="3233624" cy="1695328"/>
      </dsp:txXfrm>
    </dsp:sp>
    <dsp:sp modelId="{67BC571C-90DF-423A-BE46-261CD6D15CD9}">
      <dsp:nvSpPr>
        <dsp:cNvPr id="0" name=""/>
        <dsp:cNvSpPr/>
      </dsp:nvSpPr>
      <dsp:spPr>
        <a:xfrm>
          <a:off x="1620034" y="1792204"/>
          <a:ext cx="0" cy="387503"/>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7071E5EA-6A1E-4936-AA67-E6DF12E44E4A}">
      <dsp:nvSpPr>
        <dsp:cNvPr id="0" name=""/>
        <dsp:cNvSpPr/>
      </dsp:nvSpPr>
      <dsp:spPr>
        <a:xfrm>
          <a:off x="1571597" y="1695328"/>
          <a:ext cx="96875" cy="9687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279CEF-236B-43ED-907C-B557697BEC8D}">
      <dsp:nvSpPr>
        <dsp:cNvPr id="0" name=""/>
        <dsp:cNvSpPr/>
      </dsp:nvSpPr>
      <dsp:spPr>
        <a:xfrm>
          <a:off x="2590122" y="2179707"/>
          <a:ext cx="1940174" cy="484379"/>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1">
          <a:noAutofit/>
        </a:bodyPr>
        <a:lstStyle/>
        <a:p>
          <a:pPr marL="0" lvl="0" indent="0" algn="ctr" defTabSz="666750" rtl="0">
            <a:lnSpc>
              <a:spcPct val="90000"/>
            </a:lnSpc>
            <a:spcBef>
              <a:spcPct val="0"/>
            </a:spcBef>
            <a:spcAft>
              <a:spcPct val="35000"/>
            </a:spcAft>
            <a:buNone/>
          </a:pPr>
          <a:r>
            <a:rPr lang="en-US" sz="1500" b="1" kern="1200">
              <a:latin typeface="Trebuchet MS"/>
            </a:rPr>
            <a:t>2 Months</a:t>
          </a:r>
          <a:endParaRPr lang="en-US" sz="1500" b="1" kern="1200"/>
        </a:p>
      </dsp:txBody>
      <dsp:txXfrm>
        <a:off x="2590122" y="2179707"/>
        <a:ext cx="1940174" cy="484379"/>
      </dsp:txXfrm>
    </dsp:sp>
    <dsp:sp modelId="{EDD5675C-83C4-4769-8648-4EF5BC6B613D}">
      <dsp:nvSpPr>
        <dsp:cNvPr id="0" name=""/>
        <dsp:cNvSpPr/>
      </dsp:nvSpPr>
      <dsp:spPr>
        <a:xfrm>
          <a:off x="1943397" y="3148466"/>
          <a:ext cx="3233624" cy="1695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4300" rIns="0" bIns="0" numCol="1" spcCol="1270" anchor="t" anchorCtr="1">
          <a:noAutofit/>
        </a:bodyPr>
        <a:lstStyle/>
        <a:p>
          <a:pPr marL="0" lvl="0" indent="0" algn="ctr" defTabSz="666750" rtl="0">
            <a:lnSpc>
              <a:spcPct val="90000"/>
            </a:lnSpc>
            <a:spcBef>
              <a:spcPct val="0"/>
            </a:spcBef>
            <a:spcAft>
              <a:spcPct val="35000"/>
            </a:spcAft>
            <a:buNone/>
          </a:pPr>
          <a:r>
            <a:rPr lang="en-US" sz="1500" b="1" kern="1200">
              <a:solidFill>
                <a:srgbClr val="002060"/>
              </a:solidFill>
            </a:rPr>
            <a:t>- </a:t>
          </a:r>
          <a:r>
            <a:rPr lang="en-US" sz="1500" b="1" kern="1200">
              <a:solidFill>
                <a:srgbClr val="002060"/>
              </a:solidFill>
              <a:latin typeface="Trebuchet MS"/>
            </a:rPr>
            <a:t>Model Implementation </a:t>
          </a:r>
          <a:r>
            <a:rPr lang="en-US" sz="1500" b="1" kern="1200">
              <a:solidFill>
                <a:srgbClr val="002060"/>
              </a:solidFill>
            </a:rPr>
            <a:t>(CSV)</a:t>
          </a:r>
          <a:endParaRPr lang="en-US" sz="1500" b="1" kern="1200">
            <a:solidFill>
              <a:srgbClr val="002060"/>
            </a:solidFill>
            <a:latin typeface="Trebuchet MS"/>
          </a:endParaRPr>
        </a:p>
        <a:p>
          <a:pPr marL="0" lvl="0" indent="0" algn="ctr" defTabSz="666750" rtl="0">
            <a:lnSpc>
              <a:spcPct val="90000"/>
            </a:lnSpc>
            <a:spcBef>
              <a:spcPct val="0"/>
            </a:spcBef>
            <a:spcAft>
              <a:spcPct val="35000"/>
            </a:spcAft>
            <a:buNone/>
          </a:pPr>
          <a:r>
            <a:rPr lang="en-US" sz="1500" b="1" kern="1200">
              <a:solidFill>
                <a:srgbClr val="002060"/>
              </a:solidFill>
              <a:latin typeface="Trebuchet MS"/>
            </a:rPr>
            <a:t>- Develop Dashboard prototype</a:t>
          </a:r>
        </a:p>
        <a:p>
          <a:pPr marL="0" lvl="0" indent="0" algn="ctr" defTabSz="666750" rtl="0">
            <a:lnSpc>
              <a:spcPct val="90000"/>
            </a:lnSpc>
            <a:spcBef>
              <a:spcPct val="0"/>
            </a:spcBef>
            <a:spcAft>
              <a:spcPct val="35000"/>
            </a:spcAft>
            <a:buNone/>
          </a:pPr>
          <a:r>
            <a:rPr lang="en-US" sz="1500" b="1" kern="1200">
              <a:solidFill>
                <a:srgbClr val="002060"/>
              </a:solidFill>
              <a:latin typeface="Trebuchet MS"/>
            </a:rPr>
            <a:t>- </a:t>
          </a:r>
          <a:r>
            <a:rPr lang="en-US" sz="1500" b="1" kern="1200">
              <a:solidFill>
                <a:srgbClr val="002060"/>
              </a:solidFill>
            </a:rPr>
            <a:t>Build App </a:t>
          </a:r>
          <a:r>
            <a:rPr lang="en-US" sz="1500" b="1" kern="1200">
              <a:solidFill>
                <a:srgbClr val="002060"/>
              </a:solidFill>
              <a:latin typeface="Trebuchet MS"/>
            </a:rPr>
            <a:t>Features prototype</a:t>
          </a:r>
          <a:r>
            <a:rPr lang="en-US" sz="1500" b="1" kern="1200">
              <a:solidFill>
                <a:srgbClr val="002060"/>
              </a:solidFill>
            </a:rPr>
            <a:t> </a:t>
          </a:r>
        </a:p>
      </dsp:txBody>
      <dsp:txXfrm>
        <a:off x="1943397" y="3148466"/>
        <a:ext cx="3233624" cy="1695328"/>
      </dsp:txXfrm>
    </dsp:sp>
    <dsp:sp modelId="{61269B63-A20B-41B1-8A64-C7F49377B384}">
      <dsp:nvSpPr>
        <dsp:cNvPr id="0" name=""/>
        <dsp:cNvSpPr/>
      </dsp:nvSpPr>
      <dsp:spPr>
        <a:xfrm>
          <a:off x="3560209" y="2664087"/>
          <a:ext cx="0" cy="387503"/>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46FA7420-7536-4337-AFA6-1BBBB7AE3A4E}">
      <dsp:nvSpPr>
        <dsp:cNvPr id="0" name=""/>
        <dsp:cNvSpPr/>
      </dsp:nvSpPr>
      <dsp:spPr>
        <a:xfrm>
          <a:off x="3511771" y="3051590"/>
          <a:ext cx="96875" cy="9687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523C11-87BF-4677-B69F-65F76242AA47}">
      <dsp:nvSpPr>
        <dsp:cNvPr id="0" name=""/>
        <dsp:cNvSpPr/>
      </dsp:nvSpPr>
      <dsp:spPr>
        <a:xfrm>
          <a:off x="4530296" y="2179707"/>
          <a:ext cx="1940174" cy="484379"/>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1">
          <a:noAutofit/>
        </a:bodyPr>
        <a:lstStyle/>
        <a:p>
          <a:pPr marL="0" lvl="0" indent="0" algn="ctr" defTabSz="666750" rtl="0">
            <a:lnSpc>
              <a:spcPct val="90000"/>
            </a:lnSpc>
            <a:spcBef>
              <a:spcPct val="0"/>
            </a:spcBef>
            <a:spcAft>
              <a:spcPct val="35000"/>
            </a:spcAft>
            <a:buNone/>
          </a:pPr>
          <a:r>
            <a:rPr lang="en-US" sz="1500" b="1" kern="1200">
              <a:latin typeface="Trebuchet MS"/>
            </a:rPr>
            <a:t>3 Months</a:t>
          </a:r>
          <a:endParaRPr lang="en-US" sz="1500" b="1" kern="1200"/>
        </a:p>
      </dsp:txBody>
      <dsp:txXfrm>
        <a:off x="4530296" y="2179707"/>
        <a:ext cx="1940174" cy="484379"/>
      </dsp:txXfrm>
    </dsp:sp>
    <dsp:sp modelId="{B7F91847-0032-447D-8816-FC686C440B19}">
      <dsp:nvSpPr>
        <dsp:cNvPr id="0" name=""/>
        <dsp:cNvSpPr/>
      </dsp:nvSpPr>
      <dsp:spPr>
        <a:xfrm>
          <a:off x="3883571" y="0"/>
          <a:ext cx="3233624" cy="1695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14300" numCol="1" spcCol="1270" anchor="b" anchorCtr="1">
          <a:noAutofit/>
        </a:bodyPr>
        <a:lstStyle/>
        <a:p>
          <a:pPr marL="0" lvl="0" indent="0" algn="ctr" defTabSz="666750" rtl="0">
            <a:lnSpc>
              <a:spcPct val="90000"/>
            </a:lnSpc>
            <a:spcBef>
              <a:spcPct val="0"/>
            </a:spcBef>
            <a:spcAft>
              <a:spcPct val="35000"/>
            </a:spcAft>
            <a:buNone/>
          </a:pPr>
          <a:r>
            <a:rPr lang="en-US" sz="1500" b="1" kern="1200">
              <a:solidFill>
                <a:srgbClr val="002060"/>
              </a:solidFill>
              <a:latin typeface="Trebuchet MS"/>
            </a:rPr>
            <a:t>- Feedback on Model (CSV) and integrate into Dashboard prototype</a:t>
          </a:r>
        </a:p>
        <a:p>
          <a:pPr marL="0" lvl="0" indent="0" algn="ctr" defTabSz="666750" rtl="0">
            <a:lnSpc>
              <a:spcPct val="90000"/>
            </a:lnSpc>
            <a:spcBef>
              <a:spcPct val="0"/>
            </a:spcBef>
            <a:spcAft>
              <a:spcPct val="35000"/>
            </a:spcAft>
            <a:buNone/>
          </a:pPr>
          <a:r>
            <a:rPr lang="en-US" sz="1500" b="1" kern="1200">
              <a:solidFill>
                <a:srgbClr val="002060"/>
              </a:solidFill>
              <a:latin typeface="Trebuchet MS"/>
            </a:rPr>
            <a:t>- User Testing on App</a:t>
          </a:r>
        </a:p>
      </dsp:txBody>
      <dsp:txXfrm>
        <a:off x="3883571" y="0"/>
        <a:ext cx="3233624" cy="1695328"/>
      </dsp:txXfrm>
    </dsp:sp>
    <dsp:sp modelId="{6E49F180-E2B2-4820-A02B-E6CBCD4B03C9}">
      <dsp:nvSpPr>
        <dsp:cNvPr id="0" name=""/>
        <dsp:cNvSpPr/>
      </dsp:nvSpPr>
      <dsp:spPr>
        <a:xfrm>
          <a:off x="5500384" y="1792204"/>
          <a:ext cx="0" cy="387503"/>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716EC80-6C9F-442F-AC00-4867FF001B7F}">
      <dsp:nvSpPr>
        <dsp:cNvPr id="0" name=""/>
        <dsp:cNvSpPr/>
      </dsp:nvSpPr>
      <dsp:spPr>
        <a:xfrm>
          <a:off x="5451946" y="1695328"/>
          <a:ext cx="96875" cy="9687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8918C2-BB52-40BD-A734-17B37F1C393A}">
      <dsp:nvSpPr>
        <dsp:cNvPr id="0" name=""/>
        <dsp:cNvSpPr/>
      </dsp:nvSpPr>
      <dsp:spPr>
        <a:xfrm>
          <a:off x="6470471" y="2179707"/>
          <a:ext cx="1940174" cy="484379"/>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1">
          <a:noAutofit/>
        </a:bodyPr>
        <a:lstStyle/>
        <a:p>
          <a:pPr marL="0" lvl="0" indent="0" algn="ctr" defTabSz="666750" rtl="0">
            <a:lnSpc>
              <a:spcPct val="90000"/>
            </a:lnSpc>
            <a:spcBef>
              <a:spcPct val="0"/>
            </a:spcBef>
            <a:spcAft>
              <a:spcPct val="35000"/>
            </a:spcAft>
            <a:buNone/>
          </a:pPr>
          <a:r>
            <a:rPr lang="en-US" sz="1500" b="1" kern="1200">
              <a:latin typeface="Trebuchet MS"/>
            </a:rPr>
            <a:t>4 – 5 Months</a:t>
          </a:r>
        </a:p>
      </dsp:txBody>
      <dsp:txXfrm>
        <a:off x="6470471" y="2179707"/>
        <a:ext cx="1940174" cy="484379"/>
      </dsp:txXfrm>
    </dsp:sp>
    <dsp:sp modelId="{E2E51C52-4030-4BEA-9AB5-ACD8C111DBF2}">
      <dsp:nvSpPr>
        <dsp:cNvPr id="0" name=""/>
        <dsp:cNvSpPr/>
      </dsp:nvSpPr>
      <dsp:spPr>
        <a:xfrm>
          <a:off x="5823746" y="3148466"/>
          <a:ext cx="3233624" cy="1695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4300" rIns="0" bIns="0" numCol="1" spcCol="1270" anchor="t" anchorCtr="1">
          <a:noAutofit/>
        </a:bodyPr>
        <a:lstStyle/>
        <a:p>
          <a:pPr marL="0" lvl="0" indent="0" algn="ctr" defTabSz="666750" rtl="0">
            <a:lnSpc>
              <a:spcPct val="90000"/>
            </a:lnSpc>
            <a:spcBef>
              <a:spcPct val="0"/>
            </a:spcBef>
            <a:spcAft>
              <a:spcPct val="35000"/>
            </a:spcAft>
            <a:buNone/>
          </a:pPr>
          <a:r>
            <a:rPr lang="en-US" sz="1500" b="1" kern="1200">
              <a:solidFill>
                <a:srgbClr val="002060"/>
              </a:solidFill>
              <a:latin typeface="Trebuchet MS"/>
            </a:rPr>
            <a:t>- AB Testing on Dashboard &amp; user feedback</a:t>
          </a:r>
          <a:endParaRPr lang="en-US" sz="1500" kern="1200">
            <a:solidFill>
              <a:srgbClr val="002060"/>
            </a:solidFill>
          </a:endParaRPr>
        </a:p>
        <a:p>
          <a:pPr marL="0" lvl="0" indent="0" algn="ctr" defTabSz="666750" rtl="0">
            <a:lnSpc>
              <a:spcPct val="90000"/>
            </a:lnSpc>
            <a:spcBef>
              <a:spcPct val="0"/>
            </a:spcBef>
            <a:spcAft>
              <a:spcPct val="35000"/>
            </a:spcAft>
            <a:buNone/>
          </a:pPr>
          <a:r>
            <a:rPr lang="en-US" sz="1500" b="1" kern="1200">
              <a:solidFill>
                <a:srgbClr val="002060"/>
              </a:solidFill>
              <a:latin typeface="Trebuchet MS"/>
            </a:rPr>
            <a:t>- App Soft Launch   </a:t>
          </a:r>
          <a:endParaRPr lang="en-US" sz="1500" b="0" kern="1200">
            <a:solidFill>
              <a:srgbClr val="002060"/>
            </a:solidFill>
          </a:endParaRPr>
        </a:p>
      </dsp:txBody>
      <dsp:txXfrm>
        <a:off x="5823746" y="3148466"/>
        <a:ext cx="3233624" cy="1695328"/>
      </dsp:txXfrm>
    </dsp:sp>
    <dsp:sp modelId="{049B9701-D383-4FF8-B0F8-7AF825779BE5}">
      <dsp:nvSpPr>
        <dsp:cNvPr id="0" name=""/>
        <dsp:cNvSpPr/>
      </dsp:nvSpPr>
      <dsp:spPr>
        <a:xfrm>
          <a:off x="7440558" y="2664087"/>
          <a:ext cx="0" cy="387503"/>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A52CAC0-17AA-4870-BDAB-09AA7F96891F}">
      <dsp:nvSpPr>
        <dsp:cNvPr id="0" name=""/>
        <dsp:cNvSpPr/>
      </dsp:nvSpPr>
      <dsp:spPr>
        <a:xfrm>
          <a:off x="7392120" y="3051590"/>
          <a:ext cx="96875" cy="9687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5F089C-AC3F-42D1-9558-75FFA066A59B}">
      <dsp:nvSpPr>
        <dsp:cNvPr id="0" name=""/>
        <dsp:cNvSpPr/>
      </dsp:nvSpPr>
      <dsp:spPr>
        <a:xfrm rot="5400000">
          <a:off x="9138543" y="1451810"/>
          <a:ext cx="484379" cy="1940174"/>
        </a:xfrm>
        <a:prstGeom prst="round2Same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1">
          <a:noAutofit/>
        </a:bodyPr>
        <a:lstStyle/>
        <a:p>
          <a:pPr marL="0" lvl="0" indent="0" algn="ctr" defTabSz="666750" rtl="0">
            <a:lnSpc>
              <a:spcPct val="90000"/>
            </a:lnSpc>
            <a:spcBef>
              <a:spcPct val="0"/>
            </a:spcBef>
            <a:spcAft>
              <a:spcPct val="35000"/>
            </a:spcAft>
            <a:buNone/>
          </a:pPr>
          <a:r>
            <a:rPr lang="en-US" sz="1500" b="1" kern="1200">
              <a:latin typeface="Trebuchet MS"/>
            </a:rPr>
            <a:t>6 Months</a:t>
          </a:r>
          <a:endParaRPr lang="en-US" sz="1500" kern="1200"/>
        </a:p>
      </dsp:txBody>
      <dsp:txXfrm rot="-5400000">
        <a:off x="8410646" y="2203353"/>
        <a:ext cx="1916529" cy="437089"/>
      </dsp:txXfrm>
    </dsp:sp>
    <dsp:sp modelId="{56516020-B037-4B43-B65D-83A0B87F7AAD}">
      <dsp:nvSpPr>
        <dsp:cNvPr id="0" name=""/>
        <dsp:cNvSpPr/>
      </dsp:nvSpPr>
      <dsp:spPr>
        <a:xfrm>
          <a:off x="7763920" y="0"/>
          <a:ext cx="3233624" cy="1695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14300" numCol="1" spcCol="1270" anchor="b" anchorCtr="1">
          <a:noAutofit/>
        </a:bodyPr>
        <a:lstStyle/>
        <a:p>
          <a:pPr marL="0" lvl="0" indent="0" algn="ctr" defTabSz="666750" rtl="0">
            <a:lnSpc>
              <a:spcPct val="90000"/>
            </a:lnSpc>
            <a:spcBef>
              <a:spcPct val="0"/>
            </a:spcBef>
            <a:spcAft>
              <a:spcPct val="35000"/>
            </a:spcAft>
            <a:buNone/>
          </a:pPr>
          <a:r>
            <a:rPr lang="en-US" sz="1500" b="1" kern="1200">
              <a:solidFill>
                <a:srgbClr val="002060"/>
              </a:solidFill>
              <a:latin typeface="Trebuchet MS"/>
            </a:rPr>
            <a:t>Live on App and Dashboard</a:t>
          </a:r>
        </a:p>
      </dsp:txBody>
      <dsp:txXfrm>
        <a:off x="7763920" y="0"/>
        <a:ext cx="3233624" cy="1695328"/>
      </dsp:txXfrm>
    </dsp:sp>
    <dsp:sp modelId="{B39307CB-B732-48EA-AAB4-37B06AE60009}">
      <dsp:nvSpPr>
        <dsp:cNvPr id="0" name=""/>
        <dsp:cNvSpPr/>
      </dsp:nvSpPr>
      <dsp:spPr>
        <a:xfrm>
          <a:off x="9380733" y="1792204"/>
          <a:ext cx="0" cy="387503"/>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D7A78797-430E-481D-A66B-2F17F20047DF}">
      <dsp:nvSpPr>
        <dsp:cNvPr id="0" name=""/>
        <dsp:cNvSpPr/>
      </dsp:nvSpPr>
      <dsp:spPr>
        <a:xfrm>
          <a:off x="9332295" y="1695328"/>
          <a:ext cx="96875" cy="9687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2/2022</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2/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Good afternoon everyone, this is BDA09 Group 5 The Rising Seven, </a:t>
            </a:r>
            <a:endParaRPr lang="en-US"/>
          </a:p>
          <a:p>
            <a:pPr>
              <a:buNone/>
            </a:pPr>
            <a:r>
              <a:rPr lang="en-SG"/>
              <a:t> </a:t>
            </a:r>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12164333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slide 2: model</a:t>
            </a:r>
            <a:endParaRPr lang="en-US"/>
          </a:p>
          <a:p>
            <a:pPr>
              <a:buNone/>
            </a:pPr>
            <a:r>
              <a:rPr lang="en-SG"/>
              <a:t>To train the model, we used a train/test split of .85 and used SARIMAX to account for seasonal trends and exogenous variables. In order to scale the target variable we also took a log of it. We used auto-</a:t>
            </a:r>
            <a:r>
              <a:rPr lang="en-SG" err="1"/>
              <a:t>arima</a:t>
            </a:r>
            <a:r>
              <a:rPr lang="en-SG"/>
              <a:t> and looping to get the best accuracy. Our best result was an R2 score of 0.8 and mean average prediction error of 16.25%. </a:t>
            </a:r>
          </a:p>
          <a:p>
            <a:pPr>
              <a:spcAft>
                <a:spcPts val="0"/>
              </a:spcAft>
              <a:buNone/>
            </a:pPr>
            <a:endParaRPr lang="en-SG"/>
          </a:p>
          <a:p>
            <a:pPr marL="228600" indent="-228600">
              <a:spcAft>
                <a:spcPts val="0"/>
              </a:spcAft>
              <a:buAutoNum type="arabicPeriod"/>
            </a:pPr>
            <a:endParaRPr lang="en-SG"/>
          </a:p>
          <a:p>
            <a:pPr>
              <a:spcAft>
                <a:spcPts val="0"/>
              </a:spcAft>
              <a:buNone/>
            </a:pPr>
            <a:endParaRPr lang="en-SG"/>
          </a:p>
          <a:p>
            <a:pPr>
              <a:spcAft>
                <a:spcPts val="0"/>
              </a:spcAft>
              <a:buNone/>
            </a:pPr>
            <a:endParaRPr lang="en-SG"/>
          </a:p>
          <a:p>
            <a:pPr>
              <a:spcAft>
                <a:spcPts val="0"/>
              </a:spcAft>
              <a:buNone/>
            </a:pPr>
            <a:endParaRPr lang="en-SG"/>
          </a:p>
          <a:p>
            <a:pPr>
              <a:spcAft>
                <a:spcPts val="0"/>
              </a:spcAft>
              <a:buNone/>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129003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slide 3:</a:t>
            </a:r>
          </a:p>
          <a:p>
            <a:pPr>
              <a:buNone/>
            </a:pPr>
            <a:r>
              <a:rPr lang="en-US"/>
              <a:t>We predicted ridership for the first 7 days of April, to cover the variations across the week.  To buffer for error we also show a </a:t>
            </a:r>
            <a:r>
              <a:rPr lang="en-US" err="1"/>
              <a:t>mape</a:t>
            </a:r>
            <a:r>
              <a:rPr lang="en-US"/>
              <a:t>-adjusted prediction denoted by the orange points on the graph. </a:t>
            </a:r>
          </a:p>
          <a:p>
            <a:pPr>
              <a:buNone/>
            </a:pPr>
            <a:r>
              <a:rPr lang="en-US"/>
              <a:t> </a:t>
            </a:r>
          </a:p>
          <a:p>
            <a:pPr>
              <a:buNone/>
            </a:pPr>
            <a:r>
              <a:rPr lang="en-US"/>
              <a:t>As seen in our prediction, similar trends are observed, with high ridership starting on 1st April, a Thursday. Higher than average ridership continues on Friday, a public holiday, and 3rd April, a Saturday. This trend only tapers off on Sunday. </a:t>
            </a:r>
          </a:p>
          <a:p>
            <a:pPr>
              <a:buNone/>
            </a:pPr>
            <a:r>
              <a:rPr lang="en-US"/>
              <a:t> </a:t>
            </a:r>
          </a:p>
          <a:p>
            <a:pPr>
              <a:buNone/>
            </a:pPr>
            <a:r>
              <a:rPr lang="en-US"/>
              <a:t>Looking at the hourly prediction by day, we see the same mid-day peaks that occur in the afternoon between the hours of two to six PM.</a:t>
            </a:r>
          </a:p>
          <a:p>
            <a:pPr>
              <a:buNone/>
            </a:pPr>
            <a:endParaRPr lang="en-US">
              <a:latin typeface="Calibri"/>
              <a:cs typeface="Calibri"/>
            </a:endParaRPr>
          </a:p>
          <a:p>
            <a:pPr marL="228600" indent="-228600">
              <a:spcAft>
                <a:spcPts val="0"/>
              </a:spcAft>
              <a:buAutoNum type="arabicPeriod"/>
            </a:pPr>
            <a:endParaRPr lang="en-SG"/>
          </a:p>
          <a:p>
            <a:pPr>
              <a:spcAft>
                <a:spcPts val="0"/>
              </a:spcAft>
              <a:buNone/>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11502843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 </a:t>
            </a:r>
            <a:endParaRPr lang="en-US"/>
          </a:p>
          <a:p>
            <a:pPr>
              <a:buNone/>
            </a:pPr>
            <a:r>
              <a:rPr lang="en-SG"/>
              <a:t>slide 4:</a:t>
            </a:r>
            <a:endParaRPr lang="en-US"/>
          </a:p>
          <a:p>
            <a:pPr>
              <a:buNone/>
            </a:pPr>
            <a:r>
              <a:rPr lang="en-SG"/>
              <a:t>Building upon our ridership prediction of 1st April and using the  MAPE value as buffer, we calculated the bus frequency based on the maximum bus capacity of 50pax. </a:t>
            </a:r>
          </a:p>
          <a:p>
            <a:pPr>
              <a:buNone/>
            </a:pPr>
            <a:r>
              <a:rPr lang="en-SG"/>
              <a:t> </a:t>
            </a:r>
          </a:p>
          <a:p>
            <a:pPr>
              <a:buNone/>
            </a:pPr>
            <a:r>
              <a:rPr lang="en-SG"/>
              <a:t>We then get the minimum required bus frequency as seen in the red line in the chart. We see a surge in demand at 2pm and 6pm where approximately 4 and 3 buses would be needed that hour respectively. </a:t>
            </a:r>
          </a:p>
          <a:p>
            <a:pPr>
              <a:buNone/>
            </a:pPr>
            <a:r>
              <a:rPr lang="en-SG"/>
              <a:t> </a:t>
            </a:r>
          </a:p>
          <a:p>
            <a:pPr>
              <a:buNone/>
            </a:pPr>
            <a:r>
              <a:rPr lang="en-SG"/>
              <a:t>Overlaying this with the actual bus frequency derived from our EDA, we see that the minimum requirement hovers around 1 to at most 2 buses. </a:t>
            </a:r>
          </a:p>
          <a:p>
            <a:pPr>
              <a:buNone/>
            </a:pPr>
            <a:r>
              <a:rPr lang="en-SG"/>
              <a:t> </a:t>
            </a:r>
          </a:p>
          <a:p>
            <a:pPr>
              <a:buNone/>
            </a:pPr>
            <a:r>
              <a:rPr lang="en-SG"/>
              <a:t>Comparing that with our prediction, we see then that the minimum requirement differs during certain hours of the day where ridership surges.</a:t>
            </a:r>
          </a:p>
          <a:p>
            <a:pPr>
              <a:buNone/>
            </a:pPr>
            <a:r>
              <a:rPr lang="en-SG"/>
              <a:t> </a:t>
            </a:r>
          </a:p>
          <a:p>
            <a:pPr>
              <a:buNone/>
            </a:pPr>
            <a:r>
              <a:rPr lang="en-SG"/>
              <a:t>To that end, we propose that the usage of our model would allow for a better allocation of buses to meet demand on a dynamic rather than fixed frequency basis. </a:t>
            </a:r>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799159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Apart from the prediction model, we also came up with another solution through digital means.</a:t>
            </a:r>
          </a:p>
          <a:p>
            <a:pPr>
              <a:buNone/>
            </a:pPr>
            <a:endParaRPr lang="en-US"/>
          </a:p>
          <a:p>
            <a:pPr>
              <a:buNone/>
            </a:pPr>
            <a:r>
              <a:rPr lang="en-US"/>
              <a:t>We notice that the exiting Sentosa App which was free for download has no mention of the complimentary shuttle services offered by Sentosa. </a:t>
            </a:r>
          </a:p>
          <a:p>
            <a:pPr>
              <a:buNone/>
            </a:pPr>
            <a:endParaRPr lang="en-US"/>
          </a:p>
          <a:p>
            <a:pPr>
              <a:buNone/>
            </a:pPr>
            <a:r>
              <a:rPr lang="en-US"/>
              <a:t>Therefore, we came up with a few wireframes to include these buses and their route details, as well as information on the actual bus arrival time and available capacity as seen in the 3rd wireframe. Users can also be notified of the specific time for their rides.</a:t>
            </a:r>
          </a:p>
          <a:p>
            <a:pPr>
              <a:buNone/>
            </a:pPr>
            <a:endParaRPr lang="en-US"/>
          </a:p>
          <a:p>
            <a:pPr>
              <a:buNone/>
            </a:pPr>
            <a:r>
              <a:rPr lang="en-US"/>
              <a:t>These information will help visitors be aware of these services and make informed decision in the planning of their routes without waiting too long for buses. </a:t>
            </a:r>
          </a:p>
          <a:p>
            <a:pPr>
              <a:buNone/>
            </a:pPr>
            <a:endParaRPr lang="en-US"/>
          </a:p>
          <a:p>
            <a:pPr>
              <a:buNone/>
            </a:pPr>
            <a:r>
              <a:rPr lang="en-US"/>
              <a:t>Acquisition of user ratings and feedback can certainly be included into the app for further analysis and taken into consideration for our model in the next phase. </a:t>
            </a:r>
          </a:p>
          <a:p>
            <a:pPr>
              <a:buNone/>
            </a:pPr>
            <a:endParaRPr lang="en-US"/>
          </a:p>
          <a:p>
            <a:pPr>
              <a:spcAft>
                <a:spcPts val="0"/>
              </a:spcAft>
              <a:buNone/>
            </a:pPr>
            <a:r>
              <a:rPr lang="en-US"/>
              <a:t>  </a:t>
            </a:r>
          </a:p>
          <a:p>
            <a:pPr>
              <a:buNone/>
            </a:pPr>
            <a:endParaRPr lang="en-US">
              <a:latin typeface="Calibri"/>
              <a:cs typeface="Calibri"/>
            </a:endParaRPr>
          </a:p>
          <a:p>
            <a:pPr>
              <a:buNone/>
            </a:pPr>
            <a:endParaRPr lang="en-US">
              <a:latin typeface="Calibri"/>
              <a:cs typeface="Calibri"/>
            </a:endParaRPr>
          </a:p>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4095486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1">
              <a:buNone/>
            </a:pPr>
            <a:r>
              <a:rPr lang="en-US"/>
              <a:t>So in our next steps, we are looking at a time frame of 6 months before going live:- </a:t>
            </a:r>
            <a:endParaRPr lang="en-US" b="1"/>
          </a:p>
          <a:p>
            <a:pPr lvl="1">
              <a:buNone/>
            </a:pPr>
            <a:endParaRPr lang="en-US"/>
          </a:p>
          <a:p>
            <a:pPr lvl="1">
              <a:buNone/>
            </a:pPr>
            <a:r>
              <a:rPr lang="en-US"/>
              <a:t>As time series model needs more data and information to learn and generate more accurate predictions, </a:t>
            </a:r>
          </a:p>
          <a:p>
            <a:pPr lvl="1">
              <a:buNone/>
            </a:pPr>
            <a:endParaRPr lang="en-US"/>
          </a:p>
          <a:p>
            <a:pPr lvl="1">
              <a:buNone/>
            </a:pPr>
            <a:r>
              <a:rPr lang="en-US"/>
              <a:t>in our immediate next step, we will need to improve and </a:t>
            </a:r>
            <a:r>
              <a:rPr lang="en-US" err="1"/>
              <a:t>optimise</a:t>
            </a:r>
            <a:r>
              <a:rPr lang="en-US"/>
              <a:t> our model by obtaining data over a longer timeframe, consider additional features such as events and programs, and tourist’s segmentation for any seasonal pattern. We can then train and test the model to include other bus stops.</a:t>
            </a:r>
          </a:p>
          <a:p>
            <a:pPr lvl="1">
              <a:buNone/>
            </a:pPr>
            <a:endParaRPr lang="en-US"/>
          </a:p>
          <a:p>
            <a:pPr lvl="1">
              <a:buNone/>
            </a:pPr>
            <a:r>
              <a:rPr lang="en-US"/>
              <a:t>In the next 2 months, we will implement the model with operations team while developing the dashboard and building the app prototype with the new features.</a:t>
            </a:r>
          </a:p>
          <a:p>
            <a:pPr lvl="1">
              <a:buNone/>
            </a:pPr>
            <a:endParaRPr lang="en-US"/>
          </a:p>
          <a:p>
            <a:pPr lvl="1">
              <a:buNone/>
            </a:pPr>
            <a:r>
              <a:rPr lang="en-US"/>
              <a:t>Thereafter, we will gather feedback on the model, integrate it to the dashboard as well as test the new app features with users. </a:t>
            </a:r>
          </a:p>
          <a:p>
            <a:pPr lvl="1">
              <a:buNone/>
            </a:pPr>
            <a:endParaRPr lang="en-US"/>
          </a:p>
          <a:p>
            <a:pPr lvl="1">
              <a:buNone/>
            </a:pPr>
            <a:r>
              <a:rPr lang="en-US"/>
              <a:t>Subsequently, we will conduct AB testing on the dashboard whilst doing a soft launch for the app.</a:t>
            </a:r>
          </a:p>
          <a:p>
            <a:pPr lvl="1">
              <a:buNone/>
            </a:pPr>
            <a:endParaRPr lang="en-US"/>
          </a:p>
          <a:p>
            <a:pPr lvl="1">
              <a:buNone/>
            </a:pPr>
            <a:r>
              <a:rPr lang="en-US"/>
              <a:t>Finally, within 6 months, we target to go live on both the app and dashboard.</a:t>
            </a:r>
          </a:p>
          <a:p>
            <a:pPr>
              <a:buNone/>
            </a:pPr>
            <a:endParaRPr lang="en-US">
              <a:cs typeface="Calibri"/>
            </a:endParaRPr>
          </a:p>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22723197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Thank you for listening, this project is proudly brought to you by the rising seven!  We are now open to any questions! </a:t>
            </a:r>
          </a:p>
          <a:p>
            <a:pPr>
              <a:buNone/>
            </a:pPr>
            <a:endParaRPr lang="en-US"/>
          </a:p>
          <a:p>
            <a:pPr>
              <a:buNone/>
            </a:pPr>
            <a:endParaRPr lang="en-US"/>
          </a:p>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853028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a:p>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753183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2476667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2350765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4059686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US" b="1"/>
              <a:t>How might we provide better allocation of buses to bus stops to cater to ridership demand?</a:t>
            </a:r>
            <a:endParaRPr lang="en-SG"/>
          </a:p>
          <a:p>
            <a:pPr>
              <a:spcAft>
                <a:spcPts val="0"/>
              </a:spcAft>
              <a:buNone/>
            </a:pPr>
            <a:endParaRPr lang="en-SG"/>
          </a:p>
          <a:p>
            <a:pPr>
              <a:buNone/>
            </a:pPr>
            <a:r>
              <a:rPr lang="en-SG"/>
              <a:t>We recommend   :- </a:t>
            </a:r>
          </a:p>
          <a:p>
            <a:pPr>
              <a:buNone/>
            </a:pPr>
            <a:r>
              <a:rPr lang="en-SG"/>
              <a:t>1) Having a demand forecasting model to predict hourly ridership at bus stops to allow the operations team to plan their bus schedule a week ahead </a:t>
            </a:r>
          </a:p>
          <a:p>
            <a:pPr>
              <a:buNone/>
            </a:pPr>
            <a:r>
              <a:rPr lang="en-SG"/>
              <a:t>2) and include new features in the Sentosa App for visitors to see the bus arrival times and available capacity. </a:t>
            </a:r>
          </a:p>
          <a:p>
            <a:pPr>
              <a:buNone/>
            </a:pPr>
            <a:endParaRPr lang="en-SG"/>
          </a:p>
          <a:p>
            <a:pPr>
              <a:buNone/>
            </a:pPr>
            <a:r>
              <a:rPr lang="en-SG"/>
              <a:t>By adopting our recommendations:-</a:t>
            </a:r>
          </a:p>
          <a:p>
            <a:pPr>
              <a:buNone/>
            </a:pPr>
            <a:r>
              <a:rPr lang="en-SG"/>
              <a:t>1) The operations team will be able to use these predictions to schedule buses dynamically matching it to demand surges instead of running a fixed bus schedule </a:t>
            </a:r>
          </a:p>
          <a:p>
            <a:pPr>
              <a:buNone/>
            </a:pPr>
            <a:r>
              <a:rPr lang="en-SG"/>
              <a:t>2) And this will leads to potential cost savings as under-utilized bus deployed at non-peak time can be removed. </a:t>
            </a:r>
          </a:p>
          <a:p>
            <a:pPr>
              <a:buNone/>
            </a:pPr>
            <a:r>
              <a:rPr lang="en-SG"/>
              <a:t>3) Further, customer experience will be improved as they are able to see live bus information through the App which allows them to better plan their time around Sentosa in spending more time at attractions and less waiting at bus stops. </a:t>
            </a:r>
          </a:p>
          <a:p>
            <a:pPr>
              <a:buNone/>
            </a:pPr>
            <a:r>
              <a:rPr lang="en-SG"/>
              <a:t>4) Also, </a:t>
            </a:r>
            <a:r>
              <a:rPr lang="en-US"/>
              <a:t>this will drive and increase chances of customer using other existing App features such as promotions, attractions and </a:t>
            </a:r>
            <a:r>
              <a:rPr lang="en-SG"/>
              <a:t>thereby increase the revenue for Sentosa.</a:t>
            </a:r>
          </a:p>
          <a:p>
            <a:pPr>
              <a:spcAft>
                <a:spcPts val="0"/>
              </a:spcAft>
              <a:buNone/>
            </a:pPr>
            <a:endParaRPr lang="en-US"/>
          </a:p>
          <a:p>
            <a:pPr>
              <a:spcAft>
                <a:spcPts val="0"/>
              </a:spcAft>
              <a:buNone/>
            </a:pPr>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23089896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1167783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2283756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4299195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latin typeface="Calibri"/>
                <a:cs typeface="Calibri"/>
              </a:rPr>
              <a:t>SANITY CHECK – by selected 2 sample days</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40303803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err="1">
                <a:latin typeface="Calibri"/>
                <a:cs typeface="Calibri"/>
              </a:rPr>
              <a:t>Sharpiro</a:t>
            </a:r>
            <a:r>
              <a:rPr lang="en-US">
                <a:latin typeface="Calibri"/>
                <a:cs typeface="Calibri"/>
              </a:rPr>
              <a:t> to test if it's normally distributed, if it's not, use </a:t>
            </a:r>
            <a:r>
              <a:rPr lang="en-US" err="1">
                <a:latin typeface="Calibri"/>
                <a:cs typeface="Calibri"/>
              </a:rPr>
              <a:t>Mannuwhitneyu</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21196063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7845651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5</a:t>
            </a:fld>
            <a:endParaRPr lang="en-US"/>
          </a:p>
        </p:txBody>
      </p:sp>
    </p:spTree>
    <p:extLst>
      <p:ext uri="{BB962C8B-B14F-4D97-AF65-F5344CB8AC3E}">
        <p14:creationId xmlns:p14="http://schemas.microsoft.com/office/powerpoint/2010/main" val="1865562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b="1"/>
              <a:t>How we approach our modelling:- </a:t>
            </a:r>
            <a:endParaRPr lang="en-US" b="1"/>
          </a:p>
          <a:p>
            <a:r>
              <a:rPr lang="en-SG"/>
              <a:t> </a:t>
            </a:r>
          </a:p>
          <a:p>
            <a:r>
              <a:rPr lang="en-SG"/>
              <a:t>Firstly, we conducted industry research to understand the business, formulated the problem and framed the problem in a series of hypothesis. </a:t>
            </a:r>
          </a:p>
          <a:p>
            <a:r>
              <a:rPr lang="en-SG"/>
              <a:t>We cleansed, processed and analysed more than 220,000 rows of data and find out the root causes including any correlation between the ridership data and other variables. </a:t>
            </a:r>
          </a:p>
          <a:p>
            <a:r>
              <a:rPr lang="en-SG"/>
              <a:t>Next, we created new features such as average ridership and bus frequency and used them to built our model to generate hourly predictions one week in advance. </a:t>
            </a:r>
          </a:p>
          <a:p>
            <a:endParaRPr lang="en-SG"/>
          </a:p>
          <a:p>
            <a:endParaRPr lang="en-US"/>
          </a:p>
          <a:p>
            <a:endParaRPr lang="en-US"/>
          </a:p>
          <a:p>
            <a:endParaRPr lang="en-SG"/>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645038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1">
              <a:buNone/>
            </a:pPr>
            <a:r>
              <a:rPr lang="en-US" b="1"/>
              <a:t>Some assumptions we had:</a:t>
            </a:r>
            <a:endParaRPr lang="en-US"/>
          </a:p>
          <a:p>
            <a:pPr lvl="1">
              <a:buNone/>
            </a:pPr>
            <a:endParaRPr lang="en-US" b="1"/>
          </a:p>
          <a:p>
            <a:pPr lvl="1">
              <a:buNone/>
            </a:pPr>
            <a:r>
              <a:rPr lang="en-US"/>
              <a:t>1) We noticed the bus detection system was not able to pick up the alighting and boarding of every rider. Hence we assume the total riders in and out are the same and use the average ridership as basis for all our computations.</a:t>
            </a:r>
          </a:p>
          <a:p>
            <a:pPr lvl="1">
              <a:buNone/>
            </a:pPr>
            <a:r>
              <a:rPr lang="en-US"/>
              <a:t>2) We understand bus stops and bus routes cannot be removed. </a:t>
            </a:r>
          </a:p>
          <a:p>
            <a:pPr lvl="1">
              <a:buNone/>
            </a:pPr>
            <a:r>
              <a:rPr lang="en-US"/>
              <a:t>3 &amp; 4) Because of Covid, we understand there are no major events or promotions in these data months and the maximum bus capacity was reduced to 50 pax. We used this capacity number to derive bus frequency which is a key feature in our analysis and modelling.</a:t>
            </a:r>
          </a:p>
          <a:p>
            <a:pPr lvl="1">
              <a:buNone/>
            </a:pPr>
            <a:endParaRPr lang="en-US"/>
          </a:p>
          <a:p>
            <a:pPr>
              <a:buNone/>
            </a:pPr>
            <a:endParaRPr lang="en-US">
              <a:cs typeface="Calibri"/>
            </a:endParaRPr>
          </a:p>
          <a:p>
            <a:pPr lvl="1">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3176547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Given that it is not possible to remove any bus stops or routes, we decided to focus on the bus stop with the highest ridership and use it as first test subject to run our demand forecasting model.</a:t>
            </a:r>
            <a:endParaRPr lang="en-SG"/>
          </a:p>
          <a:p>
            <a:pPr>
              <a:buNone/>
            </a:pPr>
            <a:endParaRPr lang="en-SG"/>
          </a:p>
          <a:p>
            <a:pPr>
              <a:buNone/>
            </a:pPr>
            <a:r>
              <a:rPr lang="en-SG"/>
              <a:t>Beach station is excluded in this analysis because it is a bus interchange which naturally will have a high ridership. </a:t>
            </a:r>
          </a:p>
          <a:p>
            <a:pPr>
              <a:buNone/>
            </a:pPr>
            <a:endParaRPr lang="en-SG"/>
          </a:p>
          <a:p>
            <a:pPr>
              <a:buNone/>
            </a:pPr>
            <a:r>
              <a:rPr lang="en-SG"/>
              <a:t>Per our analysis of Jan to Mar data shown in the pie chart here, </a:t>
            </a:r>
            <a:r>
              <a:rPr lang="en-SG" err="1"/>
              <a:t>Imbiah</a:t>
            </a:r>
            <a:r>
              <a:rPr lang="en-SG"/>
              <a:t> lookout has the highest number of riders. </a:t>
            </a:r>
            <a:endParaRPr lang="en-US"/>
          </a:p>
          <a:p>
            <a:pPr>
              <a:buNone/>
            </a:pPr>
            <a:endParaRPr lang="en-SG"/>
          </a:p>
          <a:p>
            <a:pPr>
              <a:buNone/>
            </a:pPr>
            <a:endParaRPr lang="en-SG"/>
          </a:p>
          <a:p>
            <a:pPr>
              <a:buNone/>
            </a:pPr>
            <a:endParaRPr lang="en-SG"/>
          </a:p>
          <a:p>
            <a:pPr>
              <a:buNone/>
            </a:pPr>
            <a:endParaRPr lang="en-SG"/>
          </a:p>
          <a:p>
            <a:pPr>
              <a:buNone/>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3078423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a:t>We plot a graph from Jan to March to analyse the total ridership at the time of the day. </a:t>
            </a:r>
          </a:p>
          <a:p>
            <a:r>
              <a:rPr lang="en-SG"/>
              <a:t> </a:t>
            </a:r>
          </a:p>
          <a:p>
            <a:r>
              <a:rPr lang="en-SG"/>
              <a:t>Overall, afternoon is the peak of all the bus routes.</a:t>
            </a:r>
          </a:p>
          <a:p>
            <a:endParaRPr lang="en-SG"/>
          </a:p>
          <a:p>
            <a:r>
              <a:rPr lang="en-SG"/>
              <a:t>We see the same trend and peak at </a:t>
            </a:r>
            <a:r>
              <a:rPr lang="en-SG" err="1"/>
              <a:t>Imbiah</a:t>
            </a:r>
            <a:r>
              <a:rPr lang="en-SG"/>
              <a:t> Lookout.</a:t>
            </a:r>
          </a:p>
          <a:p>
            <a:endParaRPr lang="en-SG"/>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4243667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 </a:t>
            </a:r>
            <a:endParaRPr lang="en-US"/>
          </a:p>
          <a:p>
            <a:pPr>
              <a:buNone/>
            </a:pPr>
            <a:r>
              <a:rPr lang="en-SG"/>
              <a:t>We have created a popularity index considering 4 components which are attractions, </a:t>
            </a:r>
            <a:r>
              <a:rPr lang="en-SG" err="1"/>
              <a:t>FnB</a:t>
            </a:r>
            <a:r>
              <a:rPr lang="en-SG"/>
              <a:t>, Hotels and Transport.</a:t>
            </a:r>
            <a:endParaRPr lang="en-US"/>
          </a:p>
          <a:p>
            <a:pPr>
              <a:buNone/>
            </a:pPr>
            <a:r>
              <a:rPr lang="en-SG"/>
              <a:t>According to our popularity index,  we can see that </a:t>
            </a:r>
            <a:r>
              <a:rPr lang="en-SG" err="1"/>
              <a:t>Imbiah</a:t>
            </a:r>
            <a:r>
              <a:rPr lang="en-SG"/>
              <a:t> Lookout is one of the top 3 popular bus stops</a:t>
            </a:r>
          </a:p>
          <a:p>
            <a:pPr>
              <a:buNone/>
            </a:pPr>
            <a:endParaRPr lang="en-SG"/>
          </a:p>
          <a:p>
            <a:pPr>
              <a:spcAft>
                <a:spcPts val="0"/>
              </a:spcAft>
              <a:buNone/>
            </a:pPr>
            <a:endParaRPr lang="en-SG"/>
          </a:p>
          <a:p>
            <a:pPr>
              <a:spcAft>
                <a:spcPts val="0"/>
              </a:spcAft>
              <a:buNone/>
            </a:pPr>
            <a:endParaRPr lang="en-SG"/>
          </a:p>
          <a:p>
            <a:pPr marL="171450" indent="-171450">
              <a:spcAft>
                <a:spcPts val="0"/>
              </a:spcAft>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2765067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a:t>We now look at the bus frequency which is an important feature that we created using the ridership data against the bus capacity of 50pax per bus.</a:t>
            </a:r>
            <a:endParaRPr lang="en-US"/>
          </a:p>
          <a:p>
            <a:endParaRPr lang="en-SG"/>
          </a:p>
          <a:p>
            <a:r>
              <a:rPr lang="en-SG"/>
              <a:t>The reason for calculating bus frequency is because we know that in 1 hour, Sentosa deploys 1 bus every 15mins and we wanted to get the number of buses that is able to pick up all passengers that are in that bus stop at every hour. </a:t>
            </a:r>
          </a:p>
          <a:p>
            <a:endParaRPr lang="en-SG"/>
          </a:p>
          <a:p>
            <a:pPr>
              <a:buNone/>
            </a:pPr>
            <a:r>
              <a:rPr lang="en-SG"/>
              <a:t>We plot the chart based on the Max, Mode, and minimum requirement of bus frequency for each time of the day</a:t>
            </a:r>
          </a:p>
          <a:p>
            <a:r>
              <a:rPr lang="en-SG"/>
              <a:t> </a:t>
            </a:r>
          </a:p>
          <a:p>
            <a:r>
              <a:rPr lang="en-SG"/>
              <a:t>The Blue Line refers to the highest value and the Orange Line refers to the most frequent amount of buses deployed at that hour.</a:t>
            </a:r>
          </a:p>
          <a:p>
            <a:r>
              <a:rPr lang="en-SG"/>
              <a:t>The Green Line refers to the minimum value required to support the maximum total ridership for that time.</a:t>
            </a:r>
          </a:p>
          <a:p>
            <a:r>
              <a:rPr lang="en-SG"/>
              <a:t> </a:t>
            </a:r>
          </a:p>
          <a:p>
            <a:r>
              <a:rPr lang="en-SG"/>
              <a:t>For example if we look at the weekday chart, the minimum required bus frequency throughout the day is between ONE to TWO buses instead of the current fixed bus schedule of 8 buses per hour.</a:t>
            </a:r>
          </a:p>
          <a:p>
            <a:r>
              <a:rPr lang="en-SG"/>
              <a:t> </a:t>
            </a:r>
          </a:p>
          <a:p>
            <a:r>
              <a:rPr lang="en-SG"/>
              <a:t>As we visualize the trend of the two charts, we can see that the Green Line deployed within each hour of the day is lower than the Max and Mode of the bus frequency.</a:t>
            </a:r>
          </a:p>
          <a:p>
            <a:r>
              <a:rPr lang="en-SG"/>
              <a:t>This means that the minimum bus deployment required to support the maximum total ridership at </a:t>
            </a:r>
            <a:r>
              <a:rPr lang="en-SG" err="1"/>
              <a:t>Imbiah</a:t>
            </a:r>
            <a:r>
              <a:rPr lang="en-SG"/>
              <a:t> Lookout can be more than required.</a:t>
            </a:r>
          </a:p>
          <a:p>
            <a:r>
              <a:rPr lang="en-SG"/>
              <a:t> </a:t>
            </a:r>
          </a:p>
          <a:p>
            <a:r>
              <a:rPr lang="en-SG"/>
              <a:t>Later on, we will continue to use this Green Line, our minimum bus frequency, to compare with our prediction results in our demand forecasting model.</a:t>
            </a:r>
          </a:p>
          <a:p>
            <a:endParaRPr lang="en-SG"/>
          </a:p>
          <a:p>
            <a:endParaRPr lang="en-US"/>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37811142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slide 1:features</a:t>
            </a:r>
            <a:endParaRPr lang="en-US"/>
          </a:p>
          <a:p>
            <a:pPr>
              <a:buNone/>
            </a:pPr>
            <a:r>
              <a:rPr lang="en-SG"/>
              <a:t>Using data provided, we created features for </a:t>
            </a:r>
          </a:p>
          <a:p>
            <a:pPr>
              <a:buNone/>
            </a:pPr>
            <a:r>
              <a:rPr lang="en-SG"/>
              <a:t>day of the week and our target variable average ridership. From there we created the bus frequency metric dividing ridership by 50.</a:t>
            </a:r>
          </a:p>
          <a:p>
            <a:pPr>
              <a:buNone/>
            </a:pPr>
            <a:r>
              <a:rPr lang="en-SG"/>
              <a:t> </a:t>
            </a:r>
          </a:p>
          <a:p>
            <a:pPr>
              <a:buNone/>
            </a:pPr>
            <a:r>
              <a:rPr lang="en-SG"/>
              <a:t>Using external data, we created the flags for rain and holiday.</a:t>
            </a:r>
          </a:p>
          <a:p>
            <a:pPr marL="228600" indent="-228600">
              <a:spcAft>
                <a:spcPts val="0"/>
              </a:spcAft>
              <a:buAutoNum type="arabicPeriod"/>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340195217"/>
      </p:ext>
    </p:extLst>
  </p:cSld>
  <p:clrMapOvr>
    <a:masterClrMapping/>
  </p:clrMapOvr>
</p:notes>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23.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5.xml"/><Relationship Id="rId7" Type="http://schemas.openxmlformats.org/officeDocument/2006/relationships/image" Target="../media/image8.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8.xml"/><Relationship Id="rId7" Type="http://schemas.openxmlformats.org/officeDocument/2006/relationships/image" Target="../media/image8.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1.xml"/><Relationship Id="rId7" Type="http://schemas.openxmlformats.org/officeDocument/2006/relationships/image" Target="../media/image8.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4.xml"/><Relationship Id="rId7" Type="http://schemas.openxmlformats.org/officeDocument/2006/relationships/image" Target="../media/image8.emf"/><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7.xml"/><Relationship Id="rId7" Type="http://schemas.openxmlformats.org/officeDocument/2006/relationships/image" Target="../media/image8.emf"/><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0.svg"/><Relationship Id="rId5" Type="http://schemas.openxmlformats.org/officeDocument/2006/relationships/slideMaster" Target="../slideMasters/slideMaster1.xml"/><Relationship Id="rId10" Type="http://schemas.openxmlformats.org/officeDocument/2006/relationships/image" Target="../media/image9.png"/><Relationship Id="rId4" Type="http://schemas.openxmlformats.org/officeDocument/2006/relationships/tags" Target="../tags/tag38.xml"/><Relationship Id="rId9"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0.xml"/><Relationship Id="rId7" Type="http://schemas.openxmlformats.org/officeDocument/2006/relationships/image" Target="../media/image8.emf"/><Relationship Id="rId2" Type="http://schemas.openxmlformats.org/officeDocument/2006/relationships/tags" Target="../tags/tag3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41.xml"/><Relationship Id="rId9"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3.xml"/><Relationship Id="rId7" Type="http://schemas.openxmlformats.org/officeDocument/2006/relationships/image" Target="../media/image8.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44.xml"/><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6.xml"/><Relationship Id="rId7" Type="http://schemas.openxmlformats.org/officeDocument/2006/relationships/image" Target="../media/image8.emf"/><Relationship Id="rId2" Type="http://schemas.openxmlformats.org/officeDocument/2006/relationships/tags" Target="../tags/tag4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9.xml"/><Relationship Id="rId7" Type="http://schemas.openxmlformats.org/officeDocument/2006/relationships/oleObject" Target="../embeddings/oleObject20.bin"/><Relationship Id="rId12" Type="http://schemas.openxmlformats.org/officeDocument/2006/relationships/image" Target="../media/image10.svg"/><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slideMaster" Target="../slideMasters/slideMaster1.xml"/><Relationship Id="rId11" Type="http://schemas.openxmlformats.org/officeDocument/2006/relationships/image" Target="../media/image9.png"/><Relationship Id="rId5" Type="http://schemas.openxmlformats.org/officeDocument/2006/relationships/tags" Target="../tags/tag51.xml"/><Relationship Id="rId10" Type="http://schemas.openxmlformats.org/officeDocument/2006/relationships/image" Target="../media/image14.png"/><Relationship Id="rId4" Type="http://schemas.openxmlformats.org/officeDocument/2006/relationships/tags" Target="../tags/tag50.xml"/><Relationship Id="rId9"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7.xml"/><Relationship Id="rId7"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3.xml"/><Relationship Id="rId7" Type="http://schemas.openxmlformats.org/officeDocument/2006/relationships/image" Target="../media/image15.emf"/><Relationship Id="rId2" Type="http://schemas.openxmlformats.org/officeDocument/2006/relationships/tags" Target="../tags/tag5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6.xml"/><Relationship Id="rId7" Type="http://schemas.openxmlformats.org/officeDocument/2006/relationships/image" Target="../media/image8.emf"/><Relationship Id="rId2" Type="http://schemas.openxmlformats.org/officeDocument/2006/relationships/tags" Target="../tags/tag55.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4.png"/><Relationship Id="rId5" Type="http://schemas.openxmlformats.org/officeDocument/2006/relationships/slideMaster" Target="../slideMasters/slideMaster1.xml"/><Relationship Id="rId10" Type="http://schemas.openxmlformats.org/officeDocument/2006/relationships/image" Target="../media/image11.jpeg"/><Relationship Id="rId4" Type="http://schemas.openxmlformats.org/officeDocument/2006/relationships/tags" Target="../tags/tag57.xml"/><Relationship Id="rId9"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9.xml"/><Relationship Id="rId7" Type="http://schemas.openxmlformats.org/officeDocument/2006/relationships/image" Target="../media/image8.emf"/><Relationship Id="rId2" Type="http://schemas.openxmlformats.org/officeDocument/2006/relationships/tags" Target="../tags/tag5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60.xml"/><Relationship Id="rId9"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62.xml"/><Relationship Id="rId7" Type="http://schemas.openxmlformats.org/officeDocument/2006/relationships/image" Target="../media/image8.emf"/><Relationship Id="rId2" Type="http://schemas.openxmlformats.org/officeDocument/2006/relationships/tags" Target="../tags/tag6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65.xml"/><Relationship Id="rId7" Type="http://schemas.openxmlformats.org/officeDocument/2006/relationships/image" Target="../media/image8.emf"/><Relationship Id="rId2" Type="http://schemas.openxmlformats.org/officeDocument/2006/relationships/tags" Target="../tags/tag64.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66.xml"/><Relationship Id="rId9"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8.xml"/><Relationship Id="rId7"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1.xml"/><Relationship Id="rId4" Type="http://schemas.openxmlformats.org/officeDocument/2006/relationships/tags" Target="../tags/tag69.xml"/><Relationship Id="rId9" Type="http://schemas.openxmlformats.org/officeDocument/2006/relationships/image" Target="../media/image11.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71.xml"/><Relationship Id="rId7" Type="http://schemas.openxmlformats.org/officeDocument/2006/relationships/image" Target="../media/image8.emf"/><Relationship Id="rId2" Type="http://schemas.openxmlformats.org/officeDocument/2006/relationships/tags" Target="../tags/tag70.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28.vml"/><Relationship Id="rId6" Type="http://schemas.openxmlformats.org/officeDocument/2006/relationships/image" Target="../media/image8.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76.xml"/><Relationship Id="rId7" Type="http://schemas.openxmlformats.org/officeDocument/2006/relationships/image" Target="../media/image11.jpeg"/><Relationship Id="rId2" Type="http://schemas.openxmlformats.org/officeDocument/2006/relationships/tags" Target="../tags/tag75.xml"/><Relationship Id="rId1" Type="http://schemas.openxmlformats.org/officeDocument/2006/relationships/vmlDrawing" Target="../drawings/vmlDrawing29.vml"/><Relationship Id="rId6" Type="http://schemas.openxmlformats.org/officeDocument/2006/relationships/image" Target="../media/image15.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77.xml"/><Relationship Id="rId1" Type="http://schemas.openxmlformats.org/officeDocument/2006/relationships/vmlDrawing" Target="../drawings/vmlDrawing3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7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79.xml"/><Relationship Id="rId1" Type="http://schemas.openxmlformats.org/officeDocument/2006/relationships/vmlDrawing" Target="../drawings/vmlDrawing31.vml"/><Relationship Id="rId6" Type="http://schemas.openxmlformats.org/officeDocument/2006/relationships/image" Target="../media/image9.png"/><Relationship Id="rId5" Type="http://schemas.openxmlformats.org/officeDocument/2006/relationships/image" Target="../media/image17.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80.xml"/><Relationship Id="rId1" Type="http://schemas.openxmlformats.org/officeDocument/2006/relationships/vmlDrawing" Target="../drawings/vmlDrawing3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1.xml"/><Relationship Id="rId1" Type="http://schemas.openxmlformats.org/officeDocument/2006/relationships/vmlDrawing" Target="../drawings/vmlDrawing33.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83.xml"/><Relationship Id="rId7" Type="http://schemas.openxmlformats.org/officeDocument/2006/relationships/image" Target="../media/image3.jpeg"/><Relationship Id="rId2" Type="http://schemas.openxmlformats.org/officeDocument/2006/relationships/tags" Target="../tags/tag82.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85.xml"/><Relationship Id="rId7" Type="http://schemas.openxmlformats.org/officeDocument/2006/relationships/image" Target="../media/image3.jpeg"/><Relationship Id="rId2" Type="http://schemas.openxmlformats.org/officeDocument/2006/relationships/tags" Target="../tags/tag84.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7.xml"/><Relationship Id="rId7" Type="http://schemas.openxmlformats.org/officeDocument/2006/relationships/image" Target="../media/image5.jpeg"/><Relationship Id="rId2" Type="http://schemas.openxmlformats.org/officeDocument/2006/relationships/tags" Target="../tags/tag8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9.xml"/><Relationship Id="rId7" Type="http://schemas.openxmlformats.org/officeDocument/2006/relationships/image" Target="../media/image5.jpeg"/><Relationship Id="rId2" Type="http://schemas.openxmlformats.org/officeDocument/2006/relationships/tags" Target="../tags/tag8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91.xml"/><Relationship Id="rId7" Type="http://schemas.openxmlformats.org/officeDocument/2006/relationships/image" Target="../media/image6.jpeg"/><Relationship Id="rId2" Type="http://schemas.openxmlformats.org/officeDocument/2006/relationships/tags" Target="../tags/tag90.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7.jpeg"/><Relationship Id="rId2" Type="http://schemas.openxmlformats.org/officeDocument/2006/relationships/tags" Target="../tags/tag92.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97.xml"/><Relationship Id="rId7" Type="http://schemas.openxmlformats.org/officeDocument/2006/relationships/image" Target="../media/image9.png"/><Relationship Id="rId2" Type="http://schemas.openxmlformats.org/officeDocument/2006/relationships/tags" Target="../tags/tag96.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99.xml"/><Relationship Id="rId7" Type="http://schemas.openxmlformats.org/officeDocument/2006/relationships/image" Target="../media/image9.png"/><Relationship Id="rId2" Type="http://schemas.openxmlformats.org/officeDocument/2006/relationships/tags" Target="../tags/tag98.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1.xml"/><Relationship Id="rId7" Type="http://schemas.openxmlformats.org/officeDocument/2006/relationships/image" Target="../media/image9.png"/><Relationship Id="rId2" Type="http://schemas.openxmlformats.org/officeDocument/2006/relationships/tags" Target="../tags/tag100.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3.xml"/><Relationship Id="rId7" Type="http://schemas.openxmlformats.org/officeDocument/2006/relationships/image" Target="../media/image9.png"/><Relationship Id="rId2" Type="http://schemas.openxmlformats.org/officeDocument/2006/relationships/tags" Target="../tags/tag102.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5.xml"/><Relationship Id="rId7" Type="http://schemas.openxmlformats.org/officeDocument/2006/relationships/image" Target="../media/image9.png"/><Relationship Id="rId2" Type="http://schemas.openxmlformats.org/officeDocument/2006/relationships/tags" Target="../tags/tag104.xml"/><Relationship Id="rId1" Type="http://schemas.openxmlformats.org/officeDocument/2006/relationships/vmlDrawing" Target="../drawings/vmlDrawing45.vml"/><Relationship Id="rId6" Type="http://schemas.openxmlformats.org/officeDocument/2006/relationships/image" Target="../media/image8.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07.xml"/><Relationship Id="rId7" Type="http://schemas.openxmlformats.org/officeDocument/2006/relationships/image" Target="../media/image8.emf"/><Relationship Id="rId2" Type="http://schemas.openxmlformats.org/officeDocument/2006/relationships/tags" Target="../tags/tag106.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1.xml"/><Relationship Id="rId4" Type="http://schemas.openxmlformats.org/officeDocument/2006/relationships/tags" Target="../tags/tag108.xml"/><Relationship Id="rId9" Type="http://schemas.openxmlformats.org/officeDocument/2006/relationships/image" Target="../media/image12.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0.xml"/><Relationship Id="rId7" Type="http://schemas.openxmlformats.org/officeDocument/2006/relationships/image" Target="../media/image8.emf"/><Relationship Id="rId2" Type="http://schemas.openxmlformats.org/officeDocument/2006/relationships/tags" Target="../tags/tag109.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1.xml"/><Relationship Id="rId4" Type="http://schemas.openxmlformats.org/officeDocument/2006/relationships/tags" Target="../tags/tag111.xml"/><Relationship Id="rId9"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3.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3.xml"/><Relationship Id="rId7" Type="http://schemas.openxmlformats.org/officeDocument/2006/relationships/image" Target="../media/image8.emf"/><Relationship Id="rId2" Type="http://schemas.openxmlformats.org/officeDocument/2006/relationships/tags" Target="../tags/tag112.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1.xml"/><Relationship Id="rId4" Type="http://schemas.openxmlformats.org/officeDocument/2006/relationships/tags" Target="../tags/tag114.xml"/><Relationship Id="rId9" Type="http://schemas.openxmlformats.org/officeDocument/2006/relationships/image" Target="../media/image12.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6.xml"/><Relationship Id="rId7" Type="http://schemas.openxmlformats.org/officeDocument/2006/relationships/image" Target="../media/image8.emf"/><Relationship Id="rId2" Type="http://schemas.openxmlformats.org/officeDocument/2006/relationships/tags" Target="../tags/tag115.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12.png"/><Relationship Id="rId5" Type="http://schemas.openxmlformats.org/officeDocument/2006/relationships/slideMaster" Target="../slideMasters/slideMaster1.xml"/><Relationship Id="rId10" Type="http://schemas.openxmlformats.org/officeDocument/2006/relationships/image" Target="../media/image10.svg"/><Relationship Id="rId4" Type="http://schemas.openxmlformats.org/officeDocument/2006/relationships/tags" Target="../tags/tag117.xml"/><Relationship Id="rId9"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9.xml"/><Relationship Id="rId7" Type="http://schemas.openxmlformats.org/officeDocument/2006/relationships/image" Target="../media/image8.emf"/><Relationship Id="rId2" Type="http://schemas.openxmlformats.org/officeDocument/2006/relationships/tags" Target="../tags/tag118.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Master" Target="../slideMasters/slideMaster1.xml"/><Relationship Id="rId4" Type="http://schemas.openxmlformats.org/officeDocument/2006/relationships/tags" Target="../tags/tag120.xml"/><Relationship Id="rId9"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2.xml"/><Relationship Id="rId7" Type="http://schemas.openxmlformats.org/officeDocument/2006/relationships/image" Target="../media/image8.emf"/><Relationship Id="rId2" Type="http://schemas.openxmlformats.org/officeDocument/2006/relationships/tags" Target="../tags/tag121.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1.xml"/><Relationship Id="rId4" Type="http://schemas.openxmlformats.org/officeDocument/2006/relationships/tags" Target="../tags/tag123.xml"/><Relationship Id="rId9"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5.xml"/><Relationship Id="rId7" Type="http://schemas.openxmlformats.org/officeDocument/2006/relationships/image" Target="../media/image15.emf"/><Relationship Id="rId2" Type="http://schemas.openxmlformats.org/officeDocument/2006/relationships/tags" Target="../tags/tag124.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1.xml"/><Relationship Id="rId4" Type="http://schemas.openxmlformats.org/officeDocument/2006/relationships/tags" Target="../tags/tag126.xml"/><Relationship Id="rId9"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8.xml"/><Relationship Id="rId7" Type="http://schemas.openxmlformats.org/officeDocument/2006/relationships/image" Target="../media/image8.emf"/><Relationship Id="rId2" Type="http://schemas.openxmlformats.org/officeDocument/2006/relationships/tags" Target="../tags/tag127.xml"/><Relationship Id="rId1" Type="http://schemas.openxmlformats.org/officeDocument/2006/relationships/vmlDrawing" Target="../drawings/vmlDrawing53.vml"/><Relationship Id="rId6" Type="http://schemas.openxmlformats.org/officeDocument/2006/relationships/oleObject" Target="../embeddings/oleObject53.bin"/><Relationship Id="rId11" Type="http://schemas.openxmlformats.org/officeDocument/2006/relationships/image" Target="../media/image10.svg"/><Relationship Id="rId5" Type="http://schemas.openxmlformats.org/officeDocument/2006/relationships/slideMaster" Target="../slideMasters/slideMaster1.xml"/><Relationship Id="rId10" Type="http://schemas.openxmlformats.org/officeDocument/2006/relationships/image" Target="../media/image9.png"/><Relationship Id="rId4" Type="http://schemas.openxmlformats.org/officeDocument/2006/relationships/tags" Target="../tags/tag129.xml"/><Relationship Id="rId9"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31.xml"/><Relationship Id="rId7" Type="http://schemas.openxmlformats.org/officeDocument/2006/relationships/image" Target="../media/image8.emf"/><Relationship Id="rId2" Type="http://schemas.openxmlformats.org/officeDocument/2006/relationships/tags" Target="../tags/tag130.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1.xml"/><Relationship Id="rId4" Type="http://schemas.openxmlformats.org/officeDocument/2006/relationships/tags" Target="../tags/tag132.xml"/><Relationship Id="rId9"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34.xml"/><Relationship Id="rId7" Type="http://schemas.openxmlformats.org/officeDocument/2006/relationships/image" Target="../media/image8.emf"/><Relationship Id="rId2" Type="http://schemas.openxmlformats.org/officeDocument/2006/relationships/tags" Target="../tags/tag133.xml"/><Relationship Id="rId1" Type="http://schemas.openxmlformats.org/officeDocument/2006/relationships/vmlDrawing" Target="../drawings/vmlDrawing55.vml"/><Relationship Id="rId6" Type="http://schemas.openxmlformats.org/officeDocument/2006/relationships/oleObject" Target="../embeddings/oleObject55.bin"/><Relationship Id="rId11" Type="http://schemas.openxmlformats.org/officeDocument/2006/relationships/image" Target="../media/image11.jpeg"/><Relationship Id="rId5" Type="http://schemas.openxmlformats.org/officeDocument/2006/relationships/slideMaster" Target="../slideMasters/slideMaster1.xml"/><Relationship Id="rId10" Type="http://schemas.openxmlformats.org/officeDocument/2006/relationships/image" Target="../media/image10.svg"/><Relationship Id="rId4" Type="http://schemas.openxmlformats.org/officeDocument/2006/relationships/tags" Target="../tags/tag135.xml"/><Relationship Id="rId9"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37.xml"/><Relationship Id="rId7" Type="http://schemas.openxmlformats.org/officeDocument/2006/relationships/image" Target="../media/image8.emf"/><Relationship Id="rId2" Type="http://schemas.openxmlformats.org/officeDocument/2006/relationships/tags" Target="../tags/tag13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Master" Target="../slideMasters/slideMaster1.xml"/><Relationship Id="rId4" Type="http://schemas.openxmlformats.org/officeDocument/2006/relationships/tags" Target="../tags/tag138.xml"/><Relationship Id="rId9" Type="http://schemas.openxmlformats.org/officeDocument/2006/relationships/image" Target="../media/image13.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0.xml"/><Relationship Id="rId7" Type="http://schemas.openxmlformats.org/officeDocument/2006/relationships/image" Target="../media/image8.emf"/><Relationship Id="rId2" Type="http://schemas.openxmlformats.org/officeDocument/2006/relationships/tags" Target="../tags/tag139.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Master" Target="../slideMasters/slideMaster1.xml"/><Relationship Id="rId4" Type="http://schemas.openxmlformats.org/officeDocument/2006/relationships/tags" Target="../tags/tag141.xml"/><Relationship Id="rId9"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3.xml"/><Relationship Id="rId7" Type="http://schemas.openxmlformats.org/officeDocument/2006/relationships/image" Target="../media/image8.emf"/><Relationship Id="rId2" Type="http://schemas.openxmlformats.org/officeDocument/2006/relationships/tags" Target="../tags/tag142.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Master" Target="../slideMasters/slideMaster1.xml"/><Relationship Id="rId4" Type="http://schemas.openxmlformats.org/officeDocument/2006/relationships/tags" Target="../tags/tag144.xml"/><Relationship Id="rId9"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6.xml"/><Relationship Id="rId7" Type="http://schemas.openxmlformats.org/officeDocument/2006/relationships/image" Target="../media/image8.emf"/><Relationship Id="rId2" Type="http://schemas.openxmlformats.org/officeDocument/2006/relationships/tags" Target="../tags/tag145.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1.xml"/><Relationship Id="rId4" Type="http://schemas.openxmlformats.org/officeDocument/2006/relationships/tags" Target="../tags/tag147.xml"/><Relationship Id="rId9"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9.xml"/><Relationship Id="rId7" Type="http://schemas.openxmlformats.org/officeDocument/2006/relationships/image" Target="../media/image8.emf"/><Relationship Id="rId2" Type="http://schemas.openxmlformats.org/officeDocument/2006/relationships/tags" Target="../tags/tag148.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slideMaster" Target="../slideMasters/slideMaster1.xml"/><Relationship Id="rId4" Type="http://schemas.openxmlformats.org/officeDocument/2006/relationships/tags" Target="../tags/tag150.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52.xml"/><Relationship Id="rId7" Type="http://schemas.openxmlformats.org/officeDocument/2006/relationships/image" Target="../media/image9.png"/><Relationship Id="rId2" Type="http://schemas.openxmlformats.org/officeDocument/2006/relationships/tags" Target="../tags/tag151.xml"/><Relationship Id="rId1" Type="http://schemas.openxmlformats.org/officeDocument/2006/relationships/vmlDrawing" Target="../drawings/vmlDrawing61.vml"/><Relationship Id="rId6" Type="http://schemas.openxmlformats.org/officeDocument/2006/relationships/image" Target="../media/image8.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4.xml"/><Relationship Id="rId7" Type="http://schemas.openxmlformats.org/officeDocument/2006/relationships/image" Target="../media/image11.jpeg"/><Relationship Id="rId2" Type="http://schemas.openxmlformats.org/officeDocument/2006/relationships/tags" Target="../tags/tag15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56.xml"/><Relationship Id="rId7" Type="http://schemas.openxmlformats.org/officeDocument/2006/relationships/image" Target="../media/image11.jpeg"/><Relationship Id="rId2" Type="http://schemas.openxmlformats.org/officeDocument/2006/relationships/tags" Target="../tags/tag155.xml"/><Relationship Id="rId1" Type="http://schemas.openxmlformats.org/officeDocument/2006/relationships/vmlDrawing" Target="../drawings/vmlDrawing63.vml"/><Relationship Id="rId6" Type="http://schemas.openxmlformats.org/officeDocument/2006/relationships/image" Target="../media/image8.emf"/><Relationship Id="rId5" Type="http://schemas.openxmlformats.org/officeDocument/2006/relationships/oleObject" Target="../embeddings/oleObject63.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1.jpeg"/><Relationship Id="rId2" Type="http://schemas.openxmlformats.org/officeDocument/2006/relationships/tags" Target="../tags/tag157.xml"/><Relationship Id="rId1" Type="http://schemas.openxmlformats.org/officeDocument/2006/relationships/vmlDrawing" Target="../drawings/vmlDrawing64.vml"/><Relationship Id="rId6" Type="http://schemas.openxmlformats.org/officeDocument/2006/relationships/image" Target="../media/image8.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59.xml"/><Relationship Id="rId1" Type="http://schemas.openxmlformats.org/officeDocument/2006/relationships/vmlDrawing" Target="../drawings/vmlDrawing6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60.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17.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61.xml"/><Relationship Id="rId1" Type="http://schemas.openxmlformats.org/officeDocument/2006/relationships/vmlDrawing" Target="../drawings/vmlDrawing67.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62.xml"/><Relationship Id="rId1" Type="http://schemas.openxmlformats.org/officeDocument/2006/relationships/vmlDrawing" Target="../drawings/vmlDrawing6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64.xml"/><Relationship Id="rId7" Type="http://schemas.openxmlformats.org/officeDocument/2006/relationships/image" Target="../media/image1.emf"/><Relationship Id="rId2" Type="http://schemas.openxmlformats.org/officeDocument/2006/relationships/tags" Target="../tags/tag163.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slideMaster" Target="../slideMasters/slideMaster1.xml"/><Relationship Id="rId4" Type="http://schemas.openxmlformats.org/officeDocument/2006/relationships/tags" Target="../tags/tag16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11.jpeg"/><Relationship Id="rId2" Type="http://schemas.openxmlformats.org/officeDocument/2006/relationships/tags" Target="../tags/tag166.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1.jpeg"/><Relationship Id="rId2" Type="http://schemas.openxmlformats.org/officeDocument/2006/relationships/tags" Target="../tags/tag168.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1.xml"/><Relationship Id="rId7" Type="http://schemas.openxmlformats.org/officeDocument/2006/relationships/image" Target="../media/image11.jpeg"/><Relationship Id="rId2" Type="http://schemas.openxmlformats.org/officeDocument/2006/relationships/tags" Target="../tags/tag17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10" Type="http://schemas.openxmlformats.org/officeDocument/2006/relationships/image" Target="../media/image10.sv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73.xml"/><Relationship Id="rId7" Type="http://schemas.openxmlformats.org/officeDocument/2006/relationships/image" Target="../media/image9.png"/><Relationship Id="rId2" Type="http://schemas.openxmlformats.org/officeDocument/2006/relationships/tags" Target="../tags/tag172.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74.xml"/><Relationship Id="rId1" Type="http://schemas.openxmlformats.org/officeDocument/2006/relationships/vmlDrawing" Target="../drawings/vmlDrawing7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75.xml"/><Relationship Id="rId1" Type="http://schemas.openxmlformats.org/officeDocument/2006/relationships/vmlDrawing" Target="../drawings/vmlDrawing75.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7.xml"/><Relationship Id="rId7" Type="http://schemas.openxmlformats.org/officeDocument/2006/relationships/image" Target="../media/image11.jpeg"/><Relationship Id="rId2" Type="http://schemas.openxmlformats.org/officeDocument/2006/relationships/tags" Target="../tags/tag176.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10" Type="http://schemas.openxmlformats.org/officeDocument/2006/relationships/image" Target="../media/image10.sv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79.xml"/><Relationship Id="rId7" Type="http://schemas.openxmlformats.org/officeDocument/2006/relationships/image" Target="../media/image11.jpeg"/><Relationship Id="rId2" Type="http://schemas.openxmlformats.org/officeDocument/2006/relationships/tags" Target="../tags/tag178.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67030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71C02377-276C-49B2-BE23-0112E35E3E57}"/>
              </a:ext>
            </a:extLst>
          </p:cNvPr>
          <p:cNvSpPr/>
          <p:nvPr userDrawn="1"/>
        </p:nvSpPr>
        <p:spPr>
          <a:xfrm>
            <a:off x="1" y="2012954"/>
            <a:ext cx="6857999" cy="3669029"/>
          </a:xfrm>
          <a:prstGeom prst="rect">
            <a:avLst/>
          </a:prstGeom>
          <a:solidFill>
            <a:srgbClr val="000000">
              <a:alpha val="8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9344639"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D87D93D-C714-4725-B025-4299225DC2B6}"/>
              </a:ext>
            </a:extLst>
          </p:cNvPr>
          <p:cNvGraphicFramePr>
            <a:graphicFrameLocks noChangeAspect="1"/>
          </p:cNvGraphicFramePr>
          <p:nvPr userDrawn="1">
            <p:custDataLst>
              <p:tags r:id="rId2"/>
            </p:custDataLst>
            <p:extLst>
              <p:ext uri="{D42A27DB-BD31-4B8C-83A1-F6EECF244321}">
                <p14:modId xmlns:p14="http://schemas.microsoft.com/office/powerpoint/2010/main" val="226968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2C3C1B-97ED-4332-A5A5-D8777D22DF6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7" name="Graphic 6">
            <a:extLst>
              <a:ext uri="{FF2B5EF4-FFF2-40B4-BE49-F238E27FC236}">
                <a16:creationId xmlns:a16="http://schemas.microsoft.com/office/drawing/2014/main" id="{698C6BC4-A6AD-4F3A-9F47-7232D6F87DC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8FFC59-4FB4-4B70-B838-12419AB05FED}"/>
              </a:ext>
            </a:extLst>
          </p:cNvPr>
          <p:cNvGraphicFramePr>
            <a:graphicFrameLocks noChangeAspect="1"/>
          </p:cNvGraphicFramePr>
          <p:nvPr userDrawn="1">
            <p:custDataLst>
              <p:tags r:id="rId2"/>
            </p:custDataLst>
            <p:extLst>
              <p:ext uri="{D42A27DB-BD31-4B8C-83A1-F6EECF244321}">
                <p14:modId xmlns:p14="http://schemas.microsoft.com/office/powerpoint/2010/main" val="355872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A0C79A9-8B24-4E90-94DA-3721827E861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0" name="Picture 9">
            <a:extLst>
              <a:ext uri="{FF2B5EF4-FFF2-40B4-BE49-F238E27FC236}">
                <a16:creationId xmlns:a16="http://schemas.microsoft.com/office/drawing/2014/main" id="{BFD6D521-B04A-4327-9917-15294CBD0A4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8A062ED3-CE63-4951-B77B-D6727A904343}"/>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06CC76-5B60-4504-B5B4-A6E7565515F2}"/>
              </a:ext>
            </a:extLst>
          </p:cNvPr>
          <p:cNvGraphicFramePr>
            <a:graphicFrameLocks noChangeAspect="1"/>
          </p:cNvGraphicFramePr>
          <p:nvPr userDrawn="1">
            <p:custDataLst>
              <p:tags r:id="rId2"/>
            </p:custDataLst>
            <p:extLst>
              <p:ext uri="{D42A27DB-BD31-4B8C-83A1-F6EECF244321}">
                <p14:modId xmlns:p14="http://schemas.microsoft.com/office/powerpoint/2010/main" val="329243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74A32A-A11E-4C1E-BB2E-BDF9A64F68C2}"/>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Picture 5">
            <a:extLst>
              <a:ext uri="{FF2B5EF4-FFF2-40B4-BE49-F238E27FC236}">
                <a16:creationId xmlns:a16="http://schemas.microsoft.com/office/drawing/2014/main" id="{F215D737-B755-4BAC-BDAF-9CE57E2BA642}"/>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50B4677C-858F-4253-B838-82953794E3B1}"/>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2BB8E6-FE5C-4A11-B568-5106AB1D95D2}"/>
              </a:ext>
            </a:extLst>
          </p:cNvPr>
          <p:cNvGraphicFramePr>
            <a:graphicFrameLocks noChangeAspect="1"/>
          </p:cNvGraphicFramePr>
          <p:nvPr userDrawn="1">
            <p:custDataLst>
              <p:tags r:id="rId2"/>
            </p:custDataLst>
            <p:extLst>
              <p:ext uri="{D42A27DB-BD31-4B8C-83A1-F6EECF244321}">
                <p14:modId xmlns:p14="http://schemas.microsoft.com/office/powerpoint/2010/main" val="80503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76C202-CB1D-47F6-B275-E5090E426FB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41A4B94-F16E-4411-AC48-F0CB13975C73}"/>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4690E79D-E845-40C4-A9CA-3136812E6F8D}"/>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23DAC0-7996-4BC4-AC68-32094B8D57D4}"/>
              </a:ext>
            </a:extLst>
          </p:cNvPr>
          <p:cNvGraphicFramePr>
            <a:graphicFrameLocks noChangeAspect="1"/>
          </p:cNvGraphicFramePr>
          <p:nvPr userDrawn="1">
            <p:custDataLst>
              <p:tags r:id="rId2"/>
            </p:custDataLst>
            <p:extLst>
              <p:ext uri="{D42A27DB-BD31-4B8C-83A1-F6EECF244321}">
                <p14:modId xmlns:p14="http://schemas.microsoft.com/office/powerpoint/2010/main" val="352333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D4E9E5-5206-4BDC-AF17-C01CC3B6E27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13B60AA9-EB74-427C-B94F-DF072521C83C}"/>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67BEA811-F2A7-4EB0-A0E7-3C176C376D09}"/>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833617-B117-47E4-BC4D-F4D2841E19AC}"/>
              </a:ext>
            </a:extLst>
          </p:cNvPr>
          <p:cNvGraphicFramePr>
            <a:graphicFrameLocks noChangeAspect="1"/>
          </p:cNvGraphicFramePr>
          <p:nvPr userDrawn="1">
            <p:custDataLst>
              <p:tags r:id="rId2"/>
            </p:custDataLst>
            <p:extLst>
              <p:ext uri="{D42A27DB-BD31-4B8C-83A1-F6EECF244321}">
                <p14:modId xmlns:p14="http://schemas.microsoft.com/office/powerpoint/2010/main" val="31544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27BAEF-38ED-4E2D-A996-26AAF6901B3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B4BABAC7-7AD7-46CD-A995-2FFDCF58E519}"/>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7" name="Overlay">
            <a:extLst>
              <a:ext uri="{FF2B5EF4-FFF2-40B4-BE49-F238E27FC236}">
                <a16:creationId xmlns:a16="http://schemas.microsoft.com/office/drawing/2014/main" id="{31DF97A0-DFBC-4523-8AD8-F6D8CAA5D9B2}"/>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4" name="Graphic 13">
            <a:extLst>
              <a:ext uri="{FF2B5EF4-FFF2-40B4-BE49-F238E27FC236}">
                <a16:creationId xmlns:a16="http://schemas.microsoft.com/office/drawing/2014/main" id="{C27DDD3E-F58B-4C81-AEE6-D43844BAA4F0}"/>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37363" t="43832" r="15615" b="3675"/>
          <a:stretch/>
        </p:blipFill>
        <p:spPr>
          <a:xfrm rot="5400000">
            <a:off x="4698999" y="-635000"/>
            <a:ext cx="6858000" cy="8127999"/>
          </a:xfrm>
          <a:prstGeom prst="rect">
            <a:avLst/>
          </a:prstGeom>
        </p:spPr>
      </p:pic>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1FFFF9-1337-4FB6-9F03-026FC56BFA8E}"/>
              </a:ext>
            </a:extLst>
          </p:cNvPr>
          <p:cNvGraphicFramePr>
            <a:graphicFrameLocks noChangeAspect="1"/>
          </p:cNvGraphicFramePr>
          <p:nvPr userDrawn="1">
            <p:custDataLst>
              <p:tags r:id="rId2"/>
            </p:custDataLst>
            <p:extLst>
              <p:ext uri="{D42A27DB-BD31-4B8C-83A1-F6EECF244321}">
                <p14:modId xmlns:p14="http://schemas.microsoft.com/office/powerpoint/2010/main" val="185886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E7CFFD-F58A-4998-9400-1C37D0E4436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DC4A3C50-F147-4FC3-88FD-5757C6C5E5E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A63A41F3-AC7D-4F6E-8925-F5CF5136F1A2}"/>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1" name="Picture 10"/>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6572CD-0A1E-4E82-B768-0BEC5EB70FE8}"/>
              </a:ext>
            </a:extLst>
          </p:cNvPr>
          <p:cNvGraphicFramePr>
            <a:graphicFrameLocks noChangeAspect="1"/>
          </p:cNvGraphicFramePr>
          <p:nvPr userDrawn="1">
            <p:custDataLst>
              <p:tags r:id="rId2"/>
            </p:custDataLst>
            <p:extLst>
              <p:ext uri="{D42A27DB-BD31-4B8C-83A1-F6EECF244321}">
                <p14:modId xmlns:p14="http://schemas.microsoft.com/office/powerpoint/2010/main" val="212656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544CE0-6BAA-40A0-9EEB-7C197D01E8FF}"/>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7" name="Picture 16">
            <a:extLst>
              <a:ext uri="{FF2B5EF4-FFF2-40B4-BE49-F238E27FC236}">
                <a16:creationId xmlns:a16="http://schemas.microsoft.com/office/drawing/2014/main" id="{88A4953B-43EF-45A4-9AC8-3C089CC940E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CDFD3F24-2222-461A-BD08-5FFB73D2B92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3ED114-FC6E-4FB8-ADC6-D243F8AAD090}"/>
              </a:ext>
            </a:extLst>
          </p:cNvPr>
          <p:cNvGraphicFramePr>
            <a:graphicFrameLocks noChangeAspect="1"/>
          </p:cNvGraphicFramePr>
          <p:nvPr userDrawn="1">
            <p:custDataLst>
              <p:tags r:id="rId2"/>
            </p:custDataLst>
            <p:extLst>
              <p:ext uri="{D42A27DB-BD31-4B8C-83A1-F6EECF244321}">
                <p14:modId xmlns:p14="http://schemas.microsoft.com/office/powerpoint/2010/main" val="340800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77B0AB-6273-48C4-A585-6EC49B1B32F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A6064ED0-8779-45D3-A688-8FE8EAA6B6E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2F3D7F8D-668A-4B05-BC01-ED53104EA848}"/>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0D66CD-E5A3-41A7-9276-DBA0CEBA73AB}"/>
              </a:ext>
            </a:extLst>
          </p:cNvPr>
          <p:cNvGraphicFramePr>
            <a:graphicFrameLocks noChangeAspect="1"/>
          </p:cNvGraphicFramePr>
          <p:nvPr userDrawn="1">
            <p:custDataLst>
              <p:tags r:id="rId2"/>
            </p:custDataLst>
            <p:extLst>
              <p:ext uri="{D42A27DB-BD31-4B8C-83A1-F6EECF244321}">
                <p14:modId xmlns:p14="http://schemas.microsoft.com/office/powerpoint/2010/main" val="106883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78B473-51B4-49D5-B325-7C4FC18F727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a:extLst>
              <a:ext uri="{FF2B5EF4-FFF2-40B4-BE49-F238E27FC236}">
                <a16:creationId xmlns:a16="http://schemas.microsoft.com/office/drawing/2014/main" id="{0E01F911-70E8-453F-9FAF-C632F3A28897}"/>
              </a:ext>
            </a:extLst>
          </p:cNvPr>
          <p:cNvPicPr>
            <a:picLocks noChangeAspect="1"/>
          </p:cNvPicPr>
          <p:nvPr userDrawn="1"/>
        </p:nvPicPr>
        <p:blipFill>
          <a:blip r:embed="rId9"/>
          <a:srcRect r="66467"/>
          <a:stretch>
            <a:fillRect/>
          </a:stretch>
        </p:blipFill>
        <p:spPr>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p:spPr>
      </p:pic>
      <p:sp>
        <p:nvSpPr>
          <p:cNvPr id="18" name="Overlay">
            <a:extLst>
              <a:ext uri="{FF2B5EF4-FFF2-40B4-BE49-F238E27FC236}">
                <a16:creationId xmlns:a16="http://schemas.microsoft.com/office/drawing/2014/main" id="{A07F78D3-D9F5-442F-86CD-171E6D887FD5}"/>
              </a:ext>
            </a:extLst>
          </p:cNvPr>
          <p:cNvSpPr/>
          <p:nvPr userDrawn="1">
            <p:custDataLst>
              <p:tags r:id="rId4"/>
            </p:custDataLst>
          </p:nvPr>
        </p:nvSpPr>
        <p:spPr>
          <a:xfrm>
            <a:off x="0" y="0"/>
            <a:ext cx="4088312" cy="6858000"/>
          </a:xfrm>
          <a:prstGeom prst="homePlate">
            <a:avLst>
              <a:gd name="adj" fmla="val 19868"/>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10">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 name="Rectangle 1" hidden="1">
            <a:extLst>
              <a:ext uri="{FF2B5EF4-FFF2-40B4-BE49-F238E27FC236}">
                <a16:creationId xmlns:a16="http://schemas.microsoft.com/office/drawing/2014/main" id="{23740FA9-ABDA-432B-A342-00BDBAE2787F}"/>
              </a:ext>
            </a:extLst>
          </p:cNvPr>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Graphic 10">
            <a:extLst>
              <a:ext uri="{FF2B5EF4-FFF2-40B4-BE49-F238E27FC236}">
                <a16:creationId xmlns:a16="http://schemas.microsoft.com/office/drawing/2014/main" id="{F2D4B6E2-CFC4-4A82-AF43-3F0E4150C2DE}"/>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37363" t="43832" r="15615"/>
          <a:stretch/>
        </p:blipFill>
        <p:spPr>
          <a:xfrm rot="5400000">
            <a:off x="4414443" y="-919556"/>
            <a:ext cx="6858000" cy="8697111"/>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288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8B418CF-D336-4274-B0FF-6B18F96DAE92}"/>
              </a:ext>
            </a:extLst>
          </p:cNvPr>
          <p:cNvSpPr/>
          <p:nvPr userDrawn="1"/>
        </p:nvSpPr>
        <p:spPr>
          <a:xfrm>
            <a:off x="1" y="0"/>
            <a:ext cx="12191999" cy="5681983"/>
          </a:xfrm>
          <a:prstGeom prst="rect">
            <a:avLst/>
          </a:prstGeom>
          <a:solidFill>
            <a:srgbClr val="000000">
              <a:alpha val="83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0675153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04988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240552D-66C8-4BB9-AAC1-3A66AFD0532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20C1C6F4-D232-4283-8F7F-BA39C6F0D60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E3E07FAF-C072-4B84-A872-6D3ADF6B4A71}"/>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E449AA-AD7A-4CFE-B763-1DD2C9C93934}"/>
              </a:ext>
            </a:extLst>
          </p:cNvPr>
          <p:cNvGraphicFramePr>
            <a:graphicFrameLocks noChangeAspect="1"/>
          </p:cNvGraphicFramePr>
          <p:nvPr userDrawn="1">
            <p:custDataLst>
              <p:tags r:id="rId2"/>
            </p:custDataLst>
            <p:extLst>
              <p:ext uri="{D42A27DB-BD31-4B8C-83A1-F6EECF244321}">
                <p14:modId xmlns:p14="http://schemas.microsoft.com/office/powerpoint/2010/main" val="263957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CBE440-6ADA-4D74-8FB4-F50B047F8D9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Graphic 9">
            <a:extLst>
              <a:ext uri="{FF2B5EF4-FFF2-40B4-BE49-F238E27FC236}">
                <a16:creationId xmlns:a16="http://schemas.microsoft.com/office/drawing/2014/main" id="{4937F524-AF21-4775-8BF6-5C8731ECD778}"/>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37363" t="43832" r="15615" b="7858"/>
          <a:stretch/>
        </p:blipFill>
        <p:spPr>
          <a:xfrm rot="5400000">
            <a:off x="5022849" y="-311150"/>
            <a:ext cx="6858000" cy="7480299"/>
          </a:xfrm>
          <a:prstGeom prst="rect">
            <a:avLst/>
          </a:prstGeom>
        </p:spPr>
      </p:pic>
      <p:pic>
        <p:nvPicPr>
          <p:cNvPr id="12" name="Picture 11">
            <a:extLst>
              <a:ext uri="{FF2B5EF4-FFF2-40B4-BE49-F238E27FC236}">
                <a16:creationId xmlns:a16="http://schemas.microsoft.com/office/drawing/2014/main" id="{CEFBC1DB-9E37-4F7D-9184-9F73751A449E}"/>
              </a:ext>
            </a:extLst>
          </p:cNvPr>
          <p:cNvPicPr>
            <a:picLocks noChangeAspect="1"/>
          </p:cNvPicPr>
          <p:nvPr userDrawn="1"/>
        </p:nvPicPr>
        <p:blipFill>
          <a:blip r:embed="rId10"/>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5" name="Overlay">
            <a:extLst>
              <a:ext uri="{FF2B5EF4-FFF2-40B4-BE49-F238E27FC236}">
                <a16:creationId xmlns:a16="http://schemas.microsoft.com/office/drawing/2014/main" id="{675A464E-B43F-476C-84E7-934A3F229950}"/>
              </a:ext>
            </a:extLst>
          </p:cNvPr>
          <p:cNvSpPr/>
          <p:nvPr userDrawn="1">
            <p:custDataLst>
              <p:tags r:id="rId4"/>
            </p:custDataLst>
          </p:nvPr>
        </p:nvSpPr>
        <p:spPr>
          <a:xfrm>
            <a:off x="1" y="0"/>
            <a:ext cx="5426920" cy="6858000"/>
          </a:xfrm>
          <a:prstGeom prst="homePlate">
            <a:avLst>
              <a:gd name="adj" fmla="val 13259"/>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11">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B83252-F806-4C56-8E44-34D6F2F6442A}"/>
              </a:ext>
            </a:extLst>
          </p:cNvPr>
          <p:cNvGraphicFramePr>
            <a:graphicFrameLocks noChangeAspect="1"/>
          </p:cNvGraphicFramePr>
          <p:nvPr userDrawn="1">
            <p:custDataLst>
              <p:tags r:id="rId2"/>
            </p:custDataLst>
            <p:extLst>
              <p:ext uri="{D42A27DB-BD31-4B8C-83A1-F6EECF244321}">
                <p14:modId xmlns:p14="http://schemas.microsoft.com/office/powerpoint/2010/main" val="350126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FBFCC6-93D9-4E8D-ADCE-CC2B604FE3A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77FA41CD-5FFD-46A5-8B8F-7034AD01FC0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B8DD737A-8297-4BFF-BCFC-2F43BEEBAF1F}"/>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E09274-F7D2-4D93-A116-CBBBDD802CF5}"/>
              </a:ext>
            </a:extLst>
          </p:cNvPr>
          <p:cNvGraphicFramePr>
            <a:graphicFrameLocks noChangeAspect="1"/>
          </p:cNvGraphicFramePr>
          <p:nvPr userDrawn="1">
            <p:custDataLst>
              <p:tags r:id="rId2"/>
            </p:custDataLst>
            <p:extLst>
              <p:ext uri="{D42A27DB-BD31-4B8C-83A1-F6EECF244321}">
                <p14:modId xmlns:p14="http://schemas.microsoft.com/office/powerpoint/2010/main" val="4040835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25E3AD-3A07-40DC-A34E-F777C30C825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C1539C56-5E4A-4FC1-A8A6-161B620ACD8F}"/>
              </a:ext>
            </a:extLst>
          </p:cNvPr>
          <p:cNvPicPr>
            <a:picLocks noChangeAspect="1"/>
          </p:cNvPicPr>
          <p:nvPr userDrawn="1"/>
        </p:nvPicPr>
        <p:blipFill>
          <a:blip r:embed="rId8"/>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15" name="Overlay">
            <a:extLst>
              <a:ext uri="{FF2B5EF4-FFF2-40B4-BE49-F238E27FC236}">
                <a16:creationId xmlns:a16="http://schemas.microsoft.com/office/drawing/2014/main" id="{650E545F-78F9-4EDF-B4EB-3A3F22CB9A85}"/>
              </a:ext>
            </a:extLst>
          </p:cNvPr>
          <p:cNvSpPr/>
          <p:nvPr userDrawn="1">
            <p:custDataLst>
              <p:tags r:id="rId4"/>
            </p:custDataLst>
          </p:nvPr>
        </p:nvSpPr>
        <p:spPr>
          <a:xfrm>
            <a:off x="0" y="0"/>
            <a:ext cx="6363546" cy="6858000"/>
          </a:xfrm>
          <a:prstGeom prst="homePlate">
            <a:avLst>
              <a:gd name="adj" fmla="val 13478"/>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10947-EF57-481A-8934-D17DA9F6CB5F}"/>
              </a:ext>
            </a:extLst>
          </p:cNvPr>
          <p:cNvGraphicFramePr>
            <a:graphicFrameLocks noChangeAspect="1"/>
          </p:cNvGraphicFramePr>
          <p:nvPr userDrawn="1">
            <p:custDataLst>
              <p:tags r:id="rId2"/>
            </p:custDataLst>
            <p:extLst>
              <p:ext uri="{D42A27DB-BD31-4B8C-83A1-F6EECF244321}">
                <p14:modId xmlns:p14="http://schemas.microsoft.com/office/powerpoint/2010/main" val="428804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59D4E7-7952-4A05-A95C-DED7E87EAF1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81F65FA2-1964-4072-8770-C90C3230A209}"/>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7" name="Overlay">
            <a:extLst>
              <a:ext uri="{FF2B5EF4-FFF2-40B4-BE49-F238E27FC236}">
                <a16:creationId xmlns:a16="http://schemas.microsoft.com/office/drawing/2014/main" id="{759DB691-E0DC-4DB6-9C18-F924FC5B9EA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683A73-7FF5-4721-AA82-2228E011ADF3}"/>
              </a:ext>
            </a:extLst>
          </p:cNvPr>
          <p:cNvGraphicFramePr>
            <a:graphicFrameLocks noChangeAspect="1"/>
          </p:cNvGraphicFramePr>
          <p:nvPr userDrawn="1">
            <p:custDataLst>
              <p:tags r:id="rId2"/>
            </p:custDataLst>
            <p:extLst>
              <p:ext uri="{D42A27DB-BD31-4B8C-83A1-F6EECF244321}">
                <p14:modId xmlns:p14="http://schemas.microsoft.com/office/powerpoint/2010/main" val="379312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6915D5-8560-48B2-A2F0-605830AE6FC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12">
            <a:extLst>
              <a:ext uri="{FF2B5EF4-FFF2-40B4-BE49-F238E27FC236}">
                <a16:creationId xmlns:a16="http://schemas.microsoft.com/office/drawing/2014/main" id="{61C160A4-3562-4A13-9DED-94A0DDAC9D11}"/>
              </a:ext>
            </a:extLst>
          </p:cNvPr>
          <p:cNvPicPr>
            <a:picLocks noChangeAspect="1"/>
          </p:cNvPicPr>
          <p:nvPr userDrawn="1"/>
        </p:nvPicPr>
        <p:blipFill>
          <a:blip r:embed="rId9"/>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14" name="Overlay">
            <a:extLst>
              <a:ext uri="{FF2B5EF4-FFF2-40B4-BE49-F238E27FC236}">
                <a16:creationId xmlns:a16="http://schemas.microsoft.com/office/drawing/2014/main" id="{1E84B03E-98BB-4429-9F61-F5EA8DB7D68E}"/>
              </a:ext>
            </a:extLst>
          </p:cNvPr>
          <p:cNvSpPr/>
          <p:nvPr userDrawn="1">
            <p:custDataLst>
              <p:tags r:id="rId4"/>
            </p:custDataLst>
          </p:nvPr>
        </p:nvSpPr>
        <p:spPr>
          <a:xfrm>
            <a:off x="1" y="0"/>
            <a:ext cx="8446239" cy="6858000"/>
          </a:xfrm>
          <a:prstGeom prst="homePlate">
            <a:avLst>
              <a:gd name="adj" fmla="val 11481"/>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882FEA-1ADA-4073-A3E1-34E87033E61F}"/>
              </a:ext>
            </a:extLst>
          </p:cNvPr>
          <p:cNvGraphicFramePr>
            <a:graphicFrameLocks noChangeAspect="1"/>
          </p:cNvGraphicFramePr>
          <p:nvPr userDrawn="1">
            <p:custDataLst>
              <p:tags r:id="rId2"/>
            </p:custDataLst>
            <p:extLst>
              <p:ext uri="{D42A27DB-BD31-4B8C-83A1-F6EECF244321}">
                <p14:modId xmlns:p14="http://schemas.microsoft.com/office/powerpoint/2010/main" val="278401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E80DB1-4664-4C76-B667-D6D26D857B3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a:extLst>
              <a:ext uri="{FF2B5EF4-FFF2-40B4-BE49-F238E27FC236}">
                <a16:creationId xmlns:a16="http://schemas.microsoft.com/office/drawing/2014/main" id="{5CF255C7-158A-4D96-BF96-F7CE7E4AB312}"/>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C94C96CA-B920-4DC8-A86B-8BF2F771570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EE3A5B-686A-41BD-B1BF-57EB181B77D8}"/>
              </a:ext>
            </a:extLst>
          </p:cNvPr>
          <p:cNvGraphicFramePr>
            <a:graphicFrameLocks noChangeAspect="1"/>
          </p:cNvGraphicFramePr>
          <p:nvPr userDrawn="1">
            <p:custDataLst>
              <p:tags r:id="rId2"/>
            </p:custDataLst>
            <p:extLst>
              <p:ext uri="{D42A27DB-BD31-4B8C-83A1-F6EECF244321}">
                <p14:modId xmlns:p14="http://schemas.microsoft.com/office/powerpoint/2010/main" val="289085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0CB8E3-58FD-4903-9E28-D14FC62368C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8" name="Graphic 7">
            <a:extLst>
              <a:ext uri="{FF2B5EF4-FFF2-40B4-BE49-F238E27FC236}">
                <a16:creationId xmlns:a16="http://schemas.microsoft.com/office/drawing/2014/main" id="{D56D5615-AB43-4269-AE79-B27597BA81AF}"/>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936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96A90C3-CE5D-44AA-A5C5-DC2F94A0F2F0}"/>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A4FD99CB-8535-47D0-BCF0-7D5CDCBA4D4B}"/>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5538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4" name="Rectangle 13">
            <a:extLst>
              <a:ext uri="{FF2B5EF4-FFF2-40B4-BE49-F238E27FC236}">
                <a16:creationId xmlns:a16="http://schemas.microsoft.com/office/drawing/2014/main" id="{DC814D9F-016B-45D9-BB90-91E8B3F44D81}"/>
              </a:ext>
            </a:extLst>
          </p:cNvPr>
          <p:cNvSpPr/>
          <p:nvPr userDrawn="1"/>
        </p:nvSpPr>
        <p:spPr>
          <a:xfrm>
            <a:off x="0" y="1482789"/>
            <a:ext cx="7459580" cy="4678299"/>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549220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9010650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069A88-F35A-4BF2-9016-8B72C443D124}"/>
              </a:ext>
            </a:extLst>
          </p:cNvPr>
          <p:cNvGraphicFramePr>
            <a:graphicFrameLocks noChangeAspect="1"/>
          </p:cNvGraphicFramePr>
          <p:nvPr userDrawn="1">
            <p:custDataLst>
              <p:tags r:id="rId2"/>
            </p:custDataLst>
            <p:extLst>
              <p:ext uri="{D42A27DB-BD31-4B8C-83A1-F6EECF244321}">
                <p14:modId xmlns:p14="http://schemas.microsoft.com/office/powerpoint/2010/main" val="331643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92C3FD3E-9FAB-4C73-91B4-A881881A9F57}"/>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pic>
        <p:nvPicPr>
          <p:cNvPr id="6" name="Picture 5">
            <a:extLst>
              <a:ext uri="{FF2B5EF4-FFF2-40B4-BE49-F238E27FC236}">
                <a16:creationId xmlns:a16="http://schemas.microsoft.com/office/drawing/2014/main" id="{FF3DBB54-6E3D-4C6F-BE7C-C3189EB235E0}"/>
              </a:ext>
            </a:extLst>
          </p:cNvPr>
          <p:cNvPicPr>
            <a:picLocks noChangeAspect="1"/>
          </p:cNvPicPr>
          <p:nvPr userDrawn="1"/>
        </p:nvPicPr>
        <p:blipFill>
          <a:blip r:embed="rId3"/>
          <a:stretch>
            <a:fillRect/>
          </a:stretch>
        </p:blipFill>
        <p:spPr>
          <a:xfrm>
            <a:off x="-2" y="0"/>
            <a:ext cx="12192000" cy="6858000"/>
          </a:xfrm>
          <a:prstGeom prst="rect">
            <a:avLst/>
          </a:prstGeom>
        </p:spPr>
      </p:pic>
      <p:sp>
        <p:nvSpPr>
          <p:cNvPr id="10" name="Overlay">
            <a:extLst>
              <a:ext uri="{FF2B5EF4-FFF2-40B4-BE49-F238E27FC236}">
                <a16:creationId xmlns:a16="http://schemas.microsoft.com/office/drawing/2014/main" id="{BA31C702-0D52-4944-B362-3A77A304A37B}"/>
              </a:ext>
            </a:extLst>
          </p:cNvPr>
          <p:cNvSpPr/>
          <p:nvPr userDrawn="1">
            <p:custDataLst>
              <p:tags r:id="rId1"/>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977B4A-8430-4CA8-88F2-26FB1E386D19}"/>
              </a:ext>
            </a:extLst>
          </p:cNvPr>
          <p:cNvGraphicFramePr>
            <a:graphicFrameLocks noChangeAspect="1"/>
          </p:cNvGraphicFramePr>
          <p:nvPr userDrawn="1">
            <p:custDataLst>
              <p:tags r:id="rId2"/>
            </p:custDataLst>
            <p:extLst>
              <p:ext uri="{D42A27DB-BD31-4B8C-83A1-F6EECF244321}">
                <p14:modId xmlns:p14="http://schemas.microsoft.com/office/powerpoint/2010/main" val="33829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437EC905-344F-4CF8-AAA5-B4E37FB62431}"/>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36FE0BF0-6D1D-4FB0-B7FD-3FD6265C5D18}"/>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8D10DCD-B12E-43FF-9681-9F850DFE75BF}"/>
              </a:ext>
            </a:extLst>
          </p:cNvPr>
          <p:cNvSpPr/>
          <p:nvPr userDrawn="1"/>
        </p:nvSpPr>
        <p:spPr>
          <a:xfrm>
            <a:off x="-1" y="0"/>
            <a:ext cx="12192000" cy="6858000"/>
          </a:xfrm>
          <a:prstGeom prst="rect">
            <a:avLst/>
          </a:prstGeom>
          <a:solidFill>
            <a:srgbClr val="000000">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7AF55CC9-F084-4EDF-BAB8-76C2EFCBDB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61808" y="2775944"/>
            <a:ext cx="5041845" cy="2235649"/>
          </a:xfrm>
          <a:prstGeom prst="rect">
            <a:avLst/>
          </a:prstGeom>
        </p:spPr>
      </p:pic>
      <p:sp>
        <p:nvSpPr>
          <p:cNvPr id="13" name="Rectangle 12">
            <a:extLst>
              <a:ext uri="{FF2B5EF4-FFF2-40B4-BE49-F238E27FC236}">
                <a16:creationId xmlns:a16="http://schemas.microsoft.com/office/drawing/2014/main" id="{45A3192E-5E01-4AA8-B2DD-60DA744E7BAC}"/>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61056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7B39A0A3-F4B3-4EC4-B252-E6AE427AB3D0}"/>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8" name="Rectangle 7">
            <a:extLst>
              <a:ext uri="{FF2B5EF4-FFF2-40B4-BE49-F238E27FC236}">
                <a16:creationId xmlns:a16="http://schemas.microsoft.com/office/drawing/2014/main" id="{46AF1CEC-60FF-4796-886B-67ADF2A1AA8E}"/>
              </a:ext>
            </a:extLst>
          </p:cNvPr>
          <p:cNvSpPr/>
          <p:nvPr userDrawn="1"/>
        </p:nvSpPr>
        <p:spPr>
          <a:xfrm>
            <a:off x="-1" y="-13587"/>
            <a:ext cx="12208043" cy="6871587"/>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9" name="Picture 8" descr="Text&#10;&#10;Description automatically generated">
            <a:extLst>
              <a:ext uri="{FF2B5EF4-FFF2-40B4-BE49-F238E27FC236}">
                <a16:creationId xmlns:a16="http://schemas.microsoft.com/office/drawing/2014/main" id="{412E933E-ADAA-4BE1-A903-CA4947028C44}"/>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53262" y="3003326"/>
            <a:ext cx="5041845" cy="2235649"/>
          </a:xfrm>
          <a:prstGeom prst="rect">
            <a:avLst/>
          </a:prstGeom>
        </p:spPr>
      </p:pic>
    </p:spTree>
    <p:extLst>
      <p:ext uri="{BB962C8B-B14F-4D97-AF65-F5344CB8AC3E}">
        <p14:creationId xmlns:p14="http://schemas.microsoft.com/office/powerpoint/2010/main" val="14895614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267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a16="http://schemas.microsoft.com/office/drawing/2014/main" id="{F8AD192A-B366-4929-9E83-CC82FE747446}"/>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59920E68-2A7F-4959-85AC-BBC959263806}"/>
              </a:ext>
            </a:extLst>
          </p:cNvPr>
          <p:cNvSpPr/>
          <p:nvPr userDrawn="1"/>
        </p:nvSpPr>
        <p:spPr>
          <a:xfrm>
            <a:off x="1" y="2012954"/>
            <a:ext cx="6857999" cy="3669029"/>
          </a:xfrm>
          <a:prstGeom prst="rect">
            <a:avLst/>
          </a:prstGeom>
          <a:solidFill>
            <a:srgbClr val="000000">
              <a:alpha val="8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9" name="Picture 18" descr="Text&#10;&#10;Description automatically generated">
            <a:extLst>
              <a:ext uri="{FF2B5EF4-FFF2-40B4-BE49-F238E27FC236}">
                <a16:creationId xmlns:a16="http://schemas.microsoft.com/office/drawing/2014/main" id="{61ED11D6-C6AE-4BBF-99D1-426ACB58F6CB}"/>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23" name="Rectangle 22">
            <a:extLst>
              <a:ext uri="{FF2B5EF4-FFF2-40B4-BE49-F238E27FC236}">
                <a16:creationId xmlns:a16="http://schemas.microsoft.com/office/drawing/2014/main" id="{B9F768F7-874F-4DFF-B14F-13D7416C9DEE}"/>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4" name="Title 1">
            <a:extLst>
              <a:ext uri="{FF2B5EF4-FFF2-40B4-BE49-F238E27FC236}">
                <a16:creationId xmlns:a16="http://schemas.microsoft.com/office/drawing/2014/main" id="{3CD14146-E533-4542-8F01-155821D09F11}"/>
              </a:ext>
            </a:extLst>
          </p:cNvPr>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5" name="Text Placeholder 6">
            <a:extLst>
              <a:ext uri="{FF2B5EF4-FFF2-40B4-BE49-F238E27FC236}">
                <a16:creationId xmlns:a16="http://schemas.microsoft.com/office/drawing/2014/main" id="{563A8A67-F252-4EB9-94B8-E60211B2ED88}"/>
              </a:ext>
            </a:extLst>
          </p:cNvPr>
          <p:cNvSpPr>
            <a:spLocks noGrp="1"/>
          </p:cNvSpPr>
          <p:nvPr>
            <p:ph type="body" sz="quarter" idx="12" hasCustomPrompt="1"/>
          </p:nvPr>
        </p:nvSpPr>
        <p:spPr bwMode="black">
          <a:xfrm>
            <a:off x="9344639"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43586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8B418CF-D336-4274-B0FF-6B18F96DAE92}"/>
              </a:ext>
            </a:extLst>
          </p:cNvPr>
          <p:cNvSpPr/>
          <p:nvPr userDrawn="1"/>
        </p:nvSpPr>
        <p:spPr>
          <a:xfrm>
            <a:off x="1" y="0"/>
            <a:ext cx="12191999" cy="5681983"/>
          </a:xfrm>
          <a:prstGeom prst="rect">
            <a:avLst/>
          </a:prstGeom>
          <a:solidFill>
            <a:srgbClr val="000000">
              <a:alpha val="83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19359235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5991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4" name="Rectangle 13">
            <a:extLst>
              <a:ext uri="{FF2B5EF4-FFF2-40B4-BE49-F238E27FC236}">
                <a16:creationId xmlns:a16="http://schemas.microsoft.com/office/drawing/2014/main" id="{DC814D9F-016B-45D9-BB90-91E8B3F44D81}"/>
              </a:ext>
            </a:extLst>
          </p:cNvPr>
          <p:cNvSpPr/>
          <p:nvPr userDrawn="1"/>
        </p:nvSpPr>
        <p:spPr>
          <a:xfrm>
            <a:off x="0" y="1482789"/>
            <a:ext cx="7459580" cy="4678299"/>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549220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4091168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3102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3" name="Rectangle 12">
            <a:extLst>
              <a:ext uri="{FF2B5EF4-FFF2-40B4-BE49-F238E27FC236}">
                <a16:creationId xmlns:a16="http://schemas.microsoft.com/office/drawing/2014/main" id="{0E8C20C0-AEFC-41EA-B163-CB841ECBE913}"/>
              </a:ext>
            </a:extLst>
          </p:cNvPr>
          <p:cNvSpPr/>
          <p:nvPr userDrawn="1"/>
        </p:nvSpPr>
        <p:spPr>
          <a:xfrm>
            <a:off x="-16043" y="0"/>
            <a:ext cx="12208043" cy="5529943"/>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100528"/>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1974913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25740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3" name="Rectangle 12">
            <a:extLst>
              <a:ext uri="{FF2B5EF4-FFF2-40B4-BE49-F238E27FC236}">
                <a16:creationId xmlns:a16="http://schemas.microsoft.com/office/drawing/2014/main" id="{0E8C20C0-AEFC-41EA-B163-CB841ECBE913}"/>
              </a:ext>
            </a:extLst>
          </p:cNvPr>
          <p:cNvSpPr/>
          <p:nvPr userDrawn="1"/>
        </p:nvSpPr>
        <p:spPr>
          <a:xfrm>
            <a:off x="-16043" y="0"/>
            <a:ext cx="12208043" cy="5529943"/>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100528"/>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40264125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34307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a:extLst>
              <a:ext uri="{FF2B5EF4-FFF2-40B4-BE49-F238E27FC236}">
                <a16:creationId xmlns:a16="http://schemas.microsoft.com/office/drawing/2014/main" id="{AFFEB9A6-4F0E-4AB7-B6C6-B3884B163F6C}"/>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5923"/>
            <a:ext cx="12192000" cy="4152900"/>
          </a:xfrm>
          <a:prstGeom prst="rect">
            <a:avLst/>
          </a:prstGeom>
        </p:spPr>
      </p:pic>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1</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9819407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9395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719C14DC-995F-43D8-964D-BD81E1911DDA}"/>
              </a:ext>
            </a:extLst>
          </p:cNvPr>
          <p:cNvPicPr>
            <a:picLocks noChangeAspect="1"/>
          </p:cNvPicPr>
          <p:nvPr userDrawn="1"/>
        </p:nvPicPr>
        <p:blipFill>
          <a:blip r:embed="rId7"/>
          <a:stretch>
            <a:fillRect/>
          </a:stretch>
        </p:blipFill>
        <p:spPr>
          <a:xfrm>
            <a:off x="0" y="17249"/>
            <a:ext cx="12192000" cy="4160520"/>
          </a:xfrm>
          <a:prstGeom prst="rect">
            <a:avLst/>
          </a:prstGeom>
        </p:spPr>
      </p:pic>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2</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6719153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574F8-F3D9-4C21-9ACE-187BFA459F32}"/>
              </a:ext>
            </a:extLst>
          </p:cNvPr>
          <p:cNvGraphicFramePr>
            <a:graphicFrameLocks noChangeAspect="1"/>
          </p:cNvGraphicFramePr>
          <p:nvPr userDrawn="1">
            <p:custDataLst>
              <p:tags r:id="rId2"/>
            </p:custDataLst>
            <p:extLst>
              <p:ext uri="{D42A27DB-BD31-4B8C-83A1-F6EECF244321}">
                <p14:modId xmlns:p14="http://schemas.microsoft.com/office/powerpoint/2010/main" val="287986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D17AC3-AC0C-4396-BC13-E2EC7DD532A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574F8-F3D9-4C21-9ACE-187BFA459F32}"/>
              </a:ext>
            </a:extLst>
          </p:cNvPr>
          <p:cNvGraphicFramePr>
            <a:graphicFrameLocks noChangeAspect="1"/>
          </p:cNvGraphicFramePr>
          <p:nvPr userDrawn="1">
            <p:custDataLst>
              <p:tags r:id="rId2"/>
            </p:custDataLst>
            <p:extLst>
              <p:ext uri="{D42A27DB-BD31-4B8C-83A1-F6EECF244321}">
                <p14:modId xmlns:p14="http://schemas.microsoft.com/office/powerpoint/2010/main" val="228392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0E574F8-F3D9-4C21-9ACE-187BFA459F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D17AC3-AC0C-4396-BC13-E2EC7DD532A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Graphic 5">
            <a:extLst>
              <a:ext uri="{FF2B5EF4-FFF2-40B4-BE49-F238E27FC236}">
                <a16:creationId xmlns:a16="http://schemas.microsoft.com/office/drawing/2014/main" id="{E6B818F7-67AA-4DE3-A569-6E37FE512720}"/>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5566559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880DCD-F53B-4363-AA03-C9E003376135}"/>
              </a:ext>
            </a:extLst>
          </p:cNvPr>
          <p:cNvGraphicFramePr>
            <a:graphicFrameLocks noChangeAspect="1"/>
          </p:cNvGraphicFramePr>
          <p:nvPr userDrawn="1">
            <p:custDataLst>
              <p:tags r:id="rId2"/>
            </p:custDataLst>
            <p:extLst>
              <p:ext uri="{D42A27DB-BD31-4B8C-83A1-F6EECF244321}">
                <p14:modId xmlns:p14="http://schemas.microsoft.com/office/powerpoint/2010/main" val="244971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9A108-16D7-4964-9F47-EE01131AD76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Graphic 4">
            <a:extLst>
              <a:ext uri="{FF2B5EF4-FFF2-40B4-BE49-F238E27FC236}">
                <a16:creationId xmlns:a16="http://schemas.microsoft.com/office/drawing/2014/main" id="{6CB34635-C3C2-4E50-94B2-34C997880D25}"/>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chemeClr val="tx2"/>
                </a:solidFill>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solidFill>
                  <a:schemeClr val="tx2"/>
                </a:solidFill>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AA432F-A32D-4E94-8F71-73DECCE1F6C7}"/>
              </a:ext>
            </a:extLst>
          </p:cNvPr>
          <p:cNvGraphicFramePr>
            <a:graphicFrameLocks noChangeAspect="1"/>
          </p:cNvGraphicFramePr>
          <p:nvPr userDrawn="1">
            <p:custDataLst>
              <p:tags r:id="rId2"/>
            </p:custDataLst>
            <p:extLst>
              <p:ext uri="{D42A27DB-BD31-4B8C-83A1-F6EECF244321}">
                <p14:modId xmlns:p14="http://schemas.microsoft.com/office/powerpoint/2010/main" val="124355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3F3B2E-258C-48BD-A20E-707C03BE909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pic>
        <p:nvPicPr>
          <p:cNvPr id="10" name="Graphic 9">
            <a:extLst>
              <a:ext uri="{FF2B5EF4-FFF2-40B4-BE49-F238E27FC236}">
                <a16:creationId xmlns:a16="http://schemas.microsoft.com/office/drawing/2014/main" id="{AD63DB26-4C92-4D68-94D1-9B600529619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01C1F2-5C7A-4457-926E-4C4F6E7631D2}"/>
              </a:ext>
            </a:extLst>
          </p:cNvPr>
          <p:cNvGraphicFramePr>
            <a:graphicFrameLocks noChangeAspect="1"/>
          </p:cNvGraphicFramePr>
          <p:nvPr userDrawn="1">
            <p:custDataLst>
              <p:tags r:id="rId2"/>
            </p:custDataLst>
            <p:extLst>
              <p:ext uri="{D42A27DB-BD31-4B8C-83A1-F6EECF244321}">
                <p14:modId xmlns:p14="http://schemas.microsoft.com/office/powerpoint/2010/main" val="141689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F1378B7-6FDD-420B-807D-589A75A983F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Graphic 6">
            <a:extLst>
              <a:ext uri="{FF2B5EF4-FFF2-40B4-BE49-F238E27FC236}">
                <a16:creationId xmlns:a16="http://schemas.microsoft.com/office/drawing/2014/main" id="{DCAC2CC1-626B-4C82-B9CD-3A288DECD085}"/>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0B2BB5-FA78-4AC3-A5EC-04D91C99E18D}"/>
              </a:ext>
            </a:extLst>
          </p:cNvPr>
          <p:cNvGraphicFramePr>
            <a:graphicFrameLocks noChangeAspect="1"/>
          </p:cNvGraphicFramePr>
          <p:nvPr userDrawn="1">
            <p:custDataLst>
              <p:tags r:id="rId2"/>
            </p:custDataLst>
            <p:extLst>
              <p:ext uri="{D42A27DB-BD31-4B8C-83A1-F6EECF244321}">
                <p14:modId xmlns:p14="http://schemas.microsoft.com/office/powerpoint/2010/main" val="402233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F0EE5F-63BC-4260-B167-7A49DA2C36F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Graphic 4">
            <a:extLst>
              <a:ext uri="{FF2B5EF4-FFF2-40B4-BE49-F238E27FC236}">
                <a16:creationId xmlns:a16="http://schemas.microsoft.com/office/drawing/2014/main" id="{5F7D9331-EFF6-4D29-923A-AA79C62FA938}"/>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831DE2-8CFA-4099-B211-EC504319C905}"/>
              </a:ext>
            </a:extLst>
          </p:cNvPr>
          <p:cNvGraphicFramePr>
            <a:graphicFrameLocks noChangeAspect="1"/>
          </p:cNvGraphicFramePr>
          <p:nvPr userDrawn="1">
            <p:custDataLst>
              <p:tags r:id="rId2"/>
            </p:custDataLst>
            <p:extLst>
              <p:ext uri="{D42A27DB-BD31-4B8C-83A1-F6EECF244321}">
                <p14:modId xmlns:p14="http://schemas.microsoft.com/office/powerpoint/2010/main" val="53523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481D90-2F73-43D5-8ACC-3DDACFA64C95}"/>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3661E428-55DE-4BB2-B03D-F6D5B0DD184F}"/>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DA23AC88-CE5A-4884-AFC2-163B3DAD285C}"/>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D10983-72EA-4433-91AF-69E7C586FBEC}"/>
              </a:ext>
            </a:extLst>
          </p:cNvPr>
          <p:cNvGraphicFramePr>
            <a:graphicFrameLocks noChangeAspect="1"/>
          </p:cNvGraphicFramePr>
          <p:nvPr userDrawn="1">
            <p:custDataLst>
              <p:tags r:id="rId2"/>
            </p:custDataLst>
            <p:extLst>
              <p:ext uri="{D42A27DB-BD31-4B8C-83A1-F6EECF244321}">
                <p14:modId xmlns:p14="http://schemas.microsoft.com/office/powerpoint/2010/main" val="3245427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BAAAAE-93FE-4F47-828F-91BA29824D3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89FFA903-0763-442E-B86D-97457370037E}"/>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3B0B1E50-479F-4825-BA7C-6D22BBE4270C}"/>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965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a:extLst>
              <a:ext uri="{FF2B5EF4-FFF2-40B4-BE49-F238E27FC236}">
                <a16:creationId xmlns:a16="http://schemas.microsoft.com/office/drawing/2014/main" id="{AFFEB9A6-4F0E-4AB7-B6C6-B3884B163F6C}"/>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5923"/>
            <a:ext cx="12192000" cy="4152900"/>
          </a:xfrm>
          <a:prstGeom prst="rect">
            <a:avLst/>
          </a:prstGeom>
        </p:spPr>
      </p:pic>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1</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021522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CA66B5-3225-4D14-A1D6-6009EB57FE11}"/>
              </a:ext>
            </a:extLst>
          </p:cNvPr>
          <p:cNvGraphicFramePr>
            <a:graphicFrameLocks noChangeAspect="1"/>
          </p:cNvGraphicFramePr>
          <p:nvPr userDrawn="1">
            <p:custDataLst>
              <p:tags r:id="rId2"/>
            </p:custDataLst>
            <p:extLst>
              <p:ext uri="{D42A27DB-BD31-4B8C-83A1-F6EECF244321}">
                <p14:modId xmlns:p14="http://schemas.microsoft.com/office/powerpoint/2010/main" val="423017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AD32F10-BFBF-4958-8367-CD6E9CE39F2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F119905-A778-47E0-85C3-A3CFCC7AF970}"/>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DB3D1E55-AC38-46B4-8263-43E324B0669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DD9CB-940B-431A-B994-1D8D12847FF5}"/>
              </a:ext>
            </a:extLst>
          </p:cNvPr>
          <p:cNvGraphicFramePr>
            <a:graphicFrameLocks noChangeAspect="1"/>
          </p:cNvGraphicFramePr>
          <p:nvPr userDrawn="1">
            <p:custDataLst>
              <p:tags r:id="rId2"/>
            </p:custDataLst>
            <p:extLst>
              <p:ext uri="{D42A27DB-BD31-4B8C-83A1-F6EECF244321}">
                <p14:modId xmlns:p14="http://schemas.microsoft.com/office/powerpoint/2010/main" val="117831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3AFE9A-B350-47CF-BD06-456FD279C2C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23EA3D6F-550C-4D31-8785-42409DBB5ED4}"/>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DCF794B5-A979-4843-AC10-00A98783E12A}"/>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1" name="Graphic 10">
            <a:extLst>
              <a:ext uri="{FF2B5EF4-FFF2-40B4-BE49-F238E27FC236}">
                <a16:creationId xmlns:a16="http://schemas.microsoft.com/office/drawing/2014/main" id="{886B7C1B-69C8-42D3-B2FD-5CCE1FAC74C6}"/>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840"/>
          <a:stretch/>
        </p:blipFill>
        <p:spPr>
          <a:xfrm rot="5400000">
            <a:off x="4711699" y="-622300"/>
            <a:ext cx="6858000" cy="8102599"/>
          </a:xfrm>
          <a:prstGeom prst="rect">
            <a:avLst/>
          </a:prstGeom>
        </p:spPr>
      </p:pic>
      <p:pic>
        <p:nvPicPr>
          <p:cNvPr id="23" name="Picture 22"/>
          <p:cNvPicPr>
            <a:picLocks noChangeAspect="1"/>
          </p:cNvPicPr>
          <p:nvPr userDrawn="1"/>
        </p:nvPicPr>
        <p:blipFill rotWithShape="1">
          <a:blip r:embed="rId11">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570CE-8353-4C23-B7A7-40AD3FEAB6FB}"/>
              </a:ext>
            </a:extLst>
          </p:cNvPr>
          <p:cNvGraphicFramePr>
            <a:graphicFrameLocks noChangeAspect="1"/>
          </p:cNvGraphicFramePr>
          <p:nvPr userDrawn="1">
            <p:custDataLst>
              <p:tags r:id="rId2"/>
            </p:custDataLst>
            <p:extLst>
              <p:ext uri="{D42A27DB-BD31-4B8C-83A1-F6EECF244321}">
                <p14:modId xmlns:p14="http://schemas.microsoft.com/office/powerpoint/2010/main" val="306596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5FC93F-B4E4-4DB9-B095-7F86CCC37CD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a16="http://schemas.microsoft.com/office/drawing/2014/main" id="{33B9A828-918B-48AF-B5C9-309F5B158F7A}"/>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9" name="Overlay">
            <a:extLst>
              <a:ext uri="{FF2B5EF4-FFF2-40B4-BE49-F238E27FC236}">
                <a16:creationId xmlns:a16="http://schemas.microsoft.com/office/drawing/2014/main" id="{B3232610-7ED9-4842-AD67-85C140B7EAA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2B6B50-ADB2-4C58-A097-3324CDEEADB4}"/>
              </a:ext>
            </a:extLst>
          </p:cNvPr>
          <p:cNvGraphicFramePr>
            <a:graphicFrameLocks noChangeAspect="1"/>
          </p:cNvGraphicFramePr>
          <p:nvPr userDrawn="1">
            <p:custDataLst>
              <p:tags r:id="rId2"/>
            </p:custDataLst>
            <p:extLst>
              <p:ext uri="{D42A27DB-BD31-4B8C-83A1-F6EECF244321}">
                <p14:modId xmlns:p14="http://schemas.microsoft.com/office/powerpoint/2010/main" val="153617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E1C6FF-E548-464E-82D1-2B01BF97600D}"/>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7" name="Picture 16">
            <a:extLst>
              <a:ext uri="{FF2B5EF4-FFF2-40B4-BE49-F238E27FC236}">
                <a16:creationId xmlns:a16="http://schemas.microsoft.com/office/drawing/2014/main" id="{93741D63-9146-408E-8173-2590D59CA67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E359B5DB-6EEB-4CA8-B11C-C4BA425C1F0F}"/>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0669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1"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9D1803-DD6C-47EA-925F-5C664DF4D81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5" name="Picture 14">
            <a:extLst>
              <a:ext uri="{FF2B5EF4-FFF2-40B4-BE49-F238E27FC236}">
                <a16:creationId xmlns:a16="http://schemas.microsoft.com/office/drawing/2014/main" id="{B68D9E5F-7F9D-43CD-99C5-CF5AEFDA4FFB}"/>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B0B0919C-4FFD-4344-A198-C0B2B3E0E51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83FDF4-1C13-4432-9614-B86791DD55AF}"/>
              </a:ext>
            </a:extLst>
          </p:cNvPr>
          <p:cNvGraphicFramePr>
            <a:graphicFrameLocks noChangeAspect="1"/>
          </p:cNvGraphicFramePr>
          <p:nvPr userDrawn="1">
            <p:custDataLst>
              <p:tags r:id="rId2"/>
            </p:custDataLst>
            <p:extLst>
              <p:ext uri="{D42A27DB-BD31-4B8C-83A1-F6EECF244321}">
                <p14:modId xmlns:p14="http://schemas.microsoft.com/office/powerpoint/2010/main" val="209747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7EFFFD8-506B-4111-855B-60D73BE4AA9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a:extLst>
              <a:ext uri="{FF2B5EF4-FFF2-40B4-BE49-F238E27FC236}">
                <a16:creationId xmlns:a16="http://schemas.microsoft.com/office/drawing/2014/main" id="{1D50770D-8939-4921-9B43-5BCF0D856040}"/>
              </a:ext>
            </a:extLst>
          </p:cNvPr>
          <p:cNvPicPr>
            <a:picLocks noChangeAspect="1"/>
          </p:cNvPicPr>
          <p:nvPr userDrawn="1"/>
        </p:nvPicPr>
        <p:blipFill>
          <a:blip r:embed="rId8"/>
          <a:srcRect l="13" t="19" r="66455"/>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13" name="Overlay">
            <a:extLst>
              <a:ext uri="{FF2B5EF4-FFF2-40B4-BE49-F238E27FC236}">
                <a16:creationId xmlns:a16="http://schemas.microsoft.com/office/drawing/2014/main" id="{8E09979B-F2DF-498E-BF53-BB5C633022A3}"/>
              </a:ext>
            </a:extLst>
          </p:cNvPr>
          <p:cNvSpPr/>
          <p:nvPr userDrawn="1">
            <p:custDataLst>
              <p:tags r:id="rId4"/>
            </p:custDataLst>
          </p:nvPr>
        </p:nvSpPr>
        <p:spPr>
          <a:xfrm>
            <a:off x="1524" y="1310"/>
            <a:ext cx="4088312" cy="6856690"/>
          </a:xfrm>
          <a:prstGeom prst="homePlate">
            <a:avLst>
              <a:gd name="adj" fmla="val 19557"/>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0" name="Graphic 9">
            <a:extLst>
              <a:ext uri="{FF2B5EF4-FFF2-40B4-BE49-F238E27FC236}">
                <a16:creationId xmlns:a16="http://schemas.microsoft.com/office/drawing/2014/main" id="{0E1A7035-7D3A-4CBC-AC28-937F538451B5}"/>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37363" t="43832" r="15615"/>
          <a:stretch/>
        </p:blipFill>
        <p:spPr>
          <a:xfrm rot="5400000">
            <a:off x="4414443" y="-919556"/>
            <a:ext cx="6858000" cy="8697111"/>
          </a:xfrm>
          <a:prstGeom prst="rect">
            <a:avLst/>
          </a:prstGeom>
        </p:spPr>
      </p:pic>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BFC38E-B4F4-4414-99C8-D0CDC41EF374}"/>
              </a:ext>
            </a:extLst>
          </p:cNvPr>
          <p:cNvGraphicFramePr>
            <a:graphicFrameLocks noChangeAspect="1"/>
          </p:cNvGraphicFramePr>
          <p:nvPr userDrawn="1">
            <p:custDataLst>
              <p:tags r:id="rId2"/>
            </p:custDataLst>
            <p:extLst>
              <p:ext uri="{D42A27DB-BD31-4B8C-83A1-F6EECF244321}">
                <p14:modId xmlns:p14="http://schemas.microsoft.com/office/powerpoint/2010/main" val="1203685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21DF92-5E54-45DF-BF9C-563BD06949E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DF2A79C2-53BB-4402-B909-B0F6E1B88A75}"/>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7A6ABB71-BAF7-4BBB-A0C6-CF779B47E099}"/>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A03568-8C1E-4D1B-B53D-974C98D9E051}"/>
              </a:ext>
            </a:extLst>
          </p:cNvPr>
          <p:cNvGraphicFramePr>
            <a:graphicFrameLocks noChangeAspect="1"/>
          </p:cNvGraphicFramePr>
          <p:nvPr userDrawn="1">
            <p:custDataLst>
              <p:tags r:id="rId2"/>
            </p:custDataLst>
            <p:extLst>
              <p:ext uri="{D42A27DB-BD31-4B8C-83A1-F6EECF244321}">
                <p14:modId xmlns:p14="http://schemas.microsoft.com/office/powerpoint/2010/main" val="214639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AFDECB-0DAE-4848-8638-7A18013A44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Graphic 9">
            <a:extLst>
              <a:ext uri="{FF2B5EF4-FFF2-40B4-BE49-F238E27FC236}">
                <a16:creationId xmlns:a16="http://schemas.microsoft.com/office/drawing/2014/main" id="{55CF3AB4-A533-430B-8130-0030529B47B7}"/>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a:stretch/>
        </p:blipFill>
        <p:spPr>
          <a:xfrm rot="5400000">
            <a:off x="4414443" y="-919556"/>
            <a:ext cx="6858000" cy="8697111"/>
          </a:xfrm>
          <a:prstGeom prst="rect">
            <a:avLst/>
          </a:prstGeom>
        </p:spPr>
      </p:pic>
      <p:pic>
        <p:nvPicPr>
          <p:cNvPr id="11" name="Picture 10">
            <a:extLst>
              <a:ext uri="{FF2B5EF4-FFF2-40B4-BE49-F238E27FC236}">
                <a16:creationId xmlns:a16="http://schemas.microsoft.com/office/drawing/2014/main" id="{BDADF549-360D-4CAF-9973-D8A7FE3039DB}"/>
              </a:ext>
            </a:extLst>
          </p:cNvPr>
          <p:cNvPicPr>
            <a:picLocks noChangeAspect="1"/>
          </p:cNvPicPr>
          <p:nvPr userDrawn="1"/>
        </p:nvPicPr>
        <p:blipFill>
          <a:blip r:embed="rId11"/>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7" name="Overlay">
            <a:extLst>
              <a:ext uri="{FF2B5EF4-FFF2-40B4-BE49-F238E27FC236}">
                <a16:creationId xmlns:a16="http://schemas.microsoft.com/office/drawing/2014/main" id="{19E3E548-BBBD-4611-9AB2-B1D2736E6B9F}"/>
              </a:ext>
            </a:extLst>
          </p:cNvPr>
          <p:cNvSpPr/>
          <p:nvPr userDrawn="1">
            <p:custDataLst>
              <p:tags r:id="rId4"/>
            </p:custDataLst>
          </p:nvPr>
        </p:nvSpPr>
        <p:spPr>
          <a:xfrm>
            <a:off x="1" y="0"/>
            <a:ext cx="5426920" cy="6858000"/>
          </a:xfrm>
          <a:prstGeom prst="homePlate">
            <a:avLst>
              <a:gd name="adj" fmla="val 13025"/>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828F9F-9D82-4291-9BA0-C13038588EB6}"/>
              </a:ext>
            </a:extLst>
          </p:cNvPr>
          <p:cNvGraphicFramePr>
            <a:graphicFrameLocks noChangeAspect="1"/>
          </p:cNvGraphicFramePr>
          <p:nvPr userDrawn="1">
            <p:custDataLst>
              <p:tags r:id="rId2"/>
            </p:custDataLst>
            <p:extLst>
              <p:ext uri="{D42A27DB-BD31-4B8C-83A1-F6EECF244321}">
                <p14:modId xmlns:p14="http://schemas.microsoft.com/office/powerpoint/2010/main" val="41315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B08409-D5E8-45E3-B86A-4DEC26567D2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3F0E43A4-042E-4B53-B724-5521C6914274}"/>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C6053E5F-A0FB-4533-AC20-8806FC5C4B0E}"/>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B6DB0D-D75A-4B12-A278-F40BF9E23EEB}"/>
              </a:ext>
            </a:extLst>
          </p:cNvPr>
          <p:cNvGraphicFramePr>
            <a:graphicFrameLocks noChangeAspect="1"/>
          </p:cNvGraphicFramePr>
          <p:nvPr userDrawn="1">
            <p:custDataLst>
              <p:tags r:id="rId2"/>
            </p:custDataLst>
            <p:extLst>
              <p:ext uri="{D42A27DB-BD31-4B8C-83A1-F6EECF244321}">
                <p14:modId xmlns:p14="http://schemas.microsoft.com/office/powerpoint/2010/main" val="150683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C47DBC-7BF6-4382-8736-C5AB9C64768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E36BEFBA-7680-4E43-B87B-4A038E3F2F16}"/>
              </a:ext>
            </a:extLst>
          </p:cNvPr>
          <p:cNvPicPr>
            <a:picLocks noChangeAspect="1"/>
          </p:cNvPicPr>
          <p:nvPr userDrawn="1"/>
        </p:nvPicPr>
        <p:blipFill>
          <a:blip r:embed="rId8"/>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16" name="Overlay">
            <a:extLst>
              <a:ext uri="{FF2B5EF4-FFF2-40B4-BE49-F238E27FC236}">
                <a16:creationId xmlns:a16="http://schemas.microsoft.com/office/drawing/2014/main" id="{E13A233A-15BF-4EFA-8126-CC6A34C84AD4}"/>
              </a:ext>
            </a:extLst>
          </p:cNvPr>
          <p:cNvSpPr/>
          <p:nvPr userDrawn="1">
            <p:custDataLst>
              <p:tags r:id="rId4"/>
            </p:custDataLst>
          </p:nvPr>
        </p:nvSpPr>
        <p:spPr>
          <a:xfrm>
            <a:off x="0" y="0"/>
            <a:ext cx="6363546" cy="6858000"/>
          </a:xfrm>
          <a:prstGeom prst="homePlate">
            <a:avLst>
              <a:gd name="adj" fmla="val 13079"/>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904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719C14DC-995F-43D8-964D-BD81E1911DDA}"/>
              </a:ext>
            </a:extLst>
          </p:cNvPr>
          <p:cNvPicPr>
            <a:picLocks noChangeAspect="1"/>
          </p:cNvPicPr>
          <p:nvPr userDrawn="1"/>
        </p:nvPicPr>
        <p:blipFill>
          <a:blip r:embed="rId7"/>
          <a:stretch>
            <a:fillRect/>
          </a:stretch>
        </p:blipFill>
        <p:spPr>
          <a:xfrm>
            <a:off x="0" y="17249"/>
            <a:ext cx="12192000" cy="4160520"/>
          </a:xfrm>
          <a:prstGeom prst="rect">
            <a:avLst/>
          </a:prstGeom>
        </p:spPr>
      </p:pic>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2</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2852842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6F43BA-B582-4575-9AF1-366C83B8580B}"/>
              </a:ext>
            </a:extLst>
          </p:cNvPr>
          <p:cNvGraphicFramePr>
            <a:graphicFrameLocks noChangeAspect="1"/>
          </p:cNvGraphicFramePr>
          <p:nvPr userDrawn="1">
            <p:custDataLst>
              <p:tags r:id="rId2"/>
            </p:custDataLst>
            <p:extLst>
              <p:ext uri="{D42A27DB-BD31-4B8C-83A1-F6EECF244321}">
                <p14:modId xmlns:p14="http://schemas.microsoft.com/office/powerpoint/2010/main" val="240846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F075E2-642E-4325-9E66-4930EFEDBC3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C0FBDA20-C9DC-490C-B1AF-42F96353E62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39A16FE0-C37D-4E2D-877C-84FB5D36C2BA}"/>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E8EFCA-0E21-4B49-B34E-BC35016B178D}"/>
              </a:ext>
            </a:extLst>
          </p:cNvPr>
          <p:cNvGraphicFramePr>
            <a:graphicFrameLocks noChangeAspect="1"/>
          </p:cNvGraphicFramePr>
          <p:nvPr userDrawn="1">
            <p:custDataLst>
              <p:tags r:id="rId2"/>
            </p:custDataLst>
            <p:extLst>
              <p:ext uri="{D42A27DB-BD31-4B8C-83A1-F6EECF244321}">
                <p14:modId xmlns:p14="http://schemas.microsoft.com/office/powerpoint/2010/main" val="187092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3E3434-BBCC-4475-8477-FF9EB1965B5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4D6136C3-1D16-4A7C-8BC5-58B7CEF66A43}"/>
              </a:ext>
            </a:extLst>
          </p:cNvPr>
          <p:cNvPicPr>
            <a:picLocks noChangeAspect="1"/>
          </p:cNvPicPr>
          <p:nvPr userDrawn="1"/>
        </p:nvPicPr>
        <p:blipFill>
          <a:blip r:embed="rId8"/>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13" name="Overlay">
            <a:extLst>
              <a:ext uri="{FF2B5EF4-FFF2-40B4-BE49-F238E27FC236}">
                <a16:creationId xmlns:a16="http://schemas.microsoft.com/office/drawing/2014/main" id="{5EDC5827-1340-42CE-99BF-F086005D193A}"/>
              </a:ext>
            </a:extLst>
          </p:cNvPr>
          <p:cNvSpPr/>
          <p:nvPr userDrawn="1">
            <p:custDataLst>
              <p:tags r:id="rId4"/>
            </p:custDataLst>
          </p:nvPr>
        </p:nvSpPr>
        <p:spPr>
          <a:xfrm>
            <a:off x="1" y="0"/>
            <a:ext cx="8446239" cy="6858000"/>
          </a:xfrm>
          <a:prstGeom prst="homePlate">
            <a:avLst>
              <a:gd name="adj" fmla="val 11852"/>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3258E0-E680-40B2-B152-E8DEDB6012ED}"/>
              </a:ext>
            </a:extLst>
          </p:cNvPr>
          <p:cNvGraphicFramePr>
            <a:graphicFrameLocks noChangeAspect="1"/>
          </p:cNvGraphicFramePr>
          <p:nvPr userDrawn="1">
            <p:custDataLst>
              <p:tags r:id="rId2"/>
            </p:custDataLst>
            <p:extLst>
              <p:ext uri="{D42A27DB-BD31-4B8C-83A1-F6EECF244321}">
                <p14:modId xmlns:p14="http://schemas.microsoft.com/office/powerpoint/2010/main" val="270834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D0900A-DB23-4781-BC80-DBE2D7D853D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a:extLst>
              <a:ext uri="{FF2B5EF4-FFF2-40B4-BE49-F238E27FC236}">
                <a16:creationId xmlns:a16="http://schemas.microsoft.com/office/drawing/2014/main" id="{CCA7D341-F309-4F0A-A1EC-D9FA3D2ED85F}"/>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7E9916CF-26D4-47DA-9B75-B86E995805A3}"/>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D0DCA1-102F-45A7-9826-5EB7EE404555}"/>
              </a:ext>
            </a:extLst>
          </p:cNvPr>
          <p:cNvGraphicFramePr>
            <a:graphicFrameLocks noChangeAspect="1"/>
          </p:cNvGraphicFramePr>
          <p:nvPr userDrawn="1">
            <p:custDataLst>
              <p:tags r:id="rId2"/>
            </p:custDataLst>
            <p:extLst>
              <p:ext uri="{D42A27DB-BD31-4B8C-83A1-F6EECF244321}">
                <p14:modId xmlns:p14="http://schemas.microsoft.com/office/powerpoint/2010/main" val="4018848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A53465-CD2F-448E-BCD4-A411B2476B9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0" name="Graphic 9">
            <a:extLst>
              <a:ext uri="{FF2B5EF4-FFF2-40B4-BE49-F238E27FC236}">
                <a16:creationId xmlns:a16="http://schemas.microsoft.com/office/drawing/2014/main" id="{9EEC48D4-A87E-489F-A3BA-25639ADD1340}"/>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1767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1"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6E0533C-DD8A-4DD3-ABA2-0A72E64194B6}"/>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7FFC4AF9-A300-44F1-94B0-949D0CD0EB66}"/>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A23369-6267-4380-BAB2-B35B122C16ED}"/>
              </a:ext>
            </a:extLst>
          </p:cNvPr>
          <p:cNvGraphicFramePr>
            <a:graphicFrameLocks noChangeAspect="1"/>
          </p:cNvGraphicFramePr>
          <p:nvPr userDrawn="1">
            <p:custDataLst>
              <p:tags r:id="rId2"/>
            </p:custDataLst>
            <p:extLst>
              <p:ext uri="{D42A27DB-BD31-4B8C-83A1-F6EECF244321}">
                <p14:modId xmlns:p14="http://schemas.microsoft.com/office/powerpoint/2010/main" val="177277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90D6AC5-78D8-45EA-B8CA-2F2B4CDE3720}"/>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59F4385F-A29B-4A13-9F40-7EC2AF0421D4}"/>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5DED99-0FCE-46CB-A425-7ED72701001B}"/>
              </a:ext>
            </a:extLst>
          </p:cNvPr>
          <p:cNvGraphicFramePr>
            <a:graphicFrameLocks noChangeAspect="1"/>
          </p:cNvGraphicFramePr>
          <p:nvPr userDrawn="1">
            <p:custDataLst>
              <p:tags r:id="rId2"/>
            </p:custDataLst>
            <p:extLst>
              <p:ext uri="{D42A27DB-BD31-4B8C-83A1-F6EECF244321}">
                <p14:modId xmlns:p14="http://schemas.microsoft.com/office/powerpoint/2010/main" val="369933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A09E7A9-25F8-438F-AA54-097986F364AD}"/>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0" name="Overlay">
            <a:extLst>
              <a:ext uri="{FF2B5EF4-FFF2-40B4-BE49-F238E27FC236}">
                <a16:creationId xmlns:a16="http://schemas.microsoft.com/office/drawing/2014/main" id="{C20056AA-F681-4888-8C37-AD918DDD3D75}"/>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82AC34-7719-402F-8A19-D09055839ABA}"/>
              </a:ext>
            </a:extLst>
          </p:cNvPr>
          <p:cNvGraphicFramePr>
            <a:graphicFrameLocks noChangeAspect="1"/>
          </p:cNvGraphicFramePr>
          <p:nvPr userDrawn="1">
            <p:custDataLst>
              <p:tags r:id="rId2"/>
            </p:custDataLst>
            <p:extLst>
              <p:ext uri="{D42A27DB-BD31-4B8C-83A1-F6EECF244321}">
                <p14:modId xmlns:p14="http://schemas.microsoft.com/office/powerpoint/2010/main" val="232951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952778ED-EC5B-451F-B4B6-C3D0D52EC95F}"/>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99D07A-555B-4D8D-8202-C0E345450830}"/>
              </a:ext>
            </a:extLst>
          </p:cNvPr>
          <p:cNvGraphicFramePr>
            <a:graphicFrameLocks noChangeAspect="1"/>
          </p:cNvGraphicFramePr>
          <p:nvPr userDrawn="1">
            <p:custDataLst>
              <p:tags r:id="rId2"/>
            </p:custDataLst>
            <p:extLst>
              <p:ext uri="{D42A27DB-BD31-4B8C-83A1-F6EECF244321}">
                <p14:modId xmlns:p14="http://schemas.microsoft.com/office/powerpoint/2010/main" val="236758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DAC76571-C0CC-45E2-B4DF-281DFF268A8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D4FC4-6968-483A-90C0-A48FAB106002}"/>
              </a:ext>
            </a:extLst>
          </p:cNvPr>
          <p:cNvGraphicFramePr>
            <a:graphicFrameLocks noChangeAspect="1"/>
          </p:cNvGraphicFramePr>
          <p:nvPr userDrawn="1">
            <p:custDataLst>
              <p:tags r:id="rId2"/>
            </p:custDataLst>
            <p:extLst>
              <p:ext uri="{D42A27DB-BD31-4B8C-83A1-F6EECF244321}">
                <p14:modId xmlns:p14="http://schemas.microsoft.com/office/powerpoint/2010/main" val="38508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E5578D-7649-43A9-9984-103171FEDB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1B7A6F0-D389-48F1-AAEE-4E7C1340F4B9}"/>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4B042359-1EF6-43C3-925D-00F6F5606EDA}"/>
              </a:ext>
            </a:extLst>
          </p:cNvPr>
          <p:cNvSpPr/>
          <p:nvPr userDrawn="1"/>
        </p:nvSpPr>
        <p:spPr>
          <a:xfrm>
            <a:off x="-1" y="0"/>
            <a:ext cx="12192000" cy="6858000"/>
          </a:xfrm>
          <a:prstGeom prst="rect">
            <a:avLst/>
          </a:prstGeom>
          <a:solidFill>
            <a:srgbClr val="000000">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4809D0D-9FE5-4FE1-BD07-1E1D9A97FA1A}"/>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61808" y="2775944"/>
            <a:ext cx="5041845" cy="2235649"/>
          </a:xfrm>
          <a:prstGeom prst="rect">
            <a:avLst/>
          </a:prstGeom>
        </p:spPr>
      </p:pic>
      <p:sp>
        <p:nvSpPr>
          <p:cNvPr id="13" name="Rectangle 12">
            <a:extLst>
              <a:ext uri="{FF2B5EF4-FFF2-40B4-BE49-F238E27FC236}">
                <a16:creationId xmlns:a16="http://schemas.microsoft.com/office/drawing/2014/main" id="{413F3245-DA7C-4CDD-9F5F-0C6C183F339B}"/>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7419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2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0DCB426D-00A3-4D69-B954-511F90530F51}"/>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9" name="Rectangle 8">
            <a:extLst>
              <a:ext uri="{FF2B5EF4-FFF2-40B4-BE49-F238E27FC236}">
                <a16:creationId xmlns:a16="http://schemas.microsoft.com/office/drawing/2014/main" id="{F8CDF4CF-360C-4399-BE3B-8CC7CA1D35D2}"/>
              </a:ext>
            </a:extLst>
          </p:cNvPr>
          <p:cNvSpPr/>
          <p:nvPr userDrawn="1"/>
        </p:nvSpPr>
        <p:spPr>
          <a:xfrm>
            <a:off x="-1" y="-13587"/>
            <a:ext cx="12208043" cy="6871587"/>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descr="Text&#10;&#10;Description automatically generated">
            <a:extLst>
              <a:ext uri="{FF2B5EF4-FFF2-40B4-BE49-F238E27FC236}">
                <a16:creationId xmlns:a16="http://schemas.microsoft.com/office/drawing/2014/main" id="{6BCA901B-0297-4F9A-A445-86BF620DF36D}"/>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53262" y="3003326"/>
            <a:ext cx="5041845" cy="2235649"/>
          </a:xfrm>
          <a:prstGeom prst="rect">
            <a:avLst/>
          </a:prstGeom>
        </p:spPr>
      </p:pic>
    </p:spTree>
    <p:extLst>
      <p:ext uri="{BB962C8B-B14F-4D97-AF65-F5344CB8AC3E}">
        <p14:creationId xmlns:p14="http://schemas.microsoft.com/office/powerpoint/2010/main" val="6594448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0000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103F3696-5C99-48F2-A92E-339FEF53874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0B873776-7DFA-4966-A19C-A7E8BED8FC58}"/>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4"/>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2793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0BF250A5-4BC3-4667-8931-E0FC7797AC4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74B95AEE-9507-4168-8312-D131D3B468CB}"/>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506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265965-8C85-4414-A3E5-EBD1DD25BE4C}"/>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97C964AD-FA0D-491C-B2F5-CFB443487C10}"/>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6515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602C396-E5DD-4EB1-A5A7-448F0D1E8034}"/>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D8AFA4C7-5C9B-4810-B18E-DC6D6D00B5D5}"/>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pic>
        <p:nvPicPr>
          <p:cNvPr id="12" name="Graphic 11">
            <a:extLst>
              <a:ext uri="{FF2B5EF4-FFF2-40B4-BE49-F238E27FC236}">
                <a16:creationId xmlns:a16="http://schemas.microsoft.com/office/drawing/2014/main" id="{9D5618C0-C151-408B-B3F9-96F2AFA2DB59}"/>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675"/>
          <a:stretch/>
        </p:blipFill>
        <p:spPr>
          <a:xfrm rot="5400000">
            <a:off x="4698999" y="-635000"/>
            <a:ext cx="6858000" cy="8127999"/>
          </a:xfrm>
          <a:prstGeom prst="rect">
            <a:avLst/>
          </a:prstGeom>
        </p:spPr>
      </p:pic>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41520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EB03F537-EEE5-41B1-B64A-E3B8A570ACD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3125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1933747B-4AC1-43C3-BA8C-1B8F3F0F5C6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5003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2E23CE98-5A45-44D5-B21A-CE2C70359AE1}"/>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D4FC4-6968-483A-90C0-A48FAB106002}"/>
              </a:ext>
            </a:extLst>
          </p:cNvPr>
          <p:cNvGraphicFramePr>
            <a:graphicFrameLocks noChangeAspect="1"/>
          </p:cNvGraphicFramePr>
          <p:nvPr userDrawn="1">
            <p:custDataLst>
              <p:tags r:id="rId2"/>
            </p:custDataLst>
            <p:extLst>
              <p:ext uri="{D42A27DB-BD31-4B8C-83A1-F6EECF244321}">
                <p14:modId xmlns:p14="http://schemas.microsoft.com/office/powerpoint/2010/main" val="2367615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CCCD4FC4-6968-483A-90C0-A48FAB1060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E5578D-7649-43A9-9984-103171FEDB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8" name="Graphic 7">
            <a:extLst>
              <a:ext uri="{FF2B5EF4-FFF2-40B4-BE49-F238E27FC236}">
                <a16:creationId xmlns:a16="http://schemas.microsoft.com/office/drawing/2014/main" id="{A021D436-92FF-4A66-BE5F-4B6C8D5E117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2784483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6406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1B38D0B-82C9-42F9-8645-0BBCB189E38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88DC7E14-CA83-4901-8FA7-5E26ED537A29}"/>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pic>
        <p:nvPicPr>
          <p:cNvPr id="11" name="Graphic 10">
            <a:extLst>
              <a:ext uri="{FF2B5EF4-FFF2-40B4-BE49-F238E27FC236}">
                <a16:creationId xmlns:a16="http://schemas.microsoft.com/office/drawing/2014/main" id="{507E1A5D-58E3-4FB3-A7A6-2323DFC786C1}"/>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511"/>
          <a:stretch/>
        </p:blipFill>
        <p:spPr>
          <a:xfrm rot="5400000">
            <a:off x="4686299" y="-647700"/>
            <a:ext cx="6858000" cy="8153399"/>
          </a:xfrm>
          <a:prstGeom prst="rect">
            <a:avLst/>
          </a:prstGeom>
        </p:spPr>
      </p:pic>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6783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CC013CC-4979-4CC1-B6A8-428AB658F58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F4422104-F14A-4EA1-B11A-447AADA54829}"/>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2022</a:t>
            </a:fld>
            <a:endParaRPr lang="en-US"/>
          </a:p>
        </p:txBody>
      </p:sp>
      <p:sp>
        <p:nvSpPr>
          <p:cNvPr id="5" name="Footer Placeholder 4"/>
          <p:cNvSpPr>
            <a:spLocks noGrp="1"/>
          </p:cNvSpPr>
          <p:nvPr>
            <p:ph type="ftr" sz="quarter" idx="11"/>
          </p:nvPr>
        </p:nvSpPr>
        <p:spPr/>
        <p:txBody>
          <a:bodyPr/>
          <a:lstStyle/>
          <a:p>
            <a:r>
              <a:rPr lang="en-US"/>
              <a:t>Side</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98655402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3F6D8C-92C7-40F9-BF9E-4C8E2E179111}"/>
              </a:ext>
            </a:extLst>
          </p:cNvPr>
          <p:cNvGraphicFramePr>
            <a:graphicFrameLocks noChangeAspect="1"/>
          </p:cNvGraphicFramePr>
          <p:nvPr userDrawn="1">
            <p:custDataLst>
              <p:tags r:id="rId2"/>
            </p:custDataLst>
            <p:extLst>
              <p:ext uri="{D42A27DB-BD31-4B8C-83A1-F6EECF244321}">
                <p14:modId xmlns:p14="http://schemas.microsoft.com/office/powerpoint/2010/main" val="2859378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CBACDA-C8C8-475D-9BBE-7EF511168E33}"/>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Graphic 5">
            <a:extLst>
              <a:ext uri="{FF2B5EF4-FFF2-40B4-BE49-F238E27FC236}">
                <a16:creationId xmlns:a16="http://schemas.microsoft.com/office/drawing/2014/main" id="{EAC71BEF-7AF7-4B8B-82EE-C79DBCA1905F}"/>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chemeClr val="tx2"/>
                </a:solidFill>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solidFill>
                  <a:schemeClr val="tx2"/>
                </a:solidFill>
              </a:defRPr>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vmlDrawing" Target="../drawings/vmlDrawing1.v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heme" Target="../theme/theme1.xml"/><Relationship Id="rId88"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oleObject" Target="../embeddings/oleObject1.bin"/><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5"/>
            </p:custDataLst>
            <p:extLst>
              <p:ext uri="{D42A27DB-BD31-4B8C-83A1-F6EECF244321}">
                <p14:modId xmlns:p14="http://schemas.microsoft.com/office/powerpoint/2010/main" val="8167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87" imgW="270" imgH="270" progId="TCLayout.ActiveDocument.1">
                  <p:embed/>
                </p:oleObj>
              </mc:Choice>
              <mc:Fallback>
                <p:oleObj name="think-cell Slide" r:id="rId87" imgW="270" imgH="270" progId="TCLayout.ActiveDocument.1">
                  <p:embed/>
                  <p:pic>
                    <p:nvPicPr>
                      <p:cNvPr id="0" name=""/>
                      <p:cNvPicPr/>
                      <p:nvPr/>
                    </p:nvPicPr>
                    <p:blipFill>
                      <a:blip r:embed="rId88"/>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BEFBF3A-05EA-4502-B66F-8E5CF10C7199}"/>
              </a:ext>
            </a:extLst>
          </p:cNvPr>
          <p:cNvSpPr/>
          <p:nvPr userDrawn="1">
            <p:custDataLst>
              <p:tags r:id="rId8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88" r:id="rId5"/>
    <p:sldLayoutId id="2147485189" r:id="rId6"/>
    <p:sldLayoutId id="2147485086" r:id="rId7"/>
    <p:sldLayoutId id="2147485192" r:id="rId8"/>
    <p:sldLayoutId id="2147485183" r:id="rId9"/>
    <p:sldLayoutId id="2147485158" r:id="rId10"/>
    <p:sldLayoutId id="2147485113" r:id="rId11"/>
    <p:sldLayoutId id="2147485114" r:id="rId12"/>
    <p:sldLayoutId id="2147485154" r:id="rId13"/>
    <p:sldLayoutId id="2147485162" r:id="rId14"/>
    <p:sldLayoutId id="2147485149" r:id="rId15"/>
    <p:sldLayoutId id="2147485087" r:id="rId16"/>
    <p:sldLayoutId id="2147485112" r:id="rId17"/>
    <p:sldLayoutId id="2147485155" r:id="rId18"/>
    <p:sldLayoutId id="2147485164" r:id="rId19"/>
    <p:sldLayoutId id="2147485109" r:id="rId20"/>
    <p:sldLayoutId id="2147485165" r:id="rId21"/>
    <p:sldLayoutId id="2147485110" r:id="rId22"/>
    <p:sldLayoutId id="2147485166" r:id="rId23"/>
    <p:sldLayoutId id="2147485156" r:id="rId24"/>
    <p:sldLayoutId id="2147485167" r:id="rId25"/>
    <p:sldLayoutId id="2147485108" r:id="rId26"/>
    <p:sldLayoutId id="2147485107" r:id="rId27"/>
    <p:sldLayoutId id="2147485106" r:id="rId28"/>
    <p:sldLayoutId id="2147485090" r:id="rId29"/>
    <p:sldLayoutId id="2147485091" r:id="rId30"/>
    <p:sldLayoutId id="2147485092" r:id="rId31"/>
    <p:sldLayoutId id="2147485093" r:id="rId32"/>
    <p:sldLayoutId id="2147485116" r:id="rId33"/>
    <p:sldLayoutId id="2147485191" r:id="rId34"/>
    <p:sldLayoutId id="2147485161" r:id="rId35"/>
    <p:sldLayoutId id="2147485159" r:id="rId36"/>
    <p:sldLayoutId id="2147485194" r:id="rId37"/>
    <p:sldLayoutId id="2147485195" r:id="rId38"/>
    <p:sldLayoutId id="2147485196" r:id="rId39"/>
    <p:sldLayoutId id="2147485197" r:id="rId40"/>
    <p:sldLayoutId id="2147485198" r:id="rId41"/>
    <p:sldLayoutId id="2147485119" r:id="rId42"/>
    <p:sldLayoutId id="2147485193" r:id="rId43"/>
    <p:sldLayoutId id="2147485184" r:id="rId44"/>
    <p:sldLayoutId id="2147485137" r:id="rId45"/>
    <p:sldLayoutId id="2147485120" r:id="rId46"/>
    <p:sldLayoutId id="2147485121" r:id="rId47"/>
    <p:sldLayoutId id="2147485141" r:id="rId48"/>
    <p:sldLayoutId id="2147485163" r:id="rId49"/>
    <p:sldLayoutId id="2147485139" r:id="rId50"/>
    <p:sldLayoutId id="2147485140" r:id="rId51"/>
    <p:sldLayoutId id="2147485122" r:id="rId52"/>
    <p:sldLayoutId id="2147485123" r:id="rId53"/>
    <p:sldLayoutId id="2147485151" r:id="rId54"/>
    <p:sldLayoutId id="2147485168" r:id="rId55"/>
    <p:sldLayoutId id="2147485127" r:id="rId56"/>
    <p:sldLayoutId id="2147485169" r:id="rId57"/>
    <p:sldLayoutId id="2147485126" r:id="rId58"/>
    <p:sldLayoutId id="2147485170" r:id="rId59"/>
    <p:sldLayoutId id="2147485153" r:id="rId60"/>
    <p:sldLayoutId id="2147485171" r:id="rId61"/>
    <p:sldLayoutId id="2147485128" r:id="rId62"/>
    <p:sldLayoutId id="2147485129" r:id="rId63"/>
    <p:sldLayoutId id="2147485130" r:id="rId64"/>
    <p:sldLayoutId id="2147485131" r:id="rId65"/>
    <p:sldLayoutId id="2147485145" r:id="rId66"/>
    <p:sldLayoutId id="2147485133" r:id="rId67"/>
    <p:sldLayoutId id="2147485144" r:id="rId68"/>
    <p:sldLayoutId id="2147485134" r:id="rId69"/>
    <p:sldLayoutId id="2147485146" r:id="rId70"/>
    <p:sldLayoutId id="2147485190" r:id="rId71"/>
    <p:sldLayoutId id="2147485160" r:id="rId72"/>
    <p:sldLayoutId id="2147485172" r:id="rId73"/>
    <p:sldLayoutId id="2147485173" r:id="rId74"/>
    <p:sldLayoutId id="2147485174" r:id="rId75"/>
    <p:sldLayoutId id="2147485175" r:id="rId76"/>
    <p:sldLayoutId id="2147485176" r:id="rId77"/>
    <p:sldLayoutId id="2147485177" r:id="rId78"/>
    <p:sldLayoutId id="2147485178" r:id="rId79"/>
    <p:sldLayoutId id="2147485179" r:id="rId80"/>
    <p:sldLayoutId id="2147485180" r:id="rId81"/>
    <p:sldLayoutId id="2147485199" r:id="rId82"/>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1.xml"/><Relationship Id="rId7" Type="http://schemas.openxmlformats.org/officeDocument/2006/relationships/oleObject" Target="../embeddings/oleObject78.bin"/><Relationship Id="rId2" Type="http://schemas.openxmlformats.org/officeDocument/2006/relationships/tags" Target="../tags/tag180.xml"/><Relationship Id="rId1" Type="http://schemas.openxmlformats.org/officeDocument/2006/relationships/vmlDrawing" Target="../drawings/vmlDrawing78.vml"/><Relationship Id="rId6" Type="http://schemas.openxmlformats.org/officeDocument/2006/relationships/notesSlide" Target="../notesSlides/notesSlide1.xml"/><Relationship Id="rId11" Type="http://schemas.openxmlformats.org/officeDocument/2006/relationships/image" Target="../media/image20.png"/><Relationship Id="rId5" Type="http://schemas.openxmlformats.org/officeDocument/2006/relationships/slideLayout" Target="../slideLayouts/slideLayout2.xml"/><Relationship Id="rId10" Type="http://schemas.openxmlformats.org/officeDocument/2006/relationships/image" Target="../media/image19.jpeg"/><Relationship Id="rId4" Type="http://schemas.openxmlformats.org/officeDocument/2006/relationships/tags" Target="../tags/tag182.xml"/><Relationship Id="rId9"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5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svg"/><Relationship Id="rId18" Type="http://schemas.openxmlformats.org/officeDocument/2006/relationships/image" Target="../media/image31.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57.png"/><Relationship Id="rId17" Type="http://schemas.openxmlformats.org/officeDocument/2006/relationships/image" Target="../media/image30.svg"/><Relationship Id="rId2" Type="http://schemas.openxmlformats.org/officeDocument/2006/relationships/notesSlide" Target="../notesSlides/notesSlide14.xml"/><Relationship Id="rId16" Type="http://schemas.openxmlformats.org/officeDocument/2006/relationships/image" Target="../media/image29.png"/><Relationship Id="rId1" Type="http://schemas.openxmlformats.org/officeDocument/2006/relationships/slideLayout" Target="../slideLayouts/slideLayout9.xml"/><Relationship Id="rId6" Type="http://schemas.openxmlformats.org/officeDocument/2006/relationships/diagramColors" Target="../diagrams/colors2.xml"/><Relationship Id="rId11" Type="http://schemas.openxmlformats.org/officeDocument/2006/relationships/image" Target="../media/image56.svg"/><Relationship Id="rId5" Type="http://schemas.openxmlformats.org/officeDocument/2006/relationships/diagramQuickStyle" Target="../diagrams/quickStyle2.xml"/><Relationship Id="rId15" Type="http://schemas.openxmlformats.org/officeDocument/2006/relationships/image" Target="../media/image59.svg"/><Relationship Id="rId10" Type="http://schemas.openxmlformats.org/officeDocument/2006/relationships/image" Target="../media/image55.png"/><Relationship Id="rId19" Type="http://schemas.openxmlformats.org/officeDocument/2006/relationships/image" Target="../media/image32.svg"/><Relationship Id="rId4" Type="http://schemas.openxmlformats.org/officeDocument/2006/relationships/diagramLayout" Target="../diagrams/layout2.xml"/><Relationship Id="rId9" Type="http://schemas.openxmlformats.org/officeDocument/2006/relationships/image" Target="../media/image54.svg"/><Relationship Id="rId14"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oleObject" Target="../embeddings/oleObject79.bin"/><Relationship Id="rId18" Type="http://schemas.openxmlformats.org/officeDocument/2006/relationships/image" Target="../media/image64.jpeg"/><Relationship Id="rId3" Type="http://schemas.openxmlformats.org/officeDocument/2006/relationships/tags" Target="../tags/tag184.xml"/><Relationship Id="rId21" Type="http://schemas.openxmlformats.org/officeDocument/2006/relationships/image" Target="../media/image19.jpeg"/><Relationship Id="rId7" Type="http://schemas.openxmlformats.org/officeDocument/2006/relationships/tags" Target="../tags/tag188.xml"/><Relationship Id="rId12" Type="http://schemas.openxmlformats.org/officeDocument/2006/relationships/notesSlide" Target="../notesSlides/notesSlide15.xml"/><Relationship Id="rId17" Type="http://schemas.openxmlformats.org/officeDocument/2006/relationships/image" Target="../media/image63.jpeg"/><Relationship Id="rId2" Type="http://schemas.openxmlformats.org/officeDocument/2006/relationships/tags" Target="../tags/tag183.xml"/><Relationship Id="rId16" Type="http://schemas.openxmlformats.org/officeDocument/2006/relationships/image" Target="../media/image62.jpeg"/><Relationship Id="rId20" Type="http://schemas.openxmlformats.org/officeDocument/2006/relationships/image" Target="../media/image66.jpeg"/><Relationship Id="rId1" Type="http://schemas.openxmlformats.org/officeDocument/2006/relationships/vmlDrawing" Target="../drawings/vmlDrawing79.vml"/><Relationship Id="rId6" Type="http://schemas.openxmlformats.org/officeDocument/2006/relationships/tags" Target="../tags/tag187.xml"/><Relationship Id="rId11" Type="http://schemas.openxmlformats.org/officeDocument/2006/relationships/slideLayout" Target="../slideLayouts/slideLayout67.xml"/><Relationship Id="rId5" Type="http://schemas.openxmlformats.org/officeDocument/2006/relationships/tags" Target="../tags/tag186.xml"/><Relationship Id="rId15" Type="http://schemas.openxmlformats.org/officeDocument/2006/relationships/image" Target="../media/image61.png"/><Relationship Id="rId10" Type="http://schemas.openxmlformats.org/officeDocument/2006/relationships/tags" Target="../tags/tag191.xml"/><Relationship Id="rId19" Type="http://schemas.openxmlformats.org/officeDocument/2006/relationships/image" Target="../media/image65.jpeg"/><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image" Target="../media/image60.emf"/></Relationships>
</file>

<file path=ppt/slides/_rels/slide16.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60.emf"/><Relationship Id="rId2" Type="http://schemas.openxmlformats.org/officeDocument/2006/relationships/tags" Target="../tags/tag192.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16.xml"/><Relationship Id="rId4"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8" Type="http://schemas.openxmlformats.org/officeDocument/2006/relationships/image" Target="../media/image60.emf"/><Relationship Id="rId3" Type="http://schemas.openxmlformats.org/officeDocument/2006/relationships/tags" Target="../tags/tag195.xml"/><Relationship Id="rId7" Type="http://schemas.openxmlformats.org/officeDocument/2006/relationships/oleObject" Target="../embeddings/oleObject81.bin"/><Relationship Id="rId2" Type="http://schemas.openxmlformats.org/officeDocument/2006/relationships/tags" Target="../tags/tag194.xml"/><Relationship Id="rId1" Type="http://schemas.openxmlformats.org/officeDocument/2006/relationships/vmlDrawing" Target="../drawings/vmlDrawing81.vml"/><Relationship Id="rId6" Type="http://schemas.openxmlformats.org/officeDocument/2006/relationships/notesSlide" Target="../notesSlides/notesSlide17.xml"/><Relationship Id="rId5" Type="http://schemas.openxmlformats.org/officeDocument/2006/relationships/slideLayout" Target="../slideLayouts/slideLayout12.xml"/><Relationship Id="rId4" Type="http://schemas.openxmlformats.org/officeDocument/2006/relationships/tags" Target="../tags/tag196.xml"/></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71.jpeg"/><Relationship Id="rId4" Type="http://schemas.openxmlformats.org/officeDocument/2006/relationships/image" Target="../media/image70.png"/></Relationships>
</file>

<file path=ppt/slides/_rels/slide2.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3.xml"/><Relationship Id="rId1" Type="http://schemas.openxmlformats.org/officeDocument/2006/relationships/slideLayout" Target="../slideLayouts/slideLayout9.xml"/><Relationship Id="rId5" Type="http://schemas.openxmlformats.org/officeDocument/2006/relationships/image" Target="../media/image83.png"/><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9.xml"/><Relationship Id="rId5" Type="http://schemas.openxmlformats.org/officeDocument/2006/relationships/image" Target="../media/image92.png"/><Relationship Id="rId4" Type="http://schemas.openxmlformats.org/officeDocument/2006/relationships/image" Target="../media/image91.png"/></Relationships>
</file>

<file path=ppt/slides/_rels/slide2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9.xml"/><Relationship Id="rId5" Type="http://schemas.openxmlformats.org/officeDocument/2006/relationships/image" Target="../media/image96.png"/><Relationship Id="rId4" Type="http://schemas.openxmlformats.org/officeDocument/2006/relationships/image" Target="../media/image95.png"/></Relationships>
</file>

<file path=ppt/slides/_rels/slide3.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9.xml"/><Relationship Id="rId4" Type="http://schemas.openxmlformats.org/officeDocument/2006/relationships/image" Target="../media/image107.png"/></Relationships>
</file>

<file path=ppt/slides/_rels/slide3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42.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1322D6-8FFD-45A7-8C6B-BF09AD8940A7}"/>
              </a:ext>
            </a:extLst>
          </p:cNvPr>
          <p:cNvGraphicFramePr>
            <a:graphicFrameLocks noChangeAspect="1"/>
          </p:cNvGraphicFramePr>
          <p:nvPr>
            <p:custDataLst>
              <p:tags r:id="rId2"/>
            </p:custDataLst>
            <p:extLst>
              <p:ext uri="{D42A27DB-BD31-4B8C-83A1-F6EECF244321}">
                <p14:modId xmlns:p14="http://schemas.microsoft.com/office/powerpoint/2010/main" val="779185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122634B-6CB9-4948-A60A-DD785AA3C005}"/>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itle 6">
            <a:extLst>
              <a:ext uri="{FF2B5EF4-FFF2-40B4-BE49-F238E27FC236}">
                <a16:creationId xmlns:a16="http://schemas.microsoft.com/office/drawing/2014/main" id="{764B447B-A9F2-44E3-9DBB-5092AD87D624}"/>
              </a:ext>
            </a:extLst>
          </p:cNvPr>
          <p:cNvSpPr>
            <a:spLocks noGrp="1"/>
          </p:cNvSpPr>
          <p:nvPr>
            <p:ph type="ctrTitle"/>
          </p:nvPr>
        </p:nvSpPr>
        <p:spPr>
          <a:xfrm>
            <a:off x="719008" y="3873500"/>
            <a:ext cx="6850762" cy="1303020"/>
          </a:xfrm>
        </p:spPr>
        <p:txBody>
          <a:bodyPr vert="horz">
            <a:normAutofit/>
          </a:bodyPr>
          <a:lstStyle/>
          <a:p>
            <a:r>
              <a:rPr lang="en-US" sz="3600"/>
              <a:t>Capstone Project</a:t>
            </a:r>
          </a:p>
        </p:txBody>
      </p:sp>
      <p:sp>
        <p:nvSpPr>
          <p:cNvPr id="8" name="Text Placeholder 7">
            <a:extLst>
              <a:ext uri="{FF2B5EF4-FFF2-40B4-BE49-F238E27FC236}">
                <a16:creationId xmlns:a16="http://schemas.microsoft.com/office/drawing/2014/main" id="{208031C2-5AB3-4A36-898B-7541897BC134}"/>
              </a:ext>
            </a:extLst>
          </p:cNvPr>
          <p:cNvSpPr>
            <a:spLocks noGrp="1"/>
          </p:cNvSpPr>
          <p:nvPr>
            <p:ph type="body" sz="quarter" idx="12"/>
          </p:nvPr>
        </p:nvSpPr>
        <p:spPr>
          <a:xfrm>
            <a:off x="719008" y="6261931"/>
            <a:ext cx="1074012" cy="218971"/>
          </a:xfrm>
        </p:spPr>
        <p:txBody>
          <a:bodyPr/>
          <a:lstStyle/>
          <a:p>
            <a:r>
              <a:rPr lang="en-US">
                <a:solidFill>
                  <a:srgbClr val="29BA74"/>
                </a:solidFill>
              </a:rPr>
              <a:t>13 Jan 2022</a:t>
            </a:r>
          </a:p>
        </p:txBody>
      </p:sp>
      <p:sp>
        <p:nvSpPr>
          <p:cNvPr id="5" name="BcgText 1">
            <a:extLst>
              <a:ext uri="{FF2B5EF4-FFF2-40B4-BE49-F238E27FC236}">
                <a16:creationId xmlns:a16="http://schemas.microsoft.com/office/drawing/2014/main" id="{73C61AC1-8172-4E60-A5C8-BC99B9927A6A}"/>
              </a:ext>
            </a:extLst>
          </p:cNvPr>
          <p:cNvSpPr txBox="1"/>
          <p:nvPr userDrawn="1">
            <p:custDataLst>
              <p:tags r:id="rId4"/>
            </p:custDataLst>
          </p:nvPr>
        </p:nvSpPr>
        <p:spPr>
          <a:xfrm>
            <a:off x="739478" y="4444176"/>
            <a:ext cx="4654765" cy="163361"/>
          </a:xfrm>
          <a:prstGeom prst="rect">
            <a:avLst/>
          </a:prstGeom>
          <a:noFill/>
          <a:ln cap="rnd">
            <a:noFill/>
          </a:ln>
        </p:spPr>
        <p:txBody>
          <a:bodyPr wrap="square" lIns="0" tIns="0" rIns="0" bIns="0" rtlCol="0" anchor="t">
            <a:noAutofit/>
          </a:bodyPr>
          <a:lstStyle/>
          <a:p>
            <a:r>
              <a:rPr lang="en-US" sz="1600">
                <a:solidFill>
                  <a:schemeClr val="bg1"/>
                </a:solidFill>
              </a:rPr>
              <a:t>Presented by: BDA09 Group05 - The Rising Seven</a:t>
            </a:r>
            <a:endParaRPr lang="en-US">
              <a:solidFill>
                <a:schemeClr val="bg1"/>
              </a:solidFill>
            </a:endParaRPr>
          </a:p>
        </p:txBody>
      </p:sp>
      <p:pic>
        <p:nvPicPr>
          <p:cNvPr id="9" name="Picture 8">
            <a:extLst>
              <a:ext uri="{FF2B5EF4-FFF2-40B4-BE49-F238E27FC236}">
                <a16:creationId xmlns:a16="http://schemas.microsoft.com/office/drawing/2014/main" id="{54E14DE8-77B5-4B84-B2B6-99C1E7D93613}"/>
              </a:ext>
            </a:extLst>
          </p:cNvPr>
          <p:cNvPicPr>
            <a:picLocks noChangeAspect="1"/>
          </p:cNvPicPr>
          <p:nvPr/>
        </p:nvPicPr>
        <p:blipFill rotWithShape="1">
          <a:blip r:embed="rId9"/>
          <a:srcRect t="8046" r="108"/>
          <a:stretch/>
        </p:blipFill>
        <p:spPr>
          <a:xfrm>
            <a:off x="6185383" y="2943816"/>
            <a:ext cx="5348823" cy="2361158"/>
          </a:xfrm>
          <a:prstGeom prst="rect">
            <a:avLst/>
          </a:prstGeom>
          <a:ln>
            <a:noFill/>
          </a:ln>
          <a:effectLst>
            <a:softEdge rad="112500"/>
          </a:effectLst>
        </p:spPr>
      </p:pic>
      <p:pic>
        <p:nvPicPr>
          <p:cNvPr id="4" name="Picture 4" descr="Logo, company name&#10;&#10;Description automatically generated">
            <a:extLst>
              <a:ext uri="{FF2B5EF4-FFF2-40B4-BE49-F238E27FC236}">
                <a16:creationId xmlns:a16="http://schemas.microsoft.com/office/drawing/2014/main" id="{3528DC97-F71F-41A9-AB0E-5D9B8CA71B59}"/>
              </a:ext>
            </a:extLst>
          </p:cNvPr>
          <p:cNvPicPr>
            <a:picLocks noChangeAspect="1"/>
          </p:cNvPicPr>
          <p:nvPr/>
        </p:nvPicPr>
        <p:blipFill>
          <a:blip r:embed="rId10"/>
          <a:stretch>
            <a:fillRect/>
          </a:stretch>
        </p:blipFill>
        <p:spPr>
          <a:xfrm>
            <a:off x="11205198" y="113050"/>
            <a:ext cx="831214" cy="8727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Picture 5" descr="Logo&#10;&#10;Description automatically generated">
            <a:extLst>
              <a:ext uri="{FF2B5EF4-FFF2-40B4-BE49-F238E27FC236}">
                <a16:creationId xmlns:a16="http://schemas.microsoft.com/office/drawing/2014/main" id="{10A24290-E732-4617-AA59-875D328AC0B4}"/>
              </a:ext>
            </a:extLst>
          </p:cNvPr>
          <p:cNvPicPr>
            <a:picLocks noChangeAspect="1"/>
          </p:cNvPicPr>
          <p:nvPr/>
        </p:nvPicPr>
        <p:blipFill>
          <a:blip r:embed="rId11"/>
          <a:stretch>
            <a:fillRect/>
          </a:stretch>
        </p:blipFill>
        <p:spPr>
          <a:xfrm>
            <a:off x="10306692" y="4645289"/>
            <a:ext cx="1065089" cy="478431"/>
          </a:xfrm>
          <a:prstGeom prst="rect">
            <a:avLst/>
          </a:prstGeom>
        </p:spPr>
      </p:pic>
    </p:spTree>
    <p:extLst>
      <p:ext uri="{BB962C8B-B14F-4D97-AF65-F5344CB8AC3E}">
        <p14:creationId xmlns:p14="http://schemas.microsoft.com/office/powerpoint/2010/main" val="8733720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13CAA53-13D7-4313-8D45-14F4147EA5D0}"/>
              </a:ext>
            </a:extLst>
          </p:cNvPr>
          <p:cNvSpPr txBox="1">
            <a:spLocks/>
          </p:cNvSpPr>
          <p:nvPr/>
        </p:nvSpPr>
        <p:spPr>
          <a:xfrm>
            <a:off x="596382" y="185770"/>
            <a:ext cx="10188474"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SG">
                <a:ea typeface="+mj-lt"/>
                <a:cs typeface="+mj-lt"/>
              </a:rPr>
              <a:t>Time Series Modelling (SARIMAX)</a:t>
            </a:r>
            <a:endParaRPr lang="en-US">
              <a:ea typeface="+mj-lt"/>
              <a:cs typeface="+mj-lt"/>
            </a:endParaRPr>
          </a:p>
        </p:txBody>
      </p:sp>
      <p:grpSp>
        <p:nvGrpSpPr>
          <p:cNvPr id="33" name="Group 32">
            <a:extLst>
              <a:ext uri="{FF2B5EF4-FFF2-40B4-BE49-F238E27FC236}">
                <a16:creationId xmlns:a16="http://schemas.microsoft.com/office/drawing/2014/main" id="{1A60CE19-5118-4A2B-9381-1DE6CC5D1F64}"/>
              </a:ext>
            </a:extLst>
          </p:cNvPr>
          <p:cNvGrpSpPr/>
          <p:nvPr/>
        </p:nvGrpSpPr>
        <p:grpSpPr>
          <a:xfrm>
            <a:off x="629256" y="5286040"/>
            <a:ext cx="5817255" cy="703033"/>
            <a:chOff x="625810" y="4935633"/>
            <a:chExt cx="5231816" cy="637985"/>
          </a:xfrm>
        </p:grpSpPr>
        <p:pic>
          <p:nvPicPr>
            <p:cNvPr id="18" name="Picture 18">
              <a:extLst>
                <a:ext uri="{FF2B5EF4-FFF2-40B4-BE49-F238E27FC236}">
                  <a16:creationId xmlns:a16="http://schemas.microsoft.com/office/drawing/2014/main" id="{01844450-929B-4C6F-8685-6FF3118F02E2}"/>
                </a:ext>
              </a:extLst>
            </p:cNvPr>
            <p:cNvPicPr>
              <a:picLocks noChangeAspect="1"/>
            </p:cNvPicPr>
            <p:nvPr/>
          </p:nvPicPr>
          <p:blipFill>
            <a:blip r:embed="rId3"/>
            <a:stretch>
              <a:fillRect/>
            </a:stretch>
          </p:blipFill>
          <p:spPr>
            <a:xfrm>
              <a:off x="629989" y="4935633"/>
              <a:ext cx="5227637" cy="637985"/>
            </a:xfrm>
            <a:prstGeom prst="rect">
              <a:avLst/>
            </a:prstGeom>
          </p:spPr>
        </p:pic>
        <p:sp>
          <p:nvSpPr>
            <p:cNvPr id="27" name="Rectangle 26">
              <a:extLst>
                <a:ext uri="{FF2B5EF4-FFF2-40B4-BE49-F238E27FC236}">
                  <a16:creationId xmlns:a16="http://schemas.microsoft.com/office/drawing/2014/main" id="{1085EEA4-0F74-4601-B0CF-FE2599EB9A10}"/>
                </a:ext>
              </a:extLst>
            </p:cNvPr>
            <p:cNvSpPr/>
            <p:nvPr/>
          </p:nvSpPr>
          <p:spPr>
            <a:xfrm>
              <a:off x="625810" y="4940524"/>
              <a:ext cx="721462" cy="61818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28" name="Rectangle 27">
              <a:extLst>
                <a:ext uri="{FF2B5EF4-FFF2-40B4-BE49-F238E27FC236}">
                  <a16:creationId xmlns:a16="http://schemas.microsoft.com/office/drawing/2014/main" id="{28FDC5A9-3EE3-4145-B1B8-3B46F9314E01}"/>
                </a:ext>
              </a:extLst>
            </p:cNvPr>
            <p:cNvSpPr/>
            <p:nvPr/>
          </p:nvSpPr>
          <p:spPr>
            <a:xfrm>
              <a:off x="4863900" y="4957390"/>
              <a:ext cx="549000" cy="58445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grpSp>
      <p:sp>
        <p:nvSpPr>
          <p:cNvPr id="32" name="TextBox 31">
            <a:extLst>
              <a:ext uri="{FF2B5EF4-FFF2-40B4-BE49-F238E27FC236}">
                <a16:creationId xmlns:a16="http://schemas.microsoft.com/office/drawing/2014/main" id="{41E099E5-F68B-4939-9F7A-B9CC2E5F333A}"/>
              </a:ext>
            </a:extLst>
          </p:cNvPr>
          <p:cNvSpPr txBox="1"/>
          <p:nvPr/>
        </p:nvSpPr>
        <p:spPr>
          <a:xfrm>
            <a:off x="8566174" y="1318733"/>
            <a:ext cx="3437572" cy="3773615"/>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Train/Test Split: 0.85/0.15</a:t>
            </a:r>
          </a:p>
          <a:p>
            <a:endParaRPr lang="en-SG" sz="1600">
              <a:solidFill>
                <a:srgbClr val="002060"/>
              </a:solidFill>
            </a:endParaRPr>
          </a:p>
          <a:p>
            <a:r>
              <a:rPr lang="en-SG" sz="1600">
                <a:solidFill>
                  <a:srgbClr val="002060"/>
                </a:solidFill>
              </a:rPr>
              <a:t>SARIMAX Model was applied to account for seasonal trends and exogenous factors. </a:t>
            </a:r>
            <a:endParaRPr lang="en-SG" sz="1600">
              <a:solidFill>
                <a:srgbClr val="FFFFFF"/>
              </a:solidFill>
            </a:endParaRPr>
          </a:p>
          <a:p>
            <a:endParaRPr lang="en-SG" sz="1600">
              <a:solidFill>
                <a:srgbClr val="002060"/>
              </a:solidFill>
            </a:endParaRPr>
          </a:p>
          <a:p>
            <a:r>
              <a:rPr lang="en-SG" sz="1600">
                <a:solidFill>
                  <a:srgbClr val="002060"/>
                </a:solidFill>
              </a:rPr>
              <a:t>Rain, holidays and weekends stood out in the modelling process.</a:t>
            </a:r>
            <a:endParaRPr lang="en-SG" sz="1600">
              <a:solidFill>
                <a:srgbClr val="FFFFFF"/>
              </a:solidFill>
            </a:endParaRPr>
          </a:p>
          <a:p>
            <a:endParaRPr lang="en-SG" sz="1600">
              <a:solidFill>
                <a:srgbClr val="002060"/>
              </a:solidFill>
            </a:endParaRPr>
          </a:p>
          <a:p>
            <a:r>
              <a:rPr lang="en-SG" sz="1600">
                <a:solidFill>
                  <a:srgbClr val="002060"/>
                </a:solidFill>
              </a:rPr>
              <a:t>R2 score and Mean Average Percentage Error (MAPE) to determine accuracy of our model.</a:t>
            </a:r>
            <a:endParaRPr lang="en-SG" sz="1600">
              <a:solidFill>
                <a:srgbClr val="FFFFFF"/>
              </a:solidFill>
            </a:endParaRPr>
          </a:p>
        </p:txBody>
      </p:sp>
      <p:pic>
        <p:nvPicPr>
          <p:cNvPr id="2" name="Picture 4" descr="Chart, histogram&#10;&#10;Description automatically generated">
            <a:extLst>
              <a:ext uri="{FF2B5EF4-FFF2-40B4-BE49-F238E27FC236}">
                <a16:creationId xmlns:a16="http://schemas.microsoft.com/office/drawing/2014/main" id="{A614BDB2-A87C-4D6E-B961-198BF7854FE2}"/>
              </a:ext>
            </a:extLst>
          </p:cNvPr>
          <p:cNvPicPr>
            <a:picLocks noChangeAspect="1"/>
          </p:cNvPicPr>
          <p:nvPr/>
        </p:nvPicPr>
        <p:blipFill>
          <a:blip r:embed="rId4"/>
          <a:stretch>
            <a:fillRect/>
          </a:stretch>
        </p:blipFill>
        <p:spPr>
          <a:xfrm>
            <a:off x="627101" y="1316157"/>
            <a:ext cx="7623793" cy="3777896"/>
          </a:xfrm>
          <a:prstGeom prst="rect">
            <a:avLst/>
          </a:prstGeom>
        </p:spPr>
      </p:pic>
      <p:sp>
        <p:nvSpPr>
          <p:cNvPr id="36" name="TextBox 35">
            <a:extLst>
              <a:ext uri="{FF2B5EF4-FFF2-40B4-BE49-F238E27FC236}">
                <a16:creationId xmlns:a16="http://schemas.microsoft.com/office/drawing/2014/main" id="{F7D95DB6-AB55-4004-B0F3-E52A8FA9E4EF}"/>
              </a:ext>
            </a:extLst>
          </p:cNvPr>
          <p:cNvSpPr txBox="1"/>
          <p:nvPr/>
        </p:nvSpPr>
        <p:spPr>
          <a:xfrm>
            <a:off x="471002" y="6294153"/>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
        <p:nvSpPr>
          <p:cNvPr id="3" name="Rectangle 2">
            <a:extLst>
              <a:ext uri="{FF2B5EF4-FFF2-40B4-BE49-F238E27FC236}">
                <a16:creationId xmlns:a16="http://schemas.microsoft.com/office/drawing/2014/main" id="{8217E3E6-EBA6-4390-8CAA-BF07F6ECED4C}"/>
              </a:ext>
            </a:extLst>
          </p:cNvPr>
          <p:cNvSpPr/>
          <p:nvPr/>
        </p:nvSpPr>
        <p:spPr>
          <a:xfrm>
            <a:off x="596153" y="1716741"/>
            <a:ext cx="342900" cy="2415989"/>
          </a:xfrm>
          <a:prstGeom prst="rect">
            <a:avLst/>
          </a:prstGeom>
          <a:noFill/>
          <a:ln w="28575" cap="rnd" cmpd="sng" algn="ctr">
            <a:solidFill>
              <a:srgbClr val="FF8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TextBox 10">
            <a:extLst>
              <a:ext uri="{FF2B5EF4-FFF2-40B4-BE49-F238E27FC236}">
                <a16:creationId xmlns:a16="http://schemas.microsoft.com/office/drawing/2014/main" id="{A6F20F02-BD7A-4398-8CBB-C5E420FA8443}"/>
              </a:ext>
            </a:extLst>
          </p:cNvPr>
          <p:cNvSpPr txBox="1"/>
          <p:nvPr/>
        </p:nvSpPr>
        <p:spPr>
          <a:xfrm>
            <a:off x="1045751" y="846635"/>
            <a:ext cx="4694647" cy="307777"/>
          </a:xfrm>
          <a:prstGeom prst="rect">
            <a:avLst/>
          </a:prstGeom>
          <a:noFill/>
          <a:ln w="12700"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400" b="1">
                <a:solidFill>
                  <a:srgbClr val="FF8400"/>
                </a:solidFill>
              </a:rPr>
              <a:t>We took a log of the target variable for scaling</a:t>
            </a:r>
          </a:p>
        </p:txBody>
      </p:sp>
      <p:pic>
        <p:nvPicPr>
          <p:cNvPr id="7" name="Graphic 7" descr="Line arrow: Clockwise curve with solid fill">
            <a:extLst>
              <a:ext uri="{FF2B5EF4-FFF2-40B4-BE49-F238E27FC236}">
                <a16:creationId xmlns:a16="http://schemas.microsoft.com/office/drawing/2014/main" id="{7F5D9E48-B08B-444C-A287-52FEDFFC1C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3600000">
            <a:off x="582273" y="1112448"/>
            <a:ext cx="614218" cy="614218"/>
          </a:xfrm>
          <a:prstGeom prst="rect">
            <a:avLst/>
          </a:prstGeom>
        </p:spPr>
      </p:pic>
    </p:spTree>
    <p:extLst>
      <p:ext uri="{BB962C8B-B14F-4D97-AF65-F5344CB8AC3E}">
        <p14:creationId xmlns:p14="http://schemas.microsoft.com/office/powerpoint/2010/main" val="40843669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descr="Chart, line chart&#10;&#10;Description automatically generated">
            <a:extLst>
              <a:ext uri="{FF2B5EF4-FFF2-40B4-BE49-F238E27FC236}">
                <a16:creationId xmlns:a16="http://schemas.microsoft.com/office/drawing/2014/main" id="{BB0FEA3F-D819-4B77-A827-0CADCE750344}"/>
              </a:ext>
            </a:extLst>
          </p:cNvPr>
          <p:cNvPicPr>
            <a:picLocks noChangeAspect="1"/>
          </p:cNvPicPr>
          <p:nvPr/>
        </p:nvPicPr>
        <p:blipFill>
          <a:blip r:embed="rId3"/>
          <a:stretch>
            <a:fillRect/>
          </a:stretch>
        </p:blipFill>
        <p:spPr>
          <a:xfrm>
            <a:off x="141514" y="1212107"/>
            <a:ext cx="6128657" cy="3475844"/>
          </a:xfrm>
          <a:prstGeom prst="rect">
            <a:avLst/>
          </a:prstGeom>
        </p:spPr>
      </p:pic>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p:txBody>
          <a:bodyPr/>
          <a:lstStyle/>
          <a:p>
            <a:r>
              <a:rPr lang="en-SG"/>
              <a:t>Ridership Predictions for 1st Week of April 2021</a:t>
            </a:r>
          </a:p>
        </p:txBody>
      </p:sp>
      <p:sp>
        <p:nvSpPr>
          <p:cNvPr id="4" name="TextBox 3">
            <a:extLst>
              <a:ext uri="{FF2B5EF4-FFF2-40B4-BE49-F238E27FC236}">
                <a16:creationId xmlns:a16="http://schemas.microsoft.com/office/drawing/2014/main" id="{E46E2F92-A159-4912-84AA-DB46BFE3D9EB}"/>
              </a:ext>
            </a:extLst>
          </p:cNvPr>
          <p:cNvSpPr txBox="1"/>
          <p:nvPr/>
        </p:nvSpPr>
        <p:spPr>
          <a:xfrm>
            <a:off x="139241" y="4927266"/>
            <a:ext cx="1927629" cy="337944"/>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Weekly Predictions</a:t>
            </a:r>
            <a:endParaRPr lang="en-US"/>
          </a:p>
        </p:txBody>
      </p:sp>
      <p:sp>
        <p:nvSpPr>
          <p:cNvPr id="13" name="Rectangle 12">
            <a:extLst>
              <a:ext uri="{FF2B5EF4-FFF2-40B4-BE49-F238E27FC236}">
                <a16:creationId xmlns:a16="http://schemas.microsoft.com/office/drawing/2014/main" id="{FBC020E8-35CC-4608-825A-F2C3D7F17A69}"/>
              </a:ext>
            </a:extLst>
          </p:cNvPr>
          <p:cNvSpPr/>
          <p:nvPr/>
        </p:nvSpPr>
        <p:spPr>
          <a:xfrm>
            <a:off x="483727" y="1327980"/>
            <a:ext cx="873317" cy="3259143"/>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cxnSp>
        <p:nvCxnSpPr>
          <p:cNvPr id="15" name="Straight Arrow Connector 14">
            <a:extLst>
              <a:ext uri="{FF2B5EF4-FFF2-40B4-BE49-F238E27FC236}">
                <a16:creationId xmlns:a16="http://schemas.microsoft.com/office/drawing/2014/main" id="{2522F95F-F659-4F93-A324-7ADD484F38A6}"/>
              </a:ext>
            </a:extLst>
          </p:cNvPr>
          <p:cNvCxnSpPr/>
          <p:nvPr/>
        </p:nvCxnSpPr>
        <p:spPr>
          <a:xfrm>
            <a:off x="1926218" y="4870608"/>
            <a:ext cx="10099462" cy="786647"/>
          </a:xfrm>
          <a:prstGeom prst="straightConnector1">
            <a:avLst/>
          </a:prstGeom>
          <a:ln w="28575" cap="rnd">
            <a:solidFill>
              <a:srgbClr val="FF8C00"/>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1E24D10-25A9-42F6-B4A4-852E1CB8541C}"/>
              </a:ext>
            </a:extLst>
          </p:cNvPr>
          <p:cNvCxnSpPr>
            <a:cxnSpLocks/>
          </p:cNvCxnSpPr>
          <p:nvPr/>
        </p:nvCxnSpPr>
        <p:spPr>
          <a:xfrm>
            <a:off x="494030" y="4590616"/>
            <a:ext cx="5693607" cy="1088985"/>
          </a:xfrm>
          <a:prstGeom prst="straightConnector1">
            <a:avLst/>
          </a:prstGeom>
          <a:ln w="28575" cap="rnd">
            <a:solidFill>
              <a:srgbClr val="FF8C00"/>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D181DE7-5237-45A4-9F61-2873C0724F7B}"/>
              </a:ext>
            </a:extLst>
          </p:cNvPr>
          <p:cNvSpPr txBox="1"/>
          <p:nvPr/>
        </p:nvSpPr>
        <p:spPr>
          <a:xfrm>
            <a:off x="6200604" y="5853211"/>
            <a:ext cx="2747355" cy="326399"/>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Hourly Prediction for 1 Day</a:t>
            </a:r>
            <a:endParaRPr lang="en-US"/>
          </a:p>
        </p:txBody>
      </p:sp>
      <p:pic>
        <p:nvPicPr>
          <p:cNvPr id="9" name="Picture 9" descr="Chart, line chart&#10;&#10;Description automatically generated">
            <a:extLst>
              <a:ext uri="{FF2B5EF4-FFF2-40B4-BE49-F238E27FC236}">
                <a16:creationId xmlns:a16="http://schemas.microsoft.com/office/drawing/2014/main" id="{4808EF87-719E-4DC9-AB3F-F94B7F635A80}"/>
              </a:ext>
            </a:extLst>
          </p:cNvPr>
          <p:cNvPicPr>
            <a:picLocks noChangeAspect="1"/>
          </p:cNvPicPr>
          <p:nvPr/>
        </p:nvPicPr>
        <p:blipFill>
          <a:blip r:embed="rId4"/>
          <a:stretch>
            <a:fillRect/>
          </a:stretch>
        </p:blipFill>
        <p:spPr>
          <a:xfrm>
            <a:off x="6202461" y="2388642"/>
            <a:ext cx="5816255" cy="3391738"/>
          </a:xfrm>
          <a:prstGeom prst="rect">
            <a:avLst/>
          </a:prstGeom>
        </p:spPr>
      </p:pic>
      <p:sp>
        <p:nvSpPr>
          <p:cNvPr id="14" name="Rectangle 13">
            <a:extLst>
              <a:ext uri="{FF2B5EF4-FFF2-40B4-BE49-F238E27FC236}">
                <a16:creationId xmlns:a16="http://schemas.microsoft.com/office/drawing/2014/main" id="{DE96116D-A890-4EBF-BAFB-3F4B23F0096C}"/>
              </a:ext>
            </a:extLst>
          </p:cNvPr>
          <p:cNvSpPr/>
          <p:nvPr/>
        </p:nvSpPr>
        <p:spPr>
          <a:xfrm>
            <a:off x="6204489" y="2385980"/>
            <a:ext cx="5817188" cy="3397505"/>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10" name="TextBox 9">
            <a:extLst>
              <a:ext uri="{FF2B5EF4-FFF2-40B4-BE49-F238E27FC236}">
                <a16:creationId xmlns:a16="http://schemas.microsoft.com/office/drawing/2014/main" id="{D34D6A7A-78CE-4CCE-9DC5-BD86F4FD8AC4}"/>
              </a:ext>
            </a:extLst>
          </p:cNvPr>
          <p:cNvSpPr txBox="1"/>
          <p:nvPr/>
        </p:nvSpPr>
        <p:spPr>
          <a:xfrm rot="18900000">
            <a:off x="1311198" y="1558222"/>
            <a:ext cx="2431473"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FF8400"/>
                </a:solidFill>
              </a:rPr>
              <a:t>Good Friday (PH)</a:t>
            </a:r>
          </a:p>
        </p:txBody>
      </p:sp>
      <p:sp>
        <p:nvSpPr>
          <p:cNvPr id="16" name="TextBox 15">
            <a:extLst>
              <a:ext uri="{FF2B5EF4-FFF2-40B4-BE49-F238E27FC236}">
                <a16:creationId xmlns:a16="http://schemas.microsoft.com/office/drawing/2014/main" id="{9A8FC709-A485-422C-BA50-F810E51C8CD2}"/>
              </a:ext>
            </a:extLst>
          </p:cNvPr>
          <p:cNvSpPr txBox="1"/>
          <p:nvPr/>
        </p:nvSpPr>
        <p:spPr>
          <a:xfrm rot="-2700000">
            <a:off x="2080491" y="1443227"/>
            <a:ext cx="2743200"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FF8400"/>
                </a:solidFill>
              </a:rPr>
              <a:t>Saturday (Weekend)</a:t>
            </a:r>
          </a:p>
        </p:txBody>
      </p:sp>
    </p:spTree>
    <p:extLst>
      <p:ext uri="{BB962C8B-B14F-4D97-AF65-F5344CB8AC3E}">
        <p14:creationId xmlns:p14="http://schemas.microsoft.com/office/powerpoint/2010/main" val="12494184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435EA-AD4F-4934-83BC-D5D53AFD93E9}"/>
              </a:ext>
            </a:extLst>
          </p:cNvPr>
          <p:cNvSpPr>
            <a:spLocks noGrp="1"/>
          </p:cNvSpPr>
          <p:nvPr>
            <p:ph type="title"/>
          </p:nvPr>
        </p:nvSpPr>
        <p:spPr>
          <a:xfrm>
            <a:off x="630000" y="309453"/>
            <a:ext cx="10933350" cy="941796"/>
          </a:xfrm>
        </p:spPr>
        <p:txBody>
          <a:bodyPr/>
          <a:lstStyle/>
          <a:p>
            <a:r>
              <a:rPr lang="en-SG">
                <a:ea typeface="+mj-lt"/>
                <a:cs typeface="+mj-lt"/>
              </a:rPr>
              <a:t>Predicted Minimum Bus Frequency Required </a:t>
            </a:r>
            <a:br>
              <a:rPr lang="en-SG">
                <a:ea typeface="+mj-lt"/>
                <a:cs typeface="+mj-lt"/>
              </a:rPr>
            </a:br>
            <a:r>
              <a:rPr lang="en-SG">
                <a:ea typeface="+mj-lt"/>
                <a:cs typeface="+mj-lt"/>
              </a:rPr>
              <a:t>on 1st April 2021</a:t>
            </a:r>
            <a:endParaRPr lang="en-US"/>
          </a:p>
        </p:txBody>
      </p:sp>
      <p:sp>
        <p:nvSpPr>
          <p:cNvPr id="12" name="TextBox 11">
            <a:extLst>
              <a:ext uri="{FF2B5EF4-FFF2-40B4-BE49-F238E27FC236}">
                <a16:creationId xmlns:a16="http://schemas.microsoft.com/office/drawing/2014/main" id="{AAEC2426-37C0-4083-9090-89DDF94F295F}"/>
              </a:ext>
            </a:extLst>
          </p:cNvPr>
          <p:cNvSpPr txBox="1"/>
          <p:nvPr/>
        </p:nvSpPr>
        <p:spPr>
          <a:xfrm>
            <a:off x="9805628" y="1818480"/>
            <a:ext cx="2050025" cy="4356869"/>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Legend</a:t>
            </a:r>
          </a:p>
        </p:txBody>
      </p:sp>
      <p:sp>
        <p:nvSpPr>
          <p:cNvPr id="9" name="TextBox 8">
            <a:extLst>
              <a:ext uri="{FF2B5EF4-FFF2-40B4-BE49-F238E27FC236}">
                <a16:creationId xmlns:a16="http://schemas.microsoft.com/office/drawing/2014/main" id="{E953D56B-E197-4EF3-86AC-EB83FF562830}"/>
              </a:ext>
            </a:extLst>
          </p:cNvPr>
          <p:cNvSpPr txBox="1"/>
          <p:nvPr/>
        </p:nvSpPr>
        <p:spPr>
          <a:xfrm>
            <a:off x="10200085" y="3047195"/>
            <a:ext cx="1530816"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Additional buffer of </a:t>
            </a:r>
            <a:r>
              <a:rPr lang="en-US" sz="1200" b="1">
                <a:solidFill>
                  <a:srgbClr val="1C2449"/>
                </a:solidFill>
              </a:rPr>
              <a:t>16.25% </a:t>
            </a:r>
            <a:r>
              <a:rPr lang="en-US" sz="1200">
                <a:solidFill>
                  <a:srgbClr val="1C2449"/>
                </a:solidFill>
              </a:rPr>
              <a:t>according to MAPE Value in Prediction Model</a:t>
            </a:r>
          </a:p>
        </p:txBody>
      </p:sp>
      <p:sp>
        <p:nvSpPr>
          <p:cNvPr id="10" name="Rectangle 9">
            <a:extLst>
              <a:ext uri="{FF2B5EF4-FFF2-40B4-BE49-F238E27FC236}">
                <a16:creationId xmlns:a16="http://schemas.microsoft.com/office/drawing/2014/main" id="{A949E116-7148-4CA9-A41F-83DB47255D80}"/>
              </a:ext>
            </a:extLst>
          </p:cNvPr>
          <p:cNvSpPr/>
          <p:nvPr/>
        </p:nvSpPr>
        <p:spPr>
          <a:xfrm>
            <a:off x="9984361" y="3117893"/>
            <a:ext cx="224884" cy="568094"/>
          </a:xfrm>
          <a:prstGeom prst="rect">
            <a:avLst/>
          </a:prstGeom>
          <a:solidFill>
            <a:srgbClr val="FF8C00"/>
          </a:solidFill>
          <a:ln w="952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4" name="Picture 4" descr="Chart, line chart&#10;&#10;Description automatically generated">
            <a:extLst>
              <a:ext uri="{FF2B5EF4-FFF2-40B4-BE49-F238E27FC236}">
                <a16:creationId xmlns:a16="http://schemas.microsoft.com/office/drawing/2014/main" id="{A250FD57-6309-4718-A617-85A0EA99B27E}"/>
              </a:ext>
            </a:extLst>
          </p:cNvPr>
          <p:cNvPicPr>
            <a:picLocks noChangeAspect="1"/>
          </p:cNvPicPr>
          <p:nvPr/>
        </p:nvPicPr>
        <p:blipFill>
          <a:blip r:embed="rId3"/>
          <a:stretch>
            <a:fillRect/>
          </a:stretch>
        </p:blipFill>
        <p:spPr>
          <a:xfrm>
            <a:off x="631093" y="1815119"/>
            <a:ext cx="8985738" cy="4439144"/>
          </a:xfrm>
          <a:prstGeom prst="rect">
            <a:avLst/>
          </a:prstGeom>
        </p:spPr>
      </p:pic>
      <p:sp>
        <p:nvSpPr>
          <p:cNvPr id="19" name="TextBox 18">
            <a:extLst>
              <a:ext uri="{FF2B5EF4-FFF2-40B4-BE49-F238E27FC236}">
                <a16:creationId xmlns:a16="http://schemas.microsoft.com/office/drawing/2014/main" id="{3AD73E51-E951-474F-9A5D-F6D82A01A37E}"/>
              </a:ext>
            </a:extLst>
          </p:cNvPr>
          <p:cNvSpPr txBox="1"/>
          <p:nvPr/>
        </p:nvSpPr>
        <p:spPr>
          <a:xfrm>
            <a:off x="10200085" y="2299413"/>
            <a:ext cx="153081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Predicted </a:t>
            </a:r>
            <a:endParaRPr lang="en-US"/>
          </a:p>
          <a:p>
            <a:r>
              <a:rPr lang="en-US" sz="1200">
                <a:solidFill>
                  <a:srgbClr val="1C2449"/>
                </a:solidFill>
              </a:rPr>
              <a:t>Ridership</a:t>
            </a:r>
            <a:endParaRPr lang="en-US"/>
          </a:p>
        </p:txBody>
      </p:sp>
      <p:sp>
        <p:nvSpPr>
          <p:cNvPr id="20" name="Rectangle 19">
            <a:extLst>
              <a:ext uri="{FF2B5EF4-FFF2-40B4-BE49-F238E27FC236}">
                <a16:creationId xmlns:a16="http://schemas.microsoft.com/office/drawing/2014/main" id="{15B8A76D-FA13-4296-BC22-4279F19678FE}"/>
              </a:ext>
            </a:extLst>
          </p:cNvPr>
          <p:cNvSpPr/>
          <p:nvPr/>
        </p:nvSpPr>
        <p:spPr>
          <a:xfrm>
            <a:off x="9984361" y="2295735"/>
            <a:ext cx="224884" cy="568094"/>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Rectangle 20">
            <a:extLst>
              <a:ext uri="{FF2B5EF4-FFF2-40B4-BE49-F238E27FC236}">
                <a16:creationId xmlns:a16="http://schemas.microsoft.com/office/drawing/2014/main" id="{0F3AB545-8B7B-4F3B-BCAB-1B2065C8A613}"/>
              </a:ext>
            </a:extLst>
          </p:cNvPr>
          <p:cNvSpPr/>
          <p:nvPr/>
        </p:nvSpPr>
        <p:spPr>
          <a:xfrm>
            <a:off x="9984360" y="4040313"/>
            <a:ext cx="224884" cy="568094"/>
          </a:xfrm>
          <a:prstGeom prst="rect">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2" name="TextBox 21">
            <a:extLst>
              <a:ext uri="{FF2B5EF4-FFF2-40B4-BE49-F238E27FC236}">
                <a16:creationId xmlns:a16="http://schemas.microsoft.com/office/drawing/2014/main" id="{F5EDEB65-A697-4CE2-A547-919E61D07AEA}"/>
              </a:ext>
            </a:extLst>
          </p:cNvPr>
          <p:cNvSpPr txBox="1"/>
          <p:nvPr/>
        </p:nvSpPr>
        <p:spPr>
          <a:xfrm>
            <a:off x="10200085" y="4033965"/>
            <a:ext cx="153081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Predicted Minimum Bus Frequency</a:t>
            </a:r>
            <a:endParaRPr lang="en-US"/>
          </a:p>
        </p:txBody>
      </p:sp>
      <p:grpSp>
        <p:nvGrpSpPr>
          <p:cNvPr id="6" name="Group 5">
            <a:extLst>
              <a:ext uri="{FF2B5EF4-FFF2-40B4-BE49-F238E27FC236}">
                <a16:creationId xmlns:a16="http://schemas.microsoft.com/office/drawing/2014/main" id="{59B1B3B7-FA33-4D9C-A1BA-AA07B2AE00BB}"/>
              </a:ext>
            </a:extLst>
          </p:cNvPr>
          <p:cNvGrpSpPr/>
          <p:nvPr/>
        </p:nvGrpSpPr>
        <p:grpSpPr>
          <a:xfrm>
            <a:off x="4250533" y="1018327"/>
            <a:ext cx="7009898" cy="2798161"/>
            <a:chOff x="4250533" y="1018327"/>
            <a:chExt cx="7009898" cy="2798161"/>
          </a:xfrm>
        </p:grpSpPr>
        <p:sp>
          <p:nvSpPr>
            <p:cNvPr id="17" name="Oval 16">
              <a:extLst>
                <a:ext uri="{FF2B5EF4-FFF2-40B4-BE49-F238E27FC236}">
                  <a16:creationId xmlns:a16="http://schemas.microsoft.com/office/drawing/2014/main" id="{6FDF350C-C97C-400B-B87D-6901DDEB82E0}"/>
                </a:ext>
              </a:extLst>
            </p:cNvPr>
            <p:cNvSpPr/>
            <p:nvPr/>
          </p:nvSpPr>
          <p:spPr>
            <a:xfrm>
              <a:off x="4250533" y="2180194"/>
              <a:ext cx="914400" cy="914400"/>
            </a:xfrm>
            <a:prstGeom prst="ellipse">
              <a:avLst/>
            </a:prstGeom>
            <a:noFill/>
            <a:ln w="57150"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Oval 17">
              <a:extLst>
                <a:ext uri="{FF2B5EF4-FFF2-40B4-BE49-F238E27FC236}">
                  <a16:creationId xmlns:a16="http://schemas.microsoft.com/office/drawing/2014/main" id="{3C4A1E42-C144-4D19-AD56-DC9E3BC28DA6}"/>
                </a:ext>
              </a:extLst>
            </p:cNvPr>
            <p:cNvSpPr/>
            <p:nvPr/>
          </p:nvSpPr>
          <p:spPr>
            <a:xfrm>
              <a:off x="6095375" y="2902088"/>
              <a:ext cx="914400" cy="914400"/>
            </a:xfrm>
            <a:prstGeom prst="ellipse">
              <a:avLst/>
            </a:prstGeom>
            <a:noFill/>
            <a:ln w="57150"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5" name="Straight Arrow Connector 24">
              <a:extLst>
                <a:ext uri="{FF2B5EF4-FFF2-40B4-BE49-F238E27FC236}">
                  <a16:creationId xmlns:a16="http://schemas.microsoft.com/office/drawing/2014/main" id="{86C75B88-0208-4015-B9DF-BF70E495BB7A}"/>
                </a:ext>
              </a:extLst>
            </p:cNvPr>
            <p:cNvCxnSpPr/>
            <p:nvPr/>
          </p:nvCxnSpPr>
          <p:spPr>
            <a:xfrm flipV="1">
              <a:off x="5147889" y="1495397"/>
              <a:ext cx="1586162" cy="900363"/>
            </a:xfrm>
            <a:prstGeom prst="straightConnector1">
              <a:avLst/>
            </a:prstGeom>
            <a:ln w="57150" cap="rnd">
              <a:solidFill>
                <a:schemeClr val="accent3"/>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264CA08-D5C3-4CB2-AD5C-F07158DF5983}"/>
                </a:ext>
              </a:extLst>
            </p:cNvPr>
            <p:cNvCxnSpPr>
              <a:cxnSpLocks/>
            </p:cNvCxnSpPr>
            <p:nvPr/>
          </p:nvCxnSpPr>
          <p:spPr>
            <a:xfrm flipV="1">
              <a:off x="6601706" y="1495399"/>
              <a:ext cx="152398" cy="1371597"/>
            </a:xfrm>
            <a:prstGeom prst="straightConnector1">
              <a:avLst/>
            </a:prstGeom>
            <a:ln w="57150" cap="rnd">
              <a:solidFill>
                <a:schemeClr val="accent3"/>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CFD4D3C-02DB-4109-AE1E-9B21315DB83D}"/>
                </a:ext>
              </a:extLst>
            </p:cNvPr>
            <p:cNvSpPr txBox="1"/>
            <p:nvPr/>
          </p:nvSpPr>
          <p:spPr>
            <a:xfrm>
              <a:off x="6782679" y="1018327"/>
              <a:ext cx="4477752"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Difference in minimum required bus frequency due to the peaks in demand</a:t>
              </a:r>
            </a:p>
          </p:txBody>
        </p:sp>
      </p:grpSp>
      <p:grpSp>
        <p:nvGrpSpPr>
          <p:cNvPr id="3" name="Group 2">
            <a:extLst>
              <a:ext uri="{FF2B5EF4-FFF2-40B4-BE49-F238E27FC236}">
                <a16:creationId xmlns:a16="http://schemas.microsoft.com/office/drawing/2014/main" id="{3C647BC6-D86E-4327-A9F1-DF57F60FD454}"/>
              </a:ext>
            </a:extLst>
          </p:cNvPr>
          <p:cNvGrpSpPr/>
          <p:nvPr/>
        </p:nvGrpSpPr>
        <p:grpSpPr>
          <a:xfrm>
            <a:off x="1388020" y="4140338"/>
            <a:ext cx="10354803" cy="1701781"/>
            <a:chOff x="1388020" y="4140338"/>
            <a:chExt cx="10354803" cy="1701781"/>
          </a:xfrm>
        </p:grpSpPr>
        <p:cxnSp>
          <p:nvCxnSpPr>
            <p:cNvPr id="11" name="Straight Arrow Connector 10">
              <a:extLst>
                <a:ext uri="{FF2B5EF4-FFF2-40B4-BE49-F238E27FC236}">
                  <a16:creationId xmlns:a16="http://schemas.microsoft.com/office/drawing/2014/main" id="{B100C871-1F8E-44FA-9A22-E49497F4DD19}"/>
                </a:ext>
              </a:extLst>
            </p:cNvPr>
            <p:cNvCxnSpPr>
              <a:cxnSpLocks/>
            </p:cNvCxnSpPr>
            <p:nvPr/>
          </p:nvCxnSpPr>
          <p:spPr>
            <a:xfrm>
              <a:off x="4255546" y="4160392"/>
              <a:ext cx="1836820" cy="2005"/>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cxnSp>
          <p:nvCxnSpPr>
            <p:cNvPr id="13" name="Straight Arrow Connector 12">
              <a:extLst>
                <a:ext uri="{FF2B5EF4-FFF2-40B4-BE49-F238E27FC236}">
                  <a16:creationId xmlns:a16="http://schemas.microsoft.com/office/drawing/2014/main" id="{CFBA535F-E821-437D-8FB9-B7C83F0FE8CA}"/>
                </a:ext>
              </a:extLst>
            </p:cNvPr>
            <p:cNvCxnSpPr>
              <a:cxnSpLocks/>
            </p:cNvCxnSpPr>
            <p:nvPr/>
          </p:nvCxnSpPr>
          <p:spPr>
            <a:xfrm>
              <a:off x="6561597" y="4922391"/>
              <a:ext cx="2338135" cy="2005"/>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cxnSp>
          <p:nvCxnSpPr>
            <p:cNvPr id="14" name="Straight Arrow Connector 13">
              <a:extLst>
                <a:ext uri="{FF2B5EF4-FFF2-40B4-BE49-F238E27FC236}">
                  <a16:creationId xmlns:a16="http://schemas.microsoft.com/office/drawing/2014/main" id="{93D321C6-8EC7-46E9-B13D-F842EC617678}"/>
                </a:ext>
              </a:extLst>
            </p:cNvPr>
            <p:cNvCxnSpPr>
              <a:cxnSpLocks/>
            </p:cNvCxnSpPr>
            <p:nvPr/>
          </p:nvCxnSpPr>
          <p:spPr>
            <a:xfrm>
              <a:off x="6090361" y="4140338"/>
              <a:ext cx="483267" cy="804109"/>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cxnSp>
          <p:nvCxnSpPr>
            <p:cNvPr id="15" name="Straight Arrow Connector 14">
              <a:extLst>
                <a:ext uri="{FF2B5EF4-FFF2-40B4-BE49-F238E27FC236}">
                  <a16:creationId xmlns:a16="http://schemas.microsoft.com/office/drawing/2014/main" id="{0F061DD2-0F3A-4495-B4F4-9E94EF93F1CE}"/>
                </a:ext>
              </a:extLst>
            </p:cNvPr>
            <p:cNvCxnSpPr>
              <a:cxnSpLocks/>
            </p:cNvCxnSpPr>
            <p:nvPr/>
          </p:nvCxnSpPr>
          <p:spPr>
            <a:xfrm flipH="1">
              <a:off x="3766260" y="4140338"/>
              <a:ext cx="499311" cy="804109"/>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sp>
          <p:nvSpPr>
            <p:cNvPr id="23" name="TextBox 22">
              <a:extLst>
                <a:ext uri="{FF2B5EF4-FFF2-40B4-BE49-F238E27FC236}">
                  <a16:creationId xmlns:a16="http://schemas.microsoft.com/office/drawing/2014/main" id="{41AFB02C-DB44-4F3C-812B-7D52A88090A6}"/>
                </a:ext>
              </a:extLst>
            </p:cNvPr>
            <p:cNvSpPr txBox="1"/>
            <p:nvPr/>
          </p:nvSpPr>
          <p:spPr>
            <a:xfrm>
              <a:off x="10212007" y="4826456"/>
              <a:ext cx="1530816" cy="10156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Actual Weekday Minimum Bus Frequency Required (Derived from EDA)</a:t>
              </a:r>
              <a:endParaRPr lang="en-US"/>
            </a:p>
          </p:txBody>
        </p:sp>
        <p:sp>
          <p:nvSpPr>
            <p:cNvPr id="24" name="Rectangle 23">
              <a:extLst>
                <a:ext uri="{FF2B5EF4-FFF2-40B4-BE49-F238E27FC236}">
                  <a16:creationId xmlns:a16="http://schemas.microsoft.com/office/drawing/2014/main" id="{C02F7E63-1F01-4B53-821F-57BEDFD3D2A7}"/>
                </a:ext>
              </a:extLst>
            </p:cNvPr>
            <p:cNvSpPr/>
            <p:nvPr/>
          </p:nvSpPr>
          <p:spPr>
            <a:xfrm>
              <a:off x="9984738" y="4888009"/>
              <a:ext cx="224884" cy="568094"/>
            </a:xfrm>
            <a:prstGeom prst="rect">
              <a:avLst/>
            </a:prstGeom>
            <a:solidFill>
              <a:schemeClr val="accent3"/>
            </a:solid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5" name="Straight Arrow Connector 4">
              <a:extLst>
                <a:ext uri="{FF2B5EF4-FFF2-40B4-BE49-F238E27FC236}">
                  <a16:creationId xmlns:a16="http://schemas.microsoft.com/office/drawing/2014/main" id="{42CC447C-FCA3-4440-AFAC-074CA9387369}"/>
                </a:ext>
              </a:extLst>
            </p:cNvPr>
            <p:cNvCxnSpPr/>
            <p:nvPr/>
          </p:nvCxnSpPr>
          <p:spPr>
            <a:xfrm flipV="1">
              <a:off x="1388020" y="4924397"/>
              <a:ext cx="2428372" cy="18047"/>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grpSp>
    </p:spTree>
    <p:extLst>
      <p:ext uri="{BB962C8B-B14F-4D97-AF65-F5344CB8AC3E}">
        <p14:creationId xmlns:p14="http://schemas.microsoft.com/office/powerpoint/2010/main" val="41593896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99C9A4-8C8B-43CC-B77D-B8C58575D4DE}"/>
              </a:ext>
            </a:extLst>
          </p:cNvPr>
          <p:cNvSpPr/>
          <p:nvPr/>
        </p:nvSpPr>
        <p:spPr>
          <a:xfrm>
            <a:off x="7555831" y="1494073"/>
            <a:ext cx="4116073" cy="2185978"/>
          </a:xfrm>
          <a:prstGeom prst="rect">
            <a:avLst/>
          </a:prstGeom>
          <a:solidFill>
            <a:schemeClr val="bg1"/>
          </a:solidFill>
          <a:ln w="2857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25" name="Rectangle 24">
            <a:extLst>
              <a:ext uri="{FF2B5EF4-FFF2-40B4-BE49-F238E27FC236}">
                <a16:creationId xmlns:a16="http://schemas.microsoft.com/office/drawing/2014/main" id="{F2D8752B-46CF-482C-9E54-5BF79DDF6A1D}"/>
              </a:ext>
            </a:extLst>
          </p:cNvPr>
          <p:cNvSpPr/>
          <p:nvPr/>
        </p:nvSpPr>
        <p:spPr>
          <a:xfrm>
            <a:off x="880808" y="2085905"/>
            <a:ext cx="6036925" cy="3896693"/>
          </a:xfrm>
          <a:prstGeom prst="rect">
            <a:avLst/>
          </a:prstGeom>
          <a:solidFill>
            <a:schemeClr val="bg1"/>
          </a:solidFill>
          <a:ln w="2857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pic>
        <p:nvPicPr>
          <p:cNvPr id="2" name="Picture 1" descr="Graphical user interface, application&#10;&#10;Description automatically generated">
            <a:extLst>
              <a:ext uri="{FF2B5EF4-FFF2-40B4-BE49-F238E27FC236}">
                <a16:creationId xmlns:a16="http://schemas.microsoft.com/office/drawing/2014/main" id="{D0C0A48E-43AC-4647-84A5-DAC9A37420F4}"/>
              </a:ext>
            </a:extLst>
          </p:cNvPr>
          <p:cNvPicPr>
            <a:picLocks noChangeAspect="1"/>
          </p:cNvPicPr>
          <p:nvPr/>
        </p:nvPicPr>
        <p:blipFill rotWithShape="1">
          <a:blip r:embed="rId3"/>
          <a:srcRect l="93" t="1113" r="25046" b="186"/>
          <a:stretch/>
        </p:blipFill>
        <p:spPr>
          <a:xfrm>
            <a:off x="934597" y="2112603"/>
            <a:ext cx="5805249" cy="3843574"/>
          </a:xfrm>
          <a:prstGeom prst="rect">
            <a:avLst/>
          </a:prstGeom>
        </p:spPr>
      </p:pic>
      <p:pic>
        <p:nvPicPr>
          <p:cNvPr id="6" name="Picture 5" descr="Graphical user interface, application&#10;&#10;Description automatically generated">
            <a:extLst>
              <a:ext uri="{FF2B5EF4-FFF2-40B4-BE49-F238E27FC236}">
                <a16:creationId xmlns:a16="http://schemas.microsoft.com/office/drawing/2014/main" id="{EF6EAEC0-2A43-4308-9642-0428A55E7A00}"/>
              </a:ext>
            </a:extLst>
          </p:cNvPr>
          <p:cNvPicPr>
            <a:picLocks noChangeAspect="1"/>
          </p:cNvPicPr>
          <p:nvPr/>
        </p:nvPicPr>
        <p:blipFill rotWithShape="1">
          <a:blip r:embed="rId4"/>
          <a:srcRect l="8726" t="24049" r="7330" b="52697"/>
          <a:stretch/>
        </p:blipFill>
        <p:spPr>
          <a:xfrm>
            <a:off x="7615275" y="1497141"/>
            <a:ext cx="3986016" cy="2180979"/>
          </a:xfrm>
          <a:prstGeom prst="rect">
            <a:avLst/>
          </a:prstGeom>
        </p:spPr>
      </p:pic>
      <p:sp>
        <p:nvSpPr>
          <p:cNvPr id="15" name="Title 1">
            <a:extLst>
              <a:ext uri="{FF2B5EF4-FFF2-40B4-BE49-F238E27FC236}">
                <a16:creationId xmlns:a16="http://schemas.microsoft.com/office/drawing/2014/main" id="{EA512C5C-B61E-4EDE-A2CD-308BFA2920DA}"/>
              </a:ext>
            </a:extLst>
          </p:cNvPr>
          <p:cNvSpPr>
            <a:spLocks noGrp="1"/>
          </p:cNvSpPr>
          <p:nvPr>
            <p:ph type="title"/>
          </p:nvPr>
        </p:nvSpPr>
        <p:spPr>
          <a:xfrm>
            <a:off x="630000" y="622800"/>
            <a:ext cx="10933350" cy="747897"/>
          </a:xfrm>
        </p:spPr>
        <p:txBody>
          <a:bodyPr/>
          <a:lstStyle/>
          <a:p>
            <a:r>
              <a:rPr lang="en-SG">
                <a:solidFill>
                  <a:srgbClr val="002060"/>
                </a:solidFill>
              </a:rPr>
              <a:t>Adding new features in existing Sentosa App</a:t>
            </a:r>
            <a:br>
              <a:rPr lang="en-SG"/>
            </a:br>
            <a:r>
              <a:rPr lang="en-US" sz="2000">
                <a:solidFill>
                  <a:srgbClr val="002060"/>
                </a:solidFill>
                <a:ea typeface="+mj-lt"/>
                <a:cs typeface="+mj-lt"/>
              </a:rPr>
              <a:t>Shuttle bus services, real time bus arrival and its occupancy</a:t>
            </a:r>
            <a:endParaRPr lang="en-US" sz="2000">
              <a:solidFill>
                <a:srgbClr val="002060"/>
              </a:solidFill>
            </a:endParaRPr>
          </a:p>
        </p:txBody>
      </p:sp>
      <p:sp>
        <p:nvSpPr>
          <p:cNvPr id="19" name="TextBox 18">
            <a:extLst>
              <a:ext uri="{FF2B5EF4-FFF2-40B4-BE49-F238E27FC236}">
                <a16:creationId xmlns:a16="http://schemas.microsoft.com/office/drawing/2014/main" id="{950C64E7-6661-4AEA-8068-716AD3707128}"/>
              </a:ext>
            </a:extLst>
          </p:cNvPr>
          <p:cNvSpPr txBox="1"/>
          <p:nvPr/>
        </p:nvSpPr>
        <p:spPr>
          <a:xfrm>
            <a:off x="7551235" y="1242809"/>
            <a:ext cx="4139525" cy="279635"/>
          </a:xfrm>
          <a:prstGeom prst="rect">
            <a:avLst/>
          </a:prstGeom>
          <a:solidFill>
            <a:schemeClr val="tx1"/>
          </a:solid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100" b="1">
                <a:solidFill>
                  <a:srgbClr val="FFFFFF"/>
                </a:solidFill>
              </a:rPr>
              <a:t>Current Design – Missing time of arrival &amp; available capacity</a:t>
            </a:r>
            <a:endParaRPr lang="en-US" sz="1100" err="1"/>
          </a:p>
        </p:txBody>
      </p:sp>
      <p:sp>
        <p:nvSpPr>
          <p:cNvPr id="18" name="TextBox 17">
            <a:extLst>
              <a:ext uri="{FF2B5EF4-FFF2-40B4-BE49-F238E27FC236}">
                <a16:creationId xmlns:a16="http://schemas.microsoft.com/office/drawing/2014/main" id="{83C6C493-EE06-4670-B1AB-91DD5175B793}"/>
              </a:ext>
            </a:extLst>
          </p:cNvPr>
          <p:cNvSpPr txBox="1"/>
          <p:nvPr/>
        </p:nvSpPr>
        <p:spPr>
          <a:xfrm>
            <a:off x="852083" y="1819910"/>
            <a:ext cx="6058242" cy="266036"/>
          </a:xfrm>
          <a:prstGeom prst="rect">
            <a:avLst/>
          </a:prstGeom>
          <a:solidFill>
            <a:srgbClr val="002060"/>
          </a:solid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b="1">
                <a:solidFill>
                  <a:schemeClr val="bg1"/>
                </a:solidFill>
              </a:rPr>
              <a:t>Proposed Wireframes</a:t>
            </a:r>
            <a:endParaRPr lang="en-US">
              <a:solidFill>
                <a:schemeClr val="bg1"/>
              </a:solidFill>
            </a:endParaRPr>
          </a:p>
        </p:txBody>
      </p:sp>
      <p:sp>
        <p:nvSpPr>
          <p:cNvPr id="20" name="Oval 19">
            <a:extLst>
              <a:ext uri="{FF2B5EF4-FFF2-40B4-BE49-F238E27FC236}">
                <a16:creationId xmlns:a16="http://schemas.microsoft.com/office/drawing/2014/main" id="{64A6A166-6CE6-41F0-99B2-FC47AF50CD6C}"/>
              </a:ext>
            </a:extLst>
          </p:cNvPr>
          <p:cNvSpPr/>
          <p:nvPr/>
        </p:nvSpPr>
        <p:spPr>
          <a:xfrm>
            <a:off x="756324" y="6107997"/>
            <a:ext cx="275709" cy="288854"/>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rPr>
              <a:t>1</a:t>
            </a:r>
          </a:p>
        </p:txBody>
      </p:sp>
      <p:sp>
        <p:nvSpPr>
          <p:cNvPr id="23" name="Oval 22">
            <a:extLst>
              <a:ext uri="{FF2B5EF4-FFF2-40B4-BE49-F238E27FC236}">
                <a16:creationId xmlns:a16="http://schemas.microsoft.com/office/drawing/2014/main" id="{2E06316D-D669-4187-8235-1A4EE0D9868B}"/>
              </a:ext>
            </a:extLst>
          </p:cNvPr>
          <p:cNvSpPr/>
          <p:nvPr/>
        </p:nvSpPr>
        <p:spPr>
          <a:xfrm>
            <a:off x="2897203" y="6107995"/>
            <a:ext cx="275709" cy="288854"/>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rPr>
              <a:t>2</a:t>
            </a:r>
          </a:p>
        </p:txBody>
      </p:sp>
      <p:sp>
        <p:nvSpPr>
          <p:cNvPr id="24" name="Oval 23">
            <a:extLst>
              <a:ext uri="{FF2B5EF4-FFF2-40B4-BE49-F238E27FC236}">
                <a16:creationId xmlns:a16="http://schemas.microsoft.com/office/drawing/2014/main" id="{CEFC4E90-FB9D-4E3E-86B1-5712D705BC99}"/>
              </a:ext>
            </a:extLst>
          </p:cNvPr>
          <p:cNvSpPr/>
          <p:nvPr/>
        </p:nvSpPr>
        <p:spPr>
          <a:xfrm>
            <a:off x="4755144" y="6115654"/>
            <a:ext cx="275709" cy="288854"/>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rPr>
              <a:t>3</a:t>
            </a:r>
          </a:p>
        </p:txBody>
      </p:sp>
      <p:sp>
        <p:nvSpPr>
          <p:cNvPr id="16" name="TextBox 15">
            <a:extLst>
              <a:ext uri="{FF2B5EF4-FFF2-40B4-BE49-F238E27FC236}">
                <a16:creationId xmlns:a16="http://schemas.microsoft.com/office/drawing/2014/main" id="{C5929122-1CD8-4F76-B666-CD1876A444F2}"/>
              </a:ext>
            </a:extLst>
          </p:cNvPr>
          <p:cNvSpPr txBox="1"/>
          <p:nvPr/>
        </p:nvSpPr>
        <p:spPr>
          <a:xfrm>
            <a:off x="1032793" y="6066240"/>
            <a:ext cx="1574577" cy="367351"/>
          </a:xfrm>
          <a:prstGeom prst="rect">
            <a:avLst/>
          </a:prstGeom>
          <a:no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100" b="1">
                <a:solidFill>
                  <a:srgbClr val="002060"/>
                </a:solidFill>
              </a:rPr>
              <a:t>Include Sentosa Shuttle bus Services</a:t>
            </a:r>
            <a:endParaRPr lang="en-US" sz="1600">
              <a:solidFill>
                <a:srgbClr val="002060"/>
              </a:solidFill>
            </a:endParaRPr>
          </a:p>
        </p:txBody>
      </p:sp>
      <p:sp>
        <p:nvSpPr>
          <p:cNvPr id="17" name="TextBox 16">
            <a:extLst>
              <a:ext uri="{FF2B5EF4-FFF2-40B4-BE49-F238E27FC236}">
                <a16:creationId xmlns:a16="http://schemas.microsoft.com/office/drawing/2014/main" id="{B0B180E1-89CE-47E9-9BE8-885E81BBC262}"/>
              </a:ext>
            </a:extLst>
          </p:cNvPr>
          <p:cNvSpPr txBox="1"/>
          <p:nvPr/>
        </p:nvSpPr>
        <p:spPr>
          <a:xfrm>
            <a:off x="3148923" y="6065853"/>
            <a:ext cx="1652832" cy="478374"/>
          </a:xfrm>
          <a:prstGeom prst="rect">
            <a:avLst/>
          </a:prstGeom>
          <a:no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100" b="1">
                <a:solidFill>
                  <a:srgbClr val="002060"/>
                </a:solidFill>
              </a:rPr>
              <a:t>Include additional info page on the available routes</a:t>
            </a:r>
          </a:p>
        </p:txBody>
      </p:sp>
      <p:sp>
        <p:nvSpPr>
          <p:cNvPr id="21" name="TextBox 20">
            <a:extLst>
              <a:ext uri="{FF2B5EF4-FFF2-40B4-BE49-F238E27FC236}">
                <a16:creationId xmlns:a16="http://schemas.microsoft.com/office/drawing/2014/main" id="{3B725847-CDC2-41AB-A059-69A3E5F93F82}"/>
              </a:ext>
            </a:extLst>
          </p:cNvPr>
          <p:cNvSpPr txBox="1"/>
          <p:nvPr/>
        </p:nvSpPr>
        <p:spPr>
          <a:xfrm>
            <a:off x="5035260" y="6028681"/>
            <a:ext cx="2112184" cy="460180"/>
          </a:xfrm>
          <a:prstGeom prst="rect">
            <a:avLst/>
          </a:prstGeom>
          <a:no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100" b="1">
                <a:solidFill>
                  <a:srgbClr val="002060"/>
                </a:solidFill>
              </a:rPr>
              <a:t>Include breakdown of bus arrival time and bus capacity</a:t>
            </a:r>
            <a:endParaRPr lang="en-US">
              <a:solidFill>
                <a:srgbClr val="002060"/>
              </a:solidFill>
            </a:endParaRPr>
          </a:p>
        </p:txBody>
      </p:sp>
      <p:sp>
        <p:nvSpPr>
          <p:cNvPr id="32" name="Oval 31">
            <a:extLst>
              <a:ext uri="{FF2B5EF4-FFF2-40B4-BE49-F238E27FC236}">
                <a16:creationId xmlns:a16="http://schemas.microsoft.com/office/drawing/2014/main" id="{643819E7-FC5A-44D2-A6BA-F2C1071FA836}"/>
              </a:ext>
            </a:extLst>
          </p:cNvPr>
          <p:cNvSpPr/>
          <p:nvPr/>
        </p:nvSpPr>
        <p:spPr>
          <a:xfrm>
            <a:off x="7486928" y="3074804"/>
            <a:ext cx="2486135" cy="391922"/>
          </a:xfrm>
          <a:prstGeom prst="ellipse">
            <a:avLst/>
          </a:prstGeom>
          <a:noFill/>
          <a:ln w="28575"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3" name="Rectangle 32">
            <a:extLst>
              <a:ext uri="{FF2B5EF4-FFF2-40B4-BE49-F238E27FC236}">
                <a16:creationId xmlns:a16="http://schemas.microsoft.com/office/drawing/2014/main" id="{49617808-6BA1-41EC-8873-001A45EF30D5}"/>
              </a:ext>
            </a:extLst>
          </p:cNvPr>
          <p:cNvSpPr/>
          <p:nvPr/>
        </p:nvSpPr>
        <p:spPr>
          <a:xfrm>
            <a:off x="878859" y="2425141"/>
            <a:ext cx="1990806" cy="1159102"/>
          </a:xfrm>
          <a:prstGeom prst="rect">
            <a:avLst/>
          </a:prstGeom>
          <a:no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34" name="Oval 33">
            <a:extLst>
              <a:ext uri="{FF2B5EF4-FFF2-40B4-BE49-F238E27FC236}">
                <a16:creationId xmlns:a16="http://schemas.microsoft.com/office/drawing/2014/main" id="{BB464795-1EE5-4DAA-81B4-5DD73A621377}"/>
              </a:ext>
            </a:extLst>
          </p:cNvPr>
          <p:cNvSpPr/>
          <p:nvPr/>
        </p:nvSpPr>
        <p:spPr>
          <a:xfrm>
            <a:off x="753245" y="3429613"/>
            <a:ext cx="227583" cy="217962"/>
          </a:xfrm>
          <a:prstGeom prst="ellips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1</a:t>
            </a:r>
          </a:p>
        </p:txBody>
      </p:sp>
      <p:sp>
        <p:nvSpPr>
          <p:cNvPr id="35" name="Rectangle 34">
            <a:extLst>
              <a:ext uri="{FF2B5EF4-FFF2-40B4-BE49-F238E27FC236}">
                <a16:creationId xmlns:a16="http://schemas.microsoft.com/office/drawing/2014/main" id="{BEBA2DB5-D01A-45D1-B10F-CDA2A5C3CE6D}"/>
              </a:ext>
            </a:extLst>
          </p:cNvPr>
          <p:cNvSpPr/>
          <p:nvPr/>
        </p:nvSpPr>
        <p:spPr>
          <a:xfrm>
            <a:off x="3903684" y="2638792"/>
            <a:ext cx="679002" cy="303443"/>
          </a:xfrm>
          <a:prstGeom prst="rect">
            <a:avLst/>
          </a:prstGeom>
          <a:no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36" name="Rectangle 35">
            <a:extLst>
              <a:ext uri="{FF2B5EF4-FFF2-40B4-BE49-F238E27FC236}">
                <a16:creationId xmlns:a16="http://schemas.microsoft.com/office/drawing/2014/main" id="{078A3856-3300-433F-A501-B031E92BEAC1}"/>
              </a:ext>
            </a:extLst>
          </p:cNvPr>
          <p:cNvSpPr/>
          <p:nvPr/>
        </p:nvSpPr>
        <p:spPr>
          <a:xfrm>
            <a:off x="4801798" y="3712965"/>
            <a:ext cx="1969905" cy="1034007"/>
          </a:xfrm>
          <a:prstGeom prst="rect">
            <a:avLst/>
          </a:prstGeom>
          <a:no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cxnSp>
        <p:nvCxnSpPr>
          <p:cNvPr id="39" name="Straight Arrow Connector 38">
            <a:extLst>
              <a:ext uri="{FF2B5EF4-FFF2-40B4-BE49-F238E27FC236}">
                <a16:creationId xmlns:a16="http://schemas.microsoft.com/office/drawing/2014/main" id="{C02C1C41-DC87-44F6-B172-862875871040}"/>
              </a:ext>
            </a:extLst>
          </p:cNvPr>
          <p:cNvCxnSpPr>
            <a:cxnSpLocks/>
          </p:cNvCxnSpPr>
          <p:nvPr/>
        </p:nvCxnSpPr>
        <p:spPr>
          <a:xfrm>
            <a:off x="5030173" y="4761466"/>
            <a:ext cx="2540402" cy="1921406"/>
          </a:xfrm>
          <a:prstGeom prst="straightConnector1">
            <a:avLst/>
          </a:prstGeom>
          <a:ln w="28575" cap="rnd">
            <a:solidFill>
              <a:srgbClr val="0070C0"/>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CB428AE9-51B3-41CB-A62A-62EA6128CCE3}"/>
              </a:ext>
            </a:extLst>
          </p:cNvPr>
          <p:cNvSpPr/>
          <p:nvPr/>
        </p:nvSpPr>
        <p:spPr>
          <a:xfrm>
            <a:off x="4801281" y="4639818"/>
            <a:ext cx="227583" cy="224686"/>
          </a:xfrm>
          <a:prstGeom prst="ellips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3</a:t>
            </a:r>
          </a:p>
        </p:txBody>
      </p:sp>
      <p:pic>
        <p:nvPicPr>
          <p:cNvPr id="7" name="Picture 7" descr="Icon&#10;&#10;Description automatically generated">
            <a:extLst>
              <a:ext uri="{FF2B5EF4-FFF2-40B4-BE49-F238E27FC236}">
                <a16:creationId xmlns:a16="http://schemas.microsoft.com/office/drawing/2014/main" id="{3D126662-F659-4393-8605-1D4F939D289C}"/>
              </a:ext>
            </a:extLst>
          </p:cNvPr>
          <p:cNvPicPr>
            <a:picLocks noChangeAspect="1"/>
          </p:cNvPicPr>
          <p:nvPr/>
        </p:nvPicPr>
        <p:blipFill>
          <a:blip r:embed="rId5"/>
          <a:stretch>
            <a:fillRect/>
          </a:stretch>
        </p:blipFill>
        <p:spPr>
          <a:xfrm>
            <a:off x="3978700" y="2693836"/>
            <a:ext cx="464899" cy="129427"/>
          </a:xfrm>
          <a:prstGeom prst="rect">
            <a:avLst/>
          </a:prstGeom>
        </p:spPr>
      </p:pic>
      <p:sp>
        <p:nvSpPr>
          <p:cNvPr id="37" name="Oval 36">
            <a:extLst>
              <a:ext uri="{FF2B5EF4-FFF2-40B4-BE49-F238E27FC236}">
                <a16:creationId xmlns:a16="http://schemas.microsoft.com/office/drawing/2014/main" id="{4AB50FB2-2592-4F25-B501-5E5ED17825ED}"/>
              </a:ext>
            </a:extLst>
          </p:cNvPr>
          <p:cNvSpPr/>
          <p:nvPr/>
        </p:nvSpPr>
        <p:spPr>
          <a:xfrm>
            <a:off x="3754657" y="2482803"/>
            <a:ext cx="227583" cy="233356"/>
          </a:xfrm>
          <a:prstGeom prst="ellips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2</a:t>
            </a:r>
          </a:p>
        </p:txBody>
      </p:sp>
      <p:cxnSp>
        <p:nvCxnSpPr>
          <p:cNvPr id="31" name="Straight Arrow Connector 30">
            <a:extLst>
              <a:ext uri="{FF2B5EF4-FFF2-40B4-BE49-F238E27FC236}">
                <a16:creationId xmlns:a16="http://schemas.microsoft.com/office/drawing/2014/main" id="{F4074082-46FF-4E13-BA1B-8AFDF7803860}"/>
              </a:ext>
            </a:extLst>
          </p:cNvPr>
          <p:cNvCxnSpPr>
            <a:cxnSpLocks/>
          </p:cNvCxnSpPr>
          <p:nvPr/>
        </p:nvCxnSpPr>
        <p:spPr>
          <a:xfrm>
            <a:off x="6787027" y="4738376"/>
            <a:ext cx="4858570" cy="1931373"/>
          </a:xfrm>
          <a:prstGeom prst="straightConnector1">
            <a:avLst/>
          </a:prstGeom>
          <a:ln w="28575" cap="rnd">
            <a:solidFill>
              <a:srgbClr val="0070C0"/>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C31BED3-CE5F-440A-A9B8-F5924562E1BA}"/>
              </a:ext>
            </a:extLst>
          </p:cNvPr>
          <p:cNvSpPr/>
          <p:nvPr/>
        </p:nvSpPr>
        <p:spPr>
          <a:xfrm>
            <a:off x="7550996" y="4089632"/>
            <a:ext cx="4112011" cy="2589442"/>
          </a:xfrm>
          <a:prstGeom prst="rect">
            <a:avLst/>
          </a:prstGeom>
          <a:solidFill>
            <a:schemeClr val="bg1"/>
          </a:solid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pic>
        <p:nvPicPr>
          <p:cNvPr id="14" name="Picture 13" descr="Graphical user interface, application&#10;&#10;Description automatically generated">
            <a:extLst>
              <a:ext uri="{FF2B5EF4-FFF2-40B4-BE49-F238E27FC236}">
                <a16:creationId xmlns:a16="http://schemas.microsoft.com/office/drawing/2014/main" id="{CA6FE08D-ADB1-46B9-A969-E879971A31D3}"/>
              </a:ext>
            </a:extLst>
          </p:cNvPr>
          <p:cNvPicPr>
            <a:picLocks noChangeAspect="1"/>
          </p:cNvPicPr>
          <p:nvPr/>
        </p:nvPicPr>
        <p:blipFill rotWithShape="1">
          <a:blip r:embed="rId3"/>
          <a:srcRect l="51974" t="41276" r="26880" b="31581"/>
          <a:stretch/>
        </p:blipFill>
        <p:spPr>
          <a:xfrm>
            <a:off x="7587814" y="4127332"/>
            <a:ext cx="3996476" cy="2529947"/>
          </a:xfrm>
          <a:prstGeom prst="rect">
            <a:avLst/>
          </a:prstGeom>
        </p:spPr>
      </p:pic>
      <p:sp>
        <p:nvSpPr>
          <p:cNvPr id="29" name="TextBox 28">
            <a:extLst>
              <a:ext uri="{FF2B5EF4-FFF2-40B4-BE49-F238E27FC236}">
                <a16:creationId xmlns:a16="http://schemas.microsoft.com/office/drawing/2014/main" id="{C9BEC35E-523C-4554-8EBD-4475698ECF55}"/>
              </a:ext>
            </a:extLst>
          </p:cNvPr>
          <p:cNvSpPr txBox="1"/>
          <p:nvPr/>
        </p:nvSpPr>
        <p:spPr>
          <a:xfrm>
            <a:off x="7553670" y="3825754"/>
            <a:ext cx="4106332" cy="263528"/>
          </a:xfrm>
          <a:prstGeom prst="rect">
            <a:avLst/>
          </a:prstGeom>
          <a:solidFill>
            <a:srgbClr val="0070C0"/>
          </a:solid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050" b="1"/>
              <a:t>Proposed Design - Real time bus arrival &amp; available capacity </a:t>
            </a:r>
          </a:p>
        </p:txBody>
      </p:sp>
      <p:sp>
        <p:nvSpPr>
          <p:cNvPr id="3" name="Oval 2">
            <a:extLst>
              <a:ext uri="{FF2B5EF4-FFF2-40B4-BE49-F238E27FC236}">
                <a16:creationId xmlns:a16="http://schemas.microsoft.com/office/drawing/2014/main" id="{FC2A26BC-6E3B-4E2F-9C36-577BA7E9132E}"/>
              </a:ext>
            </a:extLst>
          </p:cNvPr>
          <p:cNvSpPr/>
          <p:nvPr/>
        </p:nvSpPr>
        <p:spPr>
          <a:xfrm>
            <a:off x="9941311" y="4133385"/>
            <a:ext cx="1583475" cy="2382644"/>
          </a:xfrm>
          <a:prstGeom prst="ellipse">
            <a:avLst/>
          </a:prstGeom>
          <a:no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0" name="Oval 39">
            <a:extLst>
              <a:ext uri="{FF2B5EF4-FFF2-40B4-BE49-F238E27FC236}">
                <a16:creationId xmlns:a16="http://schemas.microsoft.com/office/drawing/2014/main" id="{ECF14FD3-8E08-4762-B1DE-BECAD18D177B}"/>
              </a:ext>
            </a:extLst>
          </p:cNvPr>
          <p:cNvSpPr/>
          <p:nvPr/>
        </p:nvSpPr>
        <p:spPr>
          <a:xfrm>
            <a:off x="7372519" y="3782014"/>
            <a:ext cx="309091" cy="318710"/>
          </a:xfrm>
          <a:prstGeom prst="ellipse">
            <a:avLst/>
          </a:prstGeom>
          <a:solidFill>
            <a:srgbClr val="0070C0"/>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3</a:t>
            </a:r>
          </a:p>
        </p:txBody>
      </p:sp>
    </p:spTree>
    <p:extLst>
      <p:ext uri="{BB962C8B-B14F-4D97-AF65-F5344CB8AC3E}">
        <p14:creationId xmlns:p14="http://schemas.microsoft.com/office/powerpoint/2010/main" val="35316458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Diagram 3">
            <a:extLst>
              <a:ext uri="{FF2B5EF4-FFF2-40B4-BE49-F238E27FC236}">
                <a16:creationId xmlns:a16="http://schemas.microsoft.com/office/drawing/2014/main" id="{9D58B7B4-DE29-4DDF-BB8A-729D2B705659}"/>
              </a:ext>
            </a:extLst>
          </p:cNvPr>
          <p:cNvGraphicFramePr/>
          <p:nvPr>
            <p:extLst>
              <p:ext uri="{D42A27DB-BD31-4B8C-83A1-F6EECF244321}">
                <p14:modId xmlns:p14="http://schemas.microsoft.com/office/powerpoint/2010/main" val="4117531916"/>
              </p:ext>
            </p:extLst>
          </p:nvPr>
        </p:nvGraphicFramePr>
        <p:xfrm>
          <a:off x="643494" y="1342991"/>
          <a:ext cx="11000768" cy="48437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9" name="Title 1">
            <a:extLst>
              <a:ext uri="{FF2B5EF4-FFF2-40B4-BE49-F238E27FC236}">
                <a16:creationId xmlns:a16="http://schemas.microsoft.com/office/drawing/2014/main" id="{1A40ECD8-EC71-4C0D-A629-C5042C9FBE1B}"/>
              </a:ext>
            </a:extLst>
          </p:cNvPr>
          <p:cNvSpPr txBox="1">
            <a:spLocks/>
          </p:cNvSpPr>
          <p:nvPr/>
        </p:nvSpPr>
        <p:spPr>
          <a:xfrm>
            <a:off x="722230" y="583267"/>
            <a:ext cx="2441474" cy="60385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a:solidFill>
                  <a:srgbClr val="002060"/>
                </a:solidFill>
              </a:rPr>
              <a:t>Next steps</a:t>
            </a:r>
          </a:p>
        </p:txBody>
      </p:sp>
      <p:pic>
        <p:nvPicPr>
          <p:cNvPr id="107" name="Graphic 107" descr="Tools with solid fill">
            <a:extLst>
              <a:ext uri="{FF2B5EF4-FFF2-40B4-BE49-F238E27FC236}">
                <a16:creationId xmlns:a16="http://schemas.microsoft.com/office/drawing/2014/main" id="{02601E91-3DEE-4781-ACC9-2A3154DCC85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44318" y="5467167"/>
            <a:ext cx="452570" cy="482063"/>
          </a:xfrm>
          <a:prstGeom prst="rect">
            <a:avLst/>
          </a:prstGeom>
        </p:spPr>
      </p:pic>
      <p:pic>
        <p:nvPicPr>
          <p:cNvPr id="108" name="Graphic 108" descr="Users with solid fill">
            <a:extLst>
              <a:ext uri="{FF2B5EF4-FFF2-40B4-BE49-F238E27FC236}">
                <a16:creationId xmlns:a16="http://schemas.microsoft.com/office/drawing/2014/main" id="{590458A9-D7D6-4978-B569-22D281AE5C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01440" y="1612278"/>
            <a:ext cx="664796" cy="612983"/>
          </a:xfrm>
          <a:prstGeom prst="rect">
            <a:avLst/>
          </a:prstGeom>
        </p:spPr>
      </p:pic>
      <p:pic>
        <p:nvPicPr>
          <p:cNvPr id="127" name="Graphic 127" descr="Send with solid fill">
            <a:extLst>
              <a:ext uri="{FF2B5EF4-FFF2-40B4-BE49-F238E27FC236}">
                <a16:creationId xmlns:a16="http://schemas.microsoft.com/office/drawing/2014/main" id="{50C2EFDE-AE92-48A3-8F2F-DEC4BC5189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22180" y="2083742"/>
            <a:ext cx="523240" cy="498344"/>
          </a:xfrm>
          <a:prstGeom prst="rect">
            <a:avLst/>
          </a:prstGeom>
        </p:spPr>
      </p:pic>
      <p:pic>
        <p:nvPicPr>
          <p:cNvPr id="5328" name="Graphic 5328" descr="Bar chart with solid fill">
            <a:extLst>
              <a:ext uri="{FF2B5EF4-FFF2-40B4-BE49-F238E27FC236}">
                <a16:creationId xmlns:a16="http://schemas.microsoft.com/office/drawing/2014/main" id="{79187648-B5C6-4EDC-88C1-489201FB6DA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944851" y="1341424"/>
            <a:ext cx="578761" cy="551895"/>
          </a:xfrm>
          <a:prstGeom prst="rect">
            <a:avLst/>
          </a:prstGeom>
        </p:spPr>
      </p:pic>
      <p:grpSp>
        <p:nvGrpSpPr>
          <p:cNvPr id="15152" name="Group 15151">
            <a:extLst>
              <a:ext uri="{FF2B5EF4-FFF2-40B4-BE49-F238E27FC236}">
                <a16:creationId xmlns:a16="http://schemas.microsoft.com/office/drawing/2014/main" id="{920701E5-CB08-4217-ACA3-DE3EB854DE24}"/>
              </a:ext>
            </a:extLst>
          </p:cNvPr>
          <p:cNvGrpSpPr/>
          <p:nvPr/>
        </p:nvGrpSpPr>
        <p:grpSpPr>
          <a:xfrm>
            <a:off x="7734311" y="5303043"/>
            <a:ext cx="839954" cy="839954"/>
            <a:chOff x="8317608" y="2125666"/>
            <a:chExt cx="839954" cy="839954"/>
          </a:xfrm>
        </p:grpSpPr>
        <p:pic>
          <p:nvPicPr>
            <p:cNvPr id="15150" name="Graphic 15149" descr="Arrow circle">
              <a:extLst>
                <a:ext uri="{FF2B5EF4-FFF2-40B4-BE49-F238E27FC236}">
                  <a16:creationId xmlns:a16="http://schemas.microsoft.com/office/drawing/2014/main" id="{58639344-8BF3-4E6C-A81D-02B51D5DB36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317608" y="2125666"/>
              <a:ext cx="839954" cy="839954"/>
            </a:xfrm>
            <a:prstGeom prst="rect">
              <a:avLst/>
            </a:prstGeom>
          </p:spPr>
        </p:pic>
        <p:pic>
          <p:nvPicPr>
            <p:cNvPr id="15151" name="Graphic 15150" descr="Single gear">
              <a:extLst>
                <a:ext uri="{FF2B5EF4-FFF2-40B4-BE49-F238E27FC236}">
                  <a16:creationId xmlns:a16="http://schemas.microsoft.com/office/drawing/2014/main" id="{E46E3386-E7C5-4B13-926F-9553E6888BB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571762" y="2360678"/>
              <a:ext cx="363124" cy="363124"/>
            </a:xfrm>
            <a:prstGeom prst="rect">
              <a:avLst/>
            </a:prstGeom>
          </p:spPr>
        </p:pic>
      </p:grpSp>
      <p:sp>
        <p:nvSpPr>
          <p:cNvPr id="19270" name="Rectangle 19269">
            <a:extLst>
              <a:ext uri="{FF2B5EF4-FFF2-40B4-BE49-F238E27FC236}">
                <a16:creationId xmlns:a16="http://schemas.microsoft.com/office/drawing/2014/main" id="{D7F98B1E-399D-4B27-B39F-F1A610F49BA9}"/>
              </a:ext>
            </a:extLst>
          </p:cNvPr>
          <p:cNvSpPr/>
          <p:nvPr/>
        </p:nvSpPr>
        <p:spPr>
          <a:xfrm>
            <a:off x="477681" y="1188149"/>
            <a:ext cx="11134336" cy="5140083"/>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nSpc>
                <a:spcPct val="150000"/>
              </a:lnSpc>
            </a:pPr>
            <a:endParaRPr lang="en-US" sz="2000">
              <a:solidFill>
                <a:srgbClr val="002060"/>
              </a:solidFill>
            </a:endParaRPr>
          </a:p>
          <a:p>
            <a:pPr marL="457200" indent="-457200">
              <a:lnSpc>
                <a:spcPct val="150000"/>
              </a:lnSpc>
              <a:buAutoNum type="arabicPeriod"/>
            </a:pPr>
            <a:endParaRPr lang="en-US" sz="2000">
              <a:solidFill>
                <a:srgbClr val="002060"/>
              </a:solidFill>
            </a:endParaRPr>
          </a:p>
        </p:txBody>
      </p:sp>
    </p:spTree>
    <p:extLst>
      <p:ext uri="{BB962C8B-B14F-4D97-AF65-F5344CB8AC3E}">
        <p14:creationId xmlns:p14="http://schemas.microsoft.com/office/powerpoint/2010/main" val="33912156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0D89B7-B51B-4806-86F9-1B4EA9464B10}"/>
              </a:ext>
            </a:extLst>
          </p:cNvPr>
          <p:cNvGraphicFramePr>
            <a:graphicFrameLocks noChangeAspect="1"/>
          </p:cNvGraphicFramePr>
          <p:nvPr>
            <p:custDataLst>
              <p:tags r:id="rId3"/>
            </p:custDataLst>
            <p:extLst>
              <p:ext uri="{D42A27DB-BD31-4B8C-83A1-F6EECF244321}">
                <p14:modId xmlns:p14="http://schemas.microsoft.com/office/powerpoint/2010/main" val="150947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think-cell Slide" r:id="rId13" imgW="351" imgH="351" progId="TCLayout.ActiveDocument.1">
                  <p:embed/>
                </p:oleObj>
              </mc:Choice>
              <mc:Fallback>
                <p:oleObj name="think-cell Slide" r:id="rId13" imgW="351" imgH="351"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1264259" y="2038310"/>
            <a:ext cx="7180497" cy="548640"/>
          </a:xfrm>
          <a:prstGeom prst="rect">
            <a:avLst/>
          </a:prstGeom>
          <a:noFill/>
          <a:ln cap="rnd">
            <a:noFill/>
          </a:ln>
        </p:spPr>
        <p:txBody>
          <a:bodyPr wrap="square" lIns="0" tIns="0" rIns="0" bIns="0" rtlCol="0" anchor="b">
            <a:noAutofit/>
          </a:bodyPr>
          <a:lstStyle/>
          <a:p>
            <a:r>
              <a:rPr lang="en-US" sz="2800">
                <a:solidFill>
                  <a:schemeClr val="bg1"/>
                </a:solidFill>
              </a:rPr>
              <a:t>Our project team</a:t>
            </a:r>
          </a:p>
        </p:txBody>
      </p:sp>
      <p:pic>
        <p:nvPicPr>
          <p:cNvPr id="3" name="Picture 4">
            <a:extLst>
              <a:ext uri="{FF2B5EF4-FFF2-40B4-BE49-F238E27FC236}">
                <a16:creationId xmlns:a16="http://schemas.microsoft.com/office/drawing/2014/main" id="{804F2B0B-ED4F-467E-9926-F4EC1DD49056}"/>
              </a:ext>
            </a:extLst>
          </p:cNvPr>
          <p:cNvPicPr>
            <a:picLocks noChangeAspect="1"/>
          </p:cNvPicPr>
          <p:nvPr/>
        </p:nvPicPr>
        <p:blipFill>
          <a:blip r:embed="rId15"/>
          <a:stretch>
            <a:fillRect/>
          </a:stretch>
        </p:blipFill>
        <p:spPr>
          <a:xfrm>
            <a:off x="6142232" y="2965993"/>
            <a:ext cx="1356189" cy="13112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5" descr="A picture containing person, wearing, red, headdress&#10;&#10;Description automatically generated">
            <a:extLst>
              <a:ext uri="{FF2B5EF4-FFF2-40B4-BE49-F238E27FC236}">
                <a16:creationId xmlns:a16="http://schemas.microsoft.com/office/drawing/2014/main" id="{4BAFD948-10DC-4430-A8AC-8AE437412611}"/>
              </a:ext>
            </a:extLst>
          </p:cNvPr>
          <p:cNvPicPr>
            <a:picLocks noChangeAspect="1"/>
          </p:cNvPicPr>
          <p:nvPr/>
        </p:nvPicPr>
        <p:blipFill>
          <a:blip r:embed="rId16"/>
          <a:stretch>
            <a:fillRect/>
          </a:stretch>
        </p:blipFill>
        <p:spPr>
          <a:xfrm>
            <a:off x="4488092" y="2963379"/>
            <a:ext cx="1407561" cy="13165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6" descr="A picture containing person, outdoor&#10;&#10;Description automatically generated">
            <a:extLst>
              <a:ext uri="{FF2B5EF4-FFF2-40B4-BE49-F238E27FC236}">
                <a16:creationId xmlns:a16="http://schemas.microsoft.com/office/drawing/2014/main" id="{EE43B572-DDFD-4C4B-AB03-5EE52E5EB7FB}"/>
              </a:ext>
            </a:extLst>
          </p:cNvPr>
          <p:cNvPicPr>
            <a:picLocks noChangeAspect="1"/>
          </p:cNvPicPr>
          <p:nvPr/>
        </p:nvPicPr>
        <p:blipFill rotWithShape="1">
          <a:blip r:embed="rId17"/>
          <a:srcRect l="2427" t="15582" r="8738" b="2487"/>
          <a:stretch/>
        </p:blipFill>
        <p:spPr>
          <a:xfrm>
            <a:off x="2833953" y="2965362"/>
            <a:ext cx="1408059" cy="13300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10" descr="A picture containing building, outdoor, person, ground&#10;&#10;Description automatically generated">
            <a:extLst>
              <a:ext uri="{FF2B5EF4-FFF2-40B4-BE49-F238E27FC236}">
                <a16:creationId xmlns:a16="http://schemas.microsoft.com/office/drawing/2014/main" id="{053AF5C6-7FC0-46E6-B5BA-F0683AF77DCB}"/>
              </a:ext>
            </a:extLst>
          </p:cNvPr>
          <p:cNvPicPr>
            <a:picLocks noChangeAspect="1"/>
          </p:cNvPicPr>
          <p:nvPr/>
        </p:nvPicPr>
        <p:blipFill>
          <a:blip r:embed="rId18"/>
          <a:stretch>
            <a:fillRect/>
          </a:stretch>
        </p:blipFill>
        <p:spPr>
          <a:xfrm>
            <a:off x="1265431" y="2966878"/>
            <a:ext cx="1321943" cy="13266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1">
            <a:extLst>
              <a:ext uri="{FF2B5EF4-FFF2-40B4-BE49-F238E27FC236}">
                <a16:creationId xmlns:a16="http://schemas.microsoft.com/office/drawing/2014/main" id="{ECC8B3C5-5AC5-4541-B6FA-4BAA9C482CFB}"/>
              </a:ext>
            </a:extLst>
          </p:cNvPr>
          <p:cNvPicPr>
            <a:picLocks noChangeAspect="1"/>
          </p:cNvPicPr>
          <p:nvPr/>
        </p:nvPicPr>
        <p:blipFill>
          <a:blip r:embed="rId19"/>
          <a:stretch>
            <a:fillRect/>
          </a:stretch>
        </p:blipFill>
        <p:spPr>
          <a:xfrm>
            <a:off x="7745001" y="2931990"/>
            <a:ext cx="1407561" cy="1379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 name="Picture 6">
            <a:extLst>
              <a:ext uri="{FF2B5EF4-FFF2-40B4-BE49-F238E27FC236}">
                <a16:creationId xmlns:a16="http://schemas.microsoft.com/office/drawing/2014/main" id="{D8796368-9D34-4AC4-8189-AB55CD9C2B0E}"/>
              </a:ext>
            </a:extLst>
          </p:cNvPr>
          <p:cNvPicPr>
            <a:picLocks noChangeAspect="1"/>
          </p:cNvPicPr>
          <p:nvPr/>
        </p:nvPicPr>
        <p:blipFill rotWithShape="1">
          <a:blip r:embed="rId20"/>
          <a:srcRect l="6286" t="11236" r="13143" b="7865"/>
          <a:stretch/>
        </p:blipFill>
        <p:spPr>
          <a:xfrm>
            <a:off x="9399141" y="2934164"/>
            <a:ext cx="1347502" cy="13726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BcgText 1">
            <a:extLst>
              <a:ext uri="{FF2B5EF4-FFF2-40B4-BE49-F238E27FC236}">
                <a16:creationId xmlns:a16="http://schemas.microsoft.com/office/drawing/2014/main" id="{37DA543D-B133-4F70-B151-E0C93A1C5ADF}"/>
              </a:ext>
            </a:extLst>
          </p:cNvPr>
          <p:cNvSpPr txBox="1"/>
          <p:nvPr userDrawn="1">
            <p:custDataLst>
              <p:tags r:id="rId5"/>
            </p:custDataLst>
          </p:nvPr>
        </p:nvSpPr>
        <p:spPr>
          <a:xfrm>
            <a:off x="1264258" y="4606851"/>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Lee Kin Nam</a:t>
            </a:r>
            <a:endParaRPr lang="en-US" sz="1100">
              <a:solidFill>
                <a:schemeClr val="bg1"/>
              </a:solidFill>
            </a:endParaRPr>
          </a:p>
        </p:txBody>
      </p:sp>
      <p:sp>
        <p:nvSpPr>
          <p:cNvPr id="13" name="BcgText 1">
            <a:extLst>
              <a:ext uri="{FF2B5EF4-FFF2-40B4-BE49-F238E27FC236}">
                <a16:creationId xmlns:a16="http://schemas.microsoft.com/office/drawing/2014/main" id="{52252D29-3884-4754-9392-2D155BE052CD}"/>
              </a:ext>
            </a:extLst>
          </p:cNvPr>
          <p:cNvSpPr txBox="1"/>
          <p:nvPr userDrawn="1">
            <p:custDataLst>
              <p:tags r:id="rId6"/>
            </p:custDataLst>
          </p:nvPr>
        </p:nvSpPr>
        <p:spPr>
          <a:xfrm>
            <a:off x="2865314"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Poon Wei Yuan</a:t>
            </a:r>
            <a:endParaRPr lang="en-US">
              <a:solidFill>
                <a:schemeClr val="bg1"/>
              </a:solidFill>
            </a:endParaRPr>
          </a:p>
        </p:txBody>
      </p:sp>
      <p:sp>
        <p:nvSpPr>
          <p:cNvPr id="15" name="BcgText 1">
            <a:extLst>
              <a:ext uri="{FF2B5EF4-FFF2-40B4-BE49-F238E27FC236}">
                <a16:creationId xmlns:a16="http://schemas.microsoft.com/office/drawing/2014/main" id="{67F13DD4-6F7F-44DD-A68B-3743A70775AB}"/>
              </a:ext>
            </a:extLst>
          </p:cNvPr>
          <p:cNvSpPr txBox="1"/>
          <p:nvPr userDrawn="1">
            <p:custDataLst>
              <p:tags r:id="rId7"/>
            </p:custDataLst>
          </p:nvPr>
        </p:nvSpPr>
        <p:spPr>
          <a:xfrm>
            <a:off x="4526303"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Koh Lay Hon (Jac)</a:t>
            </a:r>
            <a:endParaRPr lang="en-US">
              <a:solidFill>
                <a:schemeClr val="bg1"/>
              </a:solidFill>
            </a:endParaRPr>
          </a:p>
        </p:txBody>
      </p:sp>
      <p:sp>
        <p:nvSpPr>
          <p:cNvPr id="16" name="BcgText 1">
            <a:extLst>
              <a:ext uri="{FF2B5EF4-FFF2-40B4-BE49-F238E27FC236}">
                <a16:creationId xmlns:a16="http://schemas.microsoft.com/office/drawing/2014/main" id="{841ADB1C-AB88-4B94-91BE-A97DA5598591}"/>
              </a:ext>
            </a:extLst>
          </p:cNvPr>
          <p:cNvSpPr txBox="1"/>
          <p:nvPr userDrawn="1">
            <p:custDataLst>
              <p:tags r:id="rId8"/>
            </p:custDataLst>
          </p:nvPr>
        </p:nvSpPr>
        <p:spPr>
          <a:xfrm>
            <a:off x="6144482"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Wesley Teo</a:t>
            </a:r>
          </a:p>
        </p:txBody>
      </p:sp>
      <p:sp>
        <p:nvSpPr>
          <p:cNvPr id="14" name="BcgText 1">
            <a:extLst>
              <a:ext uri="{FF2B5EF4-FFF2-40B4-BE49-F238E27FC236}">
                <a16:creationId xmlns:a16="http://schemas.microsoft.com/office/drawing/2014/main" id="{9BEFA604-250B-4E75-9CF4-E7E7980BEFD3}"/>
              </a:ext>
            </a:extLst>
          </p:cNvPr>
          <p:cNvSpPr txBox="1"/>
          <p:nvPr userDrawn="1">
            <p:custDataLst>
              <p:tags r:id="rId9"/>
            </p:custDataLst>
          </p:nvPr>
        </p:nvSpPr>
        <p:spPr>
          <a:xfrm>
            <a:off x="7771223" y="4623974"/>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Wong Yong Lin</a:t>
            </a:r>
            <a:endParaRPr lang="en-US"/>
          </a:p>
        </p:txBody>
      </p:sp>
      <p:sp>
        <p:nvSpPr>
          <p:cNvPr id="17" name="BcgText 1">
            <a:extLst>
              <a:ext uri="{FF2B5EF4-FFF2-40B4-BE49-F238E27FC236}">
                <a16:creationId xmlns:a16="http://schemas.microsoft.com/office/drawing/2014/main" id="{17B6372D-A32F-41D9-821E-C756C31DE30B}"/>
              </a:ext>
            </a:extLst>
          </p:cNvPr>
          <p:cNvSpPr txBox="1"/>
          <p:nvPr userDrawn="1">
            <p:custDataLst>
              <p:tags r:id="rId10"/>
            </p:custDataLst>
          </p:nvPr>
        </p:nvSpPr>
        <p:spPr>
          <a:xfrm>
            <a:off x="9397964" y="4623973"/>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Evelyn Yong</a:t>
            </a:r>
            <a:endParaRPr lang="en-US"/>
          </a:p>
        </p:txBody>
      </p:sp>
      <p:pic>
        <p:nvPicPr>
          <p:cNvPr id="7" name="Picture 4" descr="Logo, company name&#10;&#10;Description automatically generated">
            <a:extLst>
              <a:ext uri="{FF2B5EF4-FFF2-40B4-BE49-F238E27FC236}">
                <a16:creationId xmlns:a16="http://schemas.microsoft.com/office/drawing/2014/main" id="{9CE2C089-17DF-4333-8536-34FFD388E0EB}"/>
              </a:ext>
            </a:extLst>
          </p:cNvPr>
          <p:cNvPicPr>
            <a:picLocks noChangeAspect="1"/>
          </p:cNvPicPr>
          <p:nvPr/>
        </p:nvPicPr>
        <p:blipFill>
          <a:blip r:embed="rId21"/>
          <a:stretch>
            <a:fillRect/>
          </a:stretch>
        </p:blipFill>
        <p:spPr>
          <a:xfrm>
            <a:off x="11205198" y="113050"/>
            <a:ext cx="831214" cy="8727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ustDataLst>
      <p:tags r:id="rId2"/>
    </p:custDataLst>
    <p:extLst>
      <p:ext uri="{BB962C8B-B14F-4D97-AF65-F5344CB8AC3E}">
        <p14:creationId xmlns:p14="http://schemas.microsoft.com/office/powerpoint/2010/main" val="20236738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0D89B7-B51B-4806-86F9-1B4EA9464B1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think-cell Slide" r:id="rId6" imgW="351" imgH="351" progId="TCLayout.ActiveDocument.1">
                  <p:embed/>
                </p:oleObj>
              </mc:Choice>
              <mc:Fallback>
                <p:oleObj name="think-cell Slide" r:id="rId6" imgW="351" imgH="351" progId="TCLayout.ActiveDocument.1">
                  <p:embed/>
                  <p:pic>
                    <p:nvPicPr>
                      <p:cNvPr id="9" name="Object 8" hidden="1">
                        <a:extLst>
                          <a:ext uri="{FF2B5EF4-FFF2-40B4-BE49-F238E27FC236}">
                            <a16:creationId xmlns:a16="http://schemas.microsoft.com/office/drawing/2014/main" id="{050D89B7-B51B-4806-86F9-1B4EA9464B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Flowchart: Connector 7">
            <a:extLst>
              <a:ext uri="{FF2B5EF4-FFF2-40B4-BE49-F238E27FC236}">
                <a16:creationId xmlns:a16="http://schemas.microsoft.com/office/drawing/2014/main" id="{C10ABD20-C2BA-45B3-83F6-BF443039A7A7}"/>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SG" sz="5400" b="1">
                <a:solidFill>
                  <a:schemeClr val="bg1"/>
                </a:solidFill>
              </a:rPr>
              <a:t>Q &amp; A</a:t>
            </a:r>
            <a:endParaRPr lang="en-US" sz="5400">
              <a:solidFill>
                <a:schemeClr val="bg1"/>
              </a:solidFill>
            </a:endParaRPr>
          </a:p>
        </p:txBody>
      </p:sp>
    </p:spTree>
    <p:custDataLst>
      <p:tags r:id="rId2"/>
    </p:custDataLst>
    <p:extLst>
      <p:ext uri="{BB962C8B-B14F-4D97-AF65-F5344CB8AC3E}">
        <p14:creationId xmlns:p14="http://schemas.microsoft.com/office/powerpoint/2010/main" val="18986961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0D89B7-B51B-4806-86F9-1B4EA9464B10}"/>
              </a:ext>
            </a:extLst>
          </p:cNvPr>
          <p:cNvGraphicFramePr>
            <a:graphicFrameLocks noChangeAspect="1"/>
          </p:cNvGraphicFramePr>
          <p:nvPr>
            <p:custDataLst>
              <p:tags r:id="rId3"/>
            </p:custDataLst>
            <p:extLst>
              <p:ext uri="{D42A27DB-BD31-4B8C-83A1-F6EECF244321}">
                <p14:modId xmlns:p14="http://schemas.microsoft.com/office/powerpoint/2010/main" val="1040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3" name="think-cell Slide" r:id="rId7" imgW="351" imgH="351" progId="TCLayout.ActiveDocument.1">
                  <p:embed/>
                </p:oleObj>
              </mc:Choice>
              <mc:Fallback>
                <p:oleObj name="think-cell Slide" r:id="rId7" imgW="351" imgH="351" progId="TCLayout.ActiveDocument.1">
                  <p:embed/>
                  <p:pic>
                    <p:nvPicPr>
                      <p:cNvPr id="9" name="Object 8" hidden="1">
                        <a:extLst>
                          <a:ext uri="{FF2B5EF4-FFF2-40B4-BE49-F238E27FC236}">
                            <a16:creationId xmlns:a16="http://schemas.microsoft.com/office/drawing/2014/main" id="{050D89B7-B51B-4806-86F9-1B4EA9464B1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811776" y="2996910"/>
            <a:ext cx="7180497" cy="548640"/>
          </a:xfrm>
          <a:prstGeom prst="rect">
            <a:avLst/>
          </a:prstGeom>
          <a:noFill/>
          <a:ln cap="rnd">
            <a:noFill/>
          </a:ln>
        </p:spPr>
        <p:txBody>
          <a:bodyPr wrap="square" lIns="0" tIns="0" rIns="0" bIns="0" rtlCol="0" anchor="b">
            <a:noAutofit/>
          </a:bodyPr>
          <a:lstStyle/>
          <a:p>
            <a:r>
              <a:rPr lang="en-US" sz="4000">
                <a:solidFill>
                  <a:schemeClr val="bg1"/>
                </a:solidFill>
              </a:rPr>
              <a:t>Appendix</a:t>
            </a:r>
          </a:p>
        </p:txBody>
      </p:sp>
    </p:spTree>
    <p:custDataLst>
      <p:tags r:id="rId2"/>
    </p:custDataLst>
    <p:extLst>
      <p:ext uri="{BB962C8B-B14F-4D97-AF65-F5344CB8AC3E}">
        <p14:creationId xmlns:p14="http://schemas.microsoft.com/office/powerpoint/2010/main" val="17710060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44D08C5-3EE5-4BAC-9392-6CA8001CAD4E}"/>
              </a:ext>
            </a:extLst>
          </p:cNvPr>
          <p:cNvSpPr txBox="1"/>
          <p:nvPr/>
        </p:nvSpPr>
        <p:spPr>
          <a:xfrm>
            <a:off x="520208" y="582299"/>
            <a:ext cx="622598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SG" sz="1800">
                <a:solidFill>
                  <a:srgbClr val="002060"/>
                </a:solidFill>
              </a:rPr>
              <a:t>Analysing average </a:t>
            </a:r>
            <a:r>
              <a:rPr lang="en-SG">
                <a:solidFill>
                  <a:srgbClr val="002060"/>
                </a:solidFill>
              </a:rPr>
              <a:t>n</a:t>
            </a:r>
            <a:r>
              <a:rPr lang="en-SG" sz="1800">
                <a:solidFill>
                  <a:srgbClr val="002060"/>
                </a:solidFill>
              </a:rPr>
              <a:t>umber of riders against bus </a:t>
            </a:r>
            <a:r>
              <a:rPr lang="en-SG">
                <a:solidFill>
                  <a:srgbClr val="002060"/>
                </a:solidFill>
              </a:rPr>
              <a:t>stops</a:t>
            </a:r>
            <a:endParaRPr lang="en-US"/>
          </a:p>
        </p:txBody>
      </p:sp>
      <p:pic>
        <p:nvPicPr>
          <p:cNvPr id="11" name="Picture 10">
            <a:extLst>
              <a:ext uri="{FF2B5EF4-FFF2-40B4-BE49-F238E27FC236}">
                <a16:creationId xmlns:a16="http://schemas.microsoft.com/office/drawing/2014/main" id="{CD86A313-65D2-4D12-B76F-922156737525}"/>
              </a:ext>
            </a:extLst>
          </p:cNvPr>
          <p:cNvPicPr>
            <a:picLocks noChangeAspect="1"/>
          </p:cNvPicPr>
          <p:nvPr/>
        </p:nvPicPr>
        <p:blipFill rotWithShape="1">
          <a:blip r:embed="rId3"/>
          <a:srcRect t="1672"/>
          <a:stretch/>
        </p:blipFill>
        <p:spPr>
          <a:xfrm>
            <a:off x="4197143" y="1361165"/>
            <a:ext cx="6757692" cy="4744629"/>
          </a:xfrm>
          <a:prstGeom prst="rect">
            <a:avLst/>
          </a:prstGeom>
        </p:spPr>
      </p:pic>
      <p:sp>
        <p:nvSpPr>
          <p:cNvPr id="13" name="Rectangle 12">
            <a:extLst>
              <a:ext uri="{FF2B5EF4-FFF2-40B4-BE49-F238E27FC236}">
                <a16:creationId xmlns:a16="http://schemas.microsoft.com/office/drawing/2014/main" id="{003E35E4-DB87-4D35-8663-60FF12DD7B69}"/>
              </a:ext>
            </a:extLst>
          </p:cNvPr>
          <p:cNvSpPr/>
          <p:nvPr/>
        </p:nvSpPr>
        <p:spPr>
          <a:xfrm>
            <a:off x="6028821" y="2941779"/>
            <a:ext cx="420456" cy="2368647"/>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21" name="Rectangle 20">
            <a:extLst>
              <a:ext uri="{FF2B5EF4-FFF2-40B4-BE49-F238E27FC236}">
                <a16:creationId xmlns:a16="http://schemas.microsoft.com/office/drawing/2014/main" id="{46156451-ECB4-4520-895C-009D1F9E8343}"/>
              </a:ext>
            </a:extLst>
          </p:cNvPr>
          <p:cNvSpPr/>
          <p:nvPr/>
        </p:nvSpPr>
        <p:spPr>
          <a:xfrm>
            <a:off x="9552946" y="3294544"/>
            <a:ext cx="420456" cy="1767043"/>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14" name="TextBox 13">
            <a:extLst>
              <a:ext uri="{FF2B5EF4-FFF2-40B4-BE49-F238E27FC236}">
                <a16:creationId xmlns:a16="http://schemas.microsoft.com/office/drawing/2014/main" id="{CD92118D-BCDA-4C90-B9D2-09972FA65EE3}"/>
              </a:ext>
            </a:extLst>
          </p:cNvPr>
          <p:cNvSpPr txBox="1"/>
          <p:nvPr/>
        </p:nvSpPr>
        <p:spPr>
          <a:xfrm>
            <a:off x="5500789" y="2391664"/>
            <a:ext cx="1466670" cy="421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a:p>
            <a:pPr algn="ctr"/>
            <a:r>
              <a:rPr lang="en-SG" sz="1200">
                <a:solidFill>
                  <a:srgbClr val="FF8400"/>
                </a:solidFill>
              </a:rPr>
              <a:t>25,208 </a:t>
            </a:r>
          </a:p>
        </p:txBody>
      </p:sp>
      <p:sp>
        <p:nvSpPr>
          <p:cNvPr id="23" name="TextBox 22">
            <a:extLst>
              <a:ext uri="{FF2B5EF4-FFF2-40B4-BE49-F238E27FC236}">
                <a16:creationId xmlns:a16="http://schemas.microsoft.com/office/drawing/2014/main" id="{437837FB-28C6-4D49-A0CB-199C96E6B187}"/>
              </a:ext>
            </a:extLst>
          </p:cNvPr>
          <p:cNvSpPr txBox="1"/>
          <p:nvPr/>
        </p:nvSpPr>
        <p:spPr>
          <a:xfrm>
            <a:off x="9028006" y="2813969"/>
            <a:ext cx="1475635" cy="421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a:p>
            <a:pPr algn="ctr"/>
            <a:r>
              <a:rPr lang="en-SG" sz="1200">
                <a:solidFill>
                  <a:srgbClr val="FF8400"/>
                </a:solidFill>
              </a:rPr>
              <a:t>16,817 </a:t>
            </a:r>
          </a:p>
        </p:txBody>
      </p:sp>
      <p:sp>
        <p:nvSpPr>
          <p:cNvPr id="26" name="Rectangle 25">
            <a:extLst>
              <a:ext uri="{FF2B5EF4-FFF2-40B4-BE49-F238E27FC236}">
                <a16:creationId xmlns:a16="http://schemas.microsoft.com/office/drawing/2014/main" id="{22DD1760-D9EC-405F-9AAD-63EC690DC033}"/>
              </a:ext>
            </a:extLst>
          </p:cNvPr>
          <p:cNvSpPr/>
          <p:nvPr/>
        </p:nvSpPr>
        <p:spPr>
          <a:xfrm>
            <a:off x="5334255" y="1478173"/>
            <a:ext cx="420456" cy="3763645"/>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27" name="TextBox 26">
            <a:extLst>
              <a:ext uri="{FF2B5EF4-FFF2-40B4-BE49-F238E27FC236}">
                <a16:creationId xmlns:a16="http://schemas.microsoft.com/office/drawing/2014/main" id="{B2BF4484-08EE-483A-BA89-BC8EDC410538}"/>
              </a:ext>
            </a:extLst>
          </p:cNvPr>
          <p:cNvSpPr txBox="1"/>
          <p:nvPr/>
        </p:nvSpPr>
        <p:spPr>
          <a:xfrm>
            <a:off x="5153439" y="1062235"/>
            <a:ext cx="792652" cy="26057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SG" sz="1200">
                <a:solidFill>
                  <a:srgbClr val="FF8400"/>
                </a:solidFill>
              </a:rPr>
              <a:t>60,357 </a:t>
            </a:r>
          </a:p>
        </p:txBody>
      </p:sp>
      <p:sp>
        <p:nvSpPr>
          <p:cNvPr id="4" name="TextBox 3">
            <a:extLst>
              <a:ext uri="{FF2B5EF4-FFF2-40B4-BE49-F238E27FC236}">
                <a16:creationId xmlns:a16="http://schemas.microsoft.com/office/drawing/2014/main" id="{19708EDC-3A90-4EC0-A789-51301070BDC6}"/>
              </a:ext>
            </a:extLst>
          </p:cNvPr>
          <p:cNvSpPr txBox="1"/>
          <p:nvPr/>
        </p:nvSpPr>
        <p:spPr>
          <a:xfrm>
            <a:off x="2134527" y="313936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SG">
              <a:solidFill>
                <a:srgbClr val="FF0000"/>
              </a:solidFill>
            </a:endParaRPr>
          </a:p>
        </p:txBody>
      </p:sp>
      <p:sp>
        <p:nvSpPr>
          <p:cNvPr id="7" name="Title 6">
            <a:extLst>
              <a:ext uri="{FF2B5EF4-FFF2-40B4-BE49-F238E27FC236}">
                <a16:creationId xmlns:a16="http://schemas.microsoft.com/office/drawing/2014/main" id="{5040411B-0A54-429E-94AB-0F4DA7C1917E}"/>
              </a:ext>
            </a:extLst>
          </p:cNvPr>
          <p:cNvSpPr>
            <a:spLocks noGrp="1"/>
          </p:cNvSpPr>
          <p:nvPr>
            <p:ph type="title"/>
          </p:nvPr>
        </p:nvSpPr>
        <p:spPr>
          <a:xfrm>
            <a:off x="630000" y="185771"/>
            <a:ext cx="10933350" cy="443198"/>
          </a:xfrm>
        </p:spPr>
        <p:txBody>
          <a:bodyPr/>
          <a:lstStyle/>
          <a:p>
            <a:r>
              <a:rPr lang="en-US" sz="3200">
                <a:solidFill>
                  <a:srgbClr val="002060"/>
                </a:solidFill>
                <a:ea typeface="+mj-lt"/>
                <a:cs typeface="+mj-lt"/>
              </a:rPr>
              <a:t>Total ridership for bus stops (including Beach station)</a:t>
            </a:r>
          </a:p>
        </p:txBody>
      </p:sp>
      <p:pic>
        <p:nvPicPr>
          <p:cNvPr id="2" name="Picture 2" descr="Table&#10;&#10;Description automatically generated">
            <a:extLst>
              <a:ext uri="{FF2B5EF4-FFF2-40B4-BE49-F238E27FC236}">
                <a16:creationId xmlns:a16="http://schemas.microsoft.com/office/drawing/2014/main" id="{BD070F67-C046-4FA4-BC49-57AF06A15A77}"/>
              </a:ext>
            </a:extLst>
          </p:cNvPr>
          <p:cNvPicPr>
            <a:picLocks noChangeAspect="1"/>
          </p:cNvPicPr>
          <p:nvPr/>
        </p:nvPicPr>
        <p:blipFill>
          <a:blip r:embed="rId4"/>
          <a:stretch>
            <a:fillRect/>
          </a:stretch>
        </p:blipFill>
        <p:spPr>
          <a:xfrm>
            <a:off x="933413" y="1045473"/>
            <a:ext cx="2884713" cy="5460091"/>
          </a:xfrm>
          <a:prstGeom prst="rect">
            <a:avLst/>
          </a:prstGeom>
        </p:spPr>
      </p:pic>
    </p:spTree>
    <p:extLst>
      <p:ext uri="{BB962C8B-B14F-4D97-AF65-F5344CB8AC3E}">
        <p14:creationId xmlns:p14="http://schemas.microsoft.com/office/powerpoint/2010/main" val="1656587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76209F-81B0-4A6C-8B12-F6D764D3E106}"/>
              </a:ext>
            </a:extLst>
          </p:cNvPr>
          <p:cNvPicPr>
            <a:picLocks noChangeAspect="1"/>
          </p:cNvPicPr>
          <p:nvPr/>
        </p:nvPicPr>
        <p:blipFill>
          <a:blip r:embed="rId3"/>
          <a:stretch>
            <a:fillRect/>
          </a:stretch>
        </p:blipFill>
        <p:spPr>
          <a:xfrm>
            <a:off x="295377" y="2238785"/>
            <a:ext cx="3886185" cy="3377888"/>
          </a:xfrm>
          <a:prstGeom prst="rect">
            <a:avLst/>
          </a:prstGeom>
        </p:spPr>
      </p:pic>
      <p:pic>
        <p:nvPicPr>
          <p:cNvPr id="9" name="Picture 8">
            <a:extLst>
              <a:ext uri="{FF2B5EF4-FFF2-40B4-BE49-F238E27FC236}">
                <a16:creationId xmlns:a16="http://schemas.microsoft.com/office/drawing/2014/main" id="{A76048B9-7E18-4DEE-8C9E-48B93DFE3F73}"/>
              </a:ext>
            </a:extLst>
          </p:cNvPr>
          <p:cNvPicPr>
            <a:picLocks noChangeAspect="1"/>
          </p:cNvPicPr>
          <p:nvPr/>
        </p:nvPicPr>
        <p:blipFill>
          <a:blip r:embed="rId4"/>
          <a:stretch>
            <a:fillRect/>
          </a:stretch>
        </p:blipFill>
        <p:spPr>
          <a:xfrm>
            <a:off x="4243626" y="2238223"/>
            <a:ext cx="3978473" cy="3377009"/>
          </a:xfrm>
          <a:prstGeom prst="rect">
            <a:avLst/>
          </a:prstGeom>
        </p:spPr>
      </p:pic>
      <p:sp>
        <p:nvSpPr>
          <p:cNvPr id="11" name="Rectangle 10">
            <a:extLst>
              <a:ext uri="{FF2B5EF4-FFF2-40B4-BE49-F238E27FC236}">
                <a16:creationId xmlns:a16="http://schemas.microsoft.com/office/drawing/2014/main" id="{F659B4BD-50AD-4CA3-95ED-DEC3DABB4313}"/>
              </a:ext>
            </a:extLst>
          </p:cNvPr>
          <p:cNvSpPr/>
          <p:nvPr/>
        </p:nvSpPr>
        <p:spPr>
          <a:xfrm>
            <a:off x="2473325" y="2318509"/>
            <a:ext cx="1389529" cy="3381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a:solidFill>
                  <a:srgbClr val="FFFFFF"/>
                </a:solidFill>
              </a:rPr>
              <a:t>Bus Route A</a:t>
            </a:r>
          </a:p>
        </p:txBody>
      </p:sp>
      <p:sp>
        <p:nvSpPr>
          <p:cNvPr id="16" name="Rectangle 15">
            <a:extLst>
              <a:ext uri="{FF2B5EF4-FFF2-40B4-BE49-F238E27FC236}">
                <a16:creationId xmlns:a16="http://schemas.microsoft.com/office/drawing/2014/main" id="{E9F09C74-B1ED-48F0-B094-FCB61FD07FD8}"/>
              </a:ext>
            </a:extLst>
          </p:cNvPr>
          <p:cNvSpPr/>
          <p:nvPr/>
        </p:nvSpPr>
        <p:spPr>
          <a:xfrm>
            <a:off x="6471548" y="2387798"/>
            <a:ext cx="1389529" cy="3381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a:solidFill>
                  <a:srgbClr val="FFFFFF"/>
                </a:solidFill>
              </a:rPr>
              <a:t>Bus Route C</a:t>
            </a:r>
          </a:p>
        </p:txBody>
      </p:sp>
      <p:sp>
        <p:nvSpPr>
          <p:cNvPr id="5" name="Title 1">
            <a:extLst>
              <a:ext uri="{FF2B5EF4-FFF2-40B4-BE49-F238E27FC236}">
                <a16:creationId xmlns:a16="http://schemas.microsoft.com/office/drawing/2014/main" id="{66362E8C-07A8-4B97-87C8-091A9FDB599A}"/>
              </a:ext>
            </a:extLst>
          </p:cNvPr>
          <p:cNvSpPr txBox="1">
            <a:spLocks/>
          </p:cNvSpPr>
          <p:nvPr/>
        </p:nvSpPr>
        <p:spPr>
          <a:xfrm>
            <a:off x="630000" y="622800"/>
            <a:ext cx="7885351"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err="1">
                <a:solidFill>
                  <a:srgbClr val="002060"/>
                </a:solidFill>
                <a:ea typeface="+mj-lt"/>
                <a:cs typeface="+mj-lt"/>
              </a:rPr>
              <a:t>Imbiah</a:t>
            </a:r>
            <a:r>
              <a:rPr lang="en-US">
                <a:solidFill>
                  <a:srgbClr val="002060"/>
                </a:solidFill>
                <a:ea typeface="+mj-lt"/>
                <a:cs typeface="+mj-lt"/>
              </a:rPr>
              <a:t> Lookout and </a:t>
            </a:r>
            <a:r>
              <a:rPr lang="en-US" err="1">
                <a:solidFill>
                  <a:srgbClr val="002060"/>
                </a:solidFill>
                <a:ea typeface="+mj-lt"/>
                <a:cs typeface="+mj-lt"/>
              </a:rPr>
              <a:t>Siloso</a:t>
            </a:r>
            <a:r>
              <a:rPr lang="en-US">
                <a:solidFill>
                  <a:srgbClr val="002060"/>
                </a:solidFill>
                <a:ea typeface="+mj-lt"/>
                <a:cs typeface="+mj-lt"/>
              </a:rPr>
              <a:t> point are the top 2 most popular bus stops (ridership)</a:t>
            </a:r>
            <a:endParaRPr lang="en-US">
              <a:ea typeface="+mj-lt"/>
              <a:cs typeface="+mj-lt"/>
            </a:endParaRPr>
          </a:p>
        </p:txBody>
      </p:sp>
      <p:pic>
        <p:nvPicPr>
          <p:cNvPr id="4" name="Picture 6" descr="Chart, bar chart&#10;&#10;Description automatically generated">
            <a:extLst>
              <a:ext uri="{FF2B5EF4-FFF2-40B4-BE49-F238E27FC236}">
                <a16:creationId xmlns:a16="http://schemas.microsoft.com/office/drawing/2014/main" id="{D1E8906C-F7B4-4B64-A4F6-A75BD1D8E774}"/>
              </a:ext>
            </a:extLst>
          </p:cNvPr>
          <p:cNvPicPr>
            <a:picLocks noChangeAspect="1"/>
          </p:cNvPicPr>
          <p:nvPr/>
        </p:nvPicPr>
        <p:blipFill>
          <a:blip r:embed="rId5"/>
          <a:stretch>
            <a:fillRect/>
          </a:stretch>
        </p:blipFill>
        <p:spPr>
          <a:xfrm>
            <a:off x="8281149" y="3644590"/>
            <a:ext cx="3762053" cy="1928575"/>
          </a:xfrm>
          <a:prstGeom prst="rect">
            <a:avLst/>
          </a:prstGeom>
        </p:spPr>
      </p:pic>
      <p:sp>
        <p:nvSpPr>
          <p:cNvPr id="12" name="Rectangle 11">
            <a:extLst>
              <a:ext uri="{FF2B5EF4-FFF2-40B4-BE49-F238E27FC236}">
                <a16:creationId xmlns:a16="http://schemas.microsoft.com/office/drawing/2014/main" id="{67BF33BE-CD6B-41F5-B7CD-03406329964D}"/>
              </a:ext>
            </a:extLst>
          </p:cNvPr>
          <p:cNvSpPr/>
          <p:nvPr/>
        </p:nvSpPr>
        <p:spPr>
          <a:xfrm>
            <a:off x="10541978" y="3255898"/>
            <a:ext cx="1389529" cy="3381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a:solidFill>
                  <a:srgbClr val="FFFFFF"/>
                </a:solidFill>
              </a:rPr>
              <a:t>All 3 Routes</a:t>
            </a:r>
            <a:endParaRPr lang="en-US"/>
          </a:p>
        </p:txBody>
      </p:sp>
    </p:spTree>
    <p:extLst>
      <p:ext uri="{BB962C8B-B14F-4D97-AF65-F5344CB8AC3E}">
        <p14:creationId xmlns:p14="http://schemas.microsoft.com/office/powerpoint/2010/main" val="8556480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81280F0F-FE44-494C-A80A-92667A5E77F5}"/>
              </a:ext>
            </a:extLst>
          </p:cNvPr>
          <p:cNvSpPr/>
          <p:nvPr/>
        </p:nvSpPr>
        <p:spPr>
          <a:xfrm>
            <a:off x="631226" y="4386648"/>
            <a:ext cx="10467079" cy="2030979"/>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200">
              <a:ea typeface="+mn-lt"/>
              <a:cs typeface="+mn-lt"/>
            </a:endParaRPr>
          </a:p>
          <a:p>
            <a:pPr marL="342900" indent="-342900">
              <a:lnSpc>
                <a:spcPct val="150000"/>
              </a:lnSpc>
              <a:buAutoNum type="arabicParenR"/>
            </a:pPr>
            <a:endParaRPr lang="en-US" sz="1200">
              <a:solidFill>
                <a:srgbClr val="002060"/>
              </a:solidFill>
              <a:latin typeface="Trebuchet MS"/>
              <a:ea typeface="+mn-lt"/>
              <a:cs typeface="Segoe UI"/>
            </a:endParaRPr>
          </a:p>
          <a:p>
            <a:pPr marL="342900" indent="-342900">
              <a:lnSpc>
                <a:spcPct val="150000"/>
              </a:lnSpc>
              <a:buAutoNum type="arabicParenR"/>
            </a:pPr>
            <a:endParaRPr lang="en-US" sz="1200">
              <a:solidFill>
                <a:srgbClr val="002060"/>
              </a:solidFill>
              <a:latin typeface="Trebuchet MS"/>
              <a:ea typeface="+mn-lt"/>
              <a:cs typeface="Segoe UI"/>
            </a:endParaRPr>
          </a:p>
          <a:p>
            <a:pPr marL="342900" indent="-342900">
              <a:buFont typeface="+mj-lt"/>
              <a:buAutoNum type="arabicParenR"/>
            </a:pPr>
            <a:r>
              <a:rPr lang="en-US" sz="1600">
                <a:solidFill>
                  <a:srgbClr val="002060"/>
                </a:solidFill>
                <a:latin typeface="Trebuchet MS"/>
                <a:cs typeface="Arial"/>
              </a:rPr>
              <a:t>More dynamic scheduling ahead of demand surges instead of current fixated schedules.</a:t>
            </a:r>
            <a:endParaRPr lang="en-US" sz="1600">
              <a:solidFill>
                <a:srgbClr val="002060"/>
              </a:solidFill>
              <a:latin typeface="Trebuchet MS"/>
              <a:ea typeface="+mn-lt"/>
              <a:cs typeface="+mn-lt"/>
            </a:endParaRPr>
          </a:p>
          <a:p>
            <a:pPr marL="342900" indent="-342900">
              <a:buFont typeface="+mj-lt"/>
              <a:buAutoNum type="arabicParenR"/>
            </a:pPr>
            <a:r>
              <a:rPr lang="en-US" sz="1600">
                <a:solidFill>
                  <a:srgbClr val="002060"/>
                </a:solidFill>
                <a:latin typeface="Trebuchet MS"/>
                <a:cs typeface="Arial"/>
              </a:rPr>
              <a:t>Potential cost savings to remove under-utilized buses during non-peak hours.</a:t>
            </a:r>
            <a:endParaRPr lang="en-US" sz="1600">
              <a:solidFill>
                <a:srgbClr val="002060"/>
              </a:solidFill>
              <a:latin typeface="Trebuchet MS"/>
              <a:ea typeface="+mn-lt"/>
              <a:cs typeface="+mn-lt"/>
            </a:endParaRPr>
          </a:p>
          <a:p>
            <a:pPr marL="342900" indent="-342900">
              <a:buFont typeface="+mj-lt"/>
              <a:buAutoNum type="arabicParenR"/>
            </a:pPr>
            <a:r>
              <a:rPr lang="en-US" sz="1600">
                <a:solidFill>
                  <a:srgbClr val="002060"/>
                </a:solidFill>
                <a:latin typeface="Trebuchet MS"/>
                <a:cs typeface="Arial"/>
              </a:rPr>
              <a:t>Increase in customer satisfaction as they can use the App to better plan their time in Sentosa</a:t>
            </a:r>
          </a:p>
          <a:p>
            <a:pPr marL="342900" indent="-342900">
              <a:buFont typeface="+mj-lt"/>
              <a:buAutoNum type="arabicParenR"/>
            </a:pPr>
            <a:r>
              <a:rPr lang="en-US" sz="1600">
                <a:solidFill>
                  <a:srgbClr val="002060"/>
                </a:solidFill>
                <a:latin typeface="Trebuchet MS"/>
                <a:cs typeface="Arial"/>
              </a:rPr>
              <a:t>Potential increase in revenue for SDC with more take up traffic on the Sentosa App.</a:t>
            </a:r>
            <a:endParaRPr lang="en-US" sz="1600"/>
          </a:p>
          <a:p>
            <a:pPr marL="342900" indent="-342900">
              <a:lnSpc>
                <a:spcPct val="150000"/>
              </a:lnSpc>
              <a:buAutoNum type="arabicParenR"/>
            </a:pPr>
            <a:endParaRPr lang="en-US" sz="1600">
              <a:solidFill>
                <a:srgbClr val="002060"/>
              </a:solidFill>
              <a:cs typeface="Segoe UI"/>
            </a:endParaRPr>
          </a:p>
        </p:txBody>
      </p:sp>
      <p:sp>
        <p:nvSpPr>
          <p:cNvPr id="11" name="Rectangle 10">
            <a:extLst>
              <a:ext uri="{FF2B5EF4-FFF2-40B4-BE49-F238E27FC236}">
                <a16:creationId xmlns:a16="http://schemas.microsoft.com/office/drawing/2014/main" id="{48FA4A77-CB38-4FAD-81FC-6F8B79C30622}"/>
              </a:ext>
            </a:extLst>
          </p:cNvPr>
          <p:cNvSpPr/>
          <p:nvPr/>
        </p:nvSpPr>
        <p:spPr>
          <a:xfrm>
            <a:off x="631226" y="1281719"/>
            <a:ext cx="10467079" cy="2955065"/>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nSpc>
                <a:spcPct val="150000"/>
              </a:lnSpc>
            </a:pPr>
            <a:endParaRPr lang="en-US" sz="2000" b="1">
              <a:solidFill>
                <a:srgbClr val="002060"/>
              </a:solidFill>
              <a:cs typeface="Segoe UI"/>
            </a:endParaRPr>
          </a:p>
          <a:p>
            <a:pPr>
              <a:lnSpc>
                <a:spcPct val="150000"/>
              </a:lnSpc>
            </a:pPr>
            <a:r>
              <a:rPr lang="en-US" sz="2000" b="1">
                <a:solidFill>
                  <a:srgbClr val="002060"/>
                </a:solidFill>
                <a:cs typeface="Segoe UI"/>
              </a:rPr>
              <a:t>Data</a:t>
            </a:r>
            <a:endParaRPr lang="en-US" sz="2000">
              <a:ea typeface="+mn-lt"/>
              <a:cs typeface="+mn-lt"/>
            </a:endParaRPr>
          </a:p>
          <a:p>
            <a:r>
              <a:rPr lang="en-US" sz="1600">
                <a:solidFill>
                  <a:srgbClr val="002060"/>
                </a:solidFill>
                <a:latin typeface="Trebuchet MS"/>
                <a:ea typeface="+mn-lt"/>
                <a:cs typeface="+mn-lt"/>
              </a:rPr>
              <a:t>Adopt a demand forecasting model to help Sentosa Development Corporation (SDC) to preempt the hourly ridership a week ahead to allow SDC Operations team to plan its bus scheduling to cater to the guest demand.</a:t>
            </a:r>
          </a:p>
          <a:p>
            <a:endParaRPr lang="en-US" sz="2000">
              <a:cs typeface="Segoe UI"/>
            </a:endParaRPr>
          </a:p>
          <a:p>
            <a:pPr>
              <a:lnSpc>
                <a:spcPct val="150000"/>
              </a:lnSpc>
            </a:pPr>
            <a:r>
              <a:rPr lang="en-US" sz="2000" b="1">
                <a:solidFill>
                  <a:srgbClr val="002060"/>
                </a:solidFill>
                <a:cs typeface="Segoe UI"/>
              </a:rPr>
              <a:t>Digital </a:t>
            </a:r>
            <a:endParaRPr lang="en-US" sz="2000">
              <a:ea typeface="+mn-lt"/>
              <a:cs typeface="+mn-lt"/>
            </a:endParaRPr>
          </a:p>
          <a:p>
            <a:r>
              <a:rPr lang="en-US" sz="1600">
                <a:solidFill>
                  <a:srgbClr val="002060"/>
                </a:solidFill>
                <a:latin typeface="Trebuchet MS"/>
                <a:ea typeface="+mn-lt"/>
                <a:cs typeface="+mn-lt"/>
              </a:rPr>
              <a:t>Include shuttle bus service information in the Sentosa App to allow guests to view the bus arrival times and available capacity real time.</a:t>
            </a:r>
            <a:endParaRPr lang="en-US" sz="2000">
              <a:cs typeface="Segoe UI"/>
            </a:endParaRPr>
          </a:p>
        </p:txBody>
      </p:sp>
      <p:sp>
        <p:nvSpPr>
          <p:cNvPr id="13" name="Title 1">
            <a:extLst>
              <a:ext uri="{FF2B5EF4-FFF2-40B4-BE49-F238E27FC236}">
                <a16:creationId xmlns:a16="http://schemas.microsoft.com/office/drawing/2014/main" id="{30AA57D7-C548-4A67-A676-80F9FD59520F}"/>
              </a:ext>
            </a:extLst>
          </p:cNvPr>
          <p:cNvSpPr txBox="1">
            <a:spLocks/>
          </p:cNvSpPr>
          <p:nvPr/>
        </p:nvSpPr>
        <p:spPr>
          <a:xfrm>
            <a:off x="744505" y="4591349"/>
            <a:ext cx="4524274"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sz="2400" b="1">
                <a:solidFill>
                  <a:srgbClr val="002060"/>
                </a:solidFill>
              </a:rPr>
              <a:t>Value &amp; Impact</a:t>
            </a:r>
            <a:endParaRPr lang="en-US" sz="2400" b="1"/>
          </a:p>
        </p:txBody>
      </p:sp>
      <p:pic>
        <p:nvPicPr>
          <p:cNvPr id="39" name="Graphic 39" descr="Marker with solid fill">
            <a:extLst>
              <a:ext uri="{FF2B5EF4-FFF2-40B4-BE49-F238E27FC236}">
                <a16:creationId xmlns:a16="http://schemas.microsoft.com/office/drawing/2014/main" id="{6D100E40-F0A0-4C81-AFE6-66AAB66A84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9701" y="1825201"/>
            <a:ext cx="377429" cy="400561"/>
          </a:xfrm>
          <a:prstGeom prst="rect">
            <a:avLst/>
          </a:prstGeom>
        </p:spPr>
      </p:pic>
      <p:pic>
        <p:nvPicPr>
          <p:cNvPr id="42" name="Graphic 1727" descr="Bus with solid fill">
            <a:extLst>
              <a:ext uri="{FF2B5EF4-FFF2-40B4-BE49-F238E27FC236}">
                <a16:creationId xmlns:a16="http://schemas.microsoft.com/office/drawing/2014/main" id="{EEF785FC-B0A1-4C7B-971D-1AC4D6CB00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85191" y="2951919"/>
            <a:ext cx="566979" cy="561478"/>
          </a:xfrm>
          <a:prstGeom prst="rect">
            <a:avLst/>
          </a:prstGeom>
        </p:spPr>
      </p:pic>
      <p:pic>
        <p:nvPicPr>
          <p:cNvPr id="2" name="Graphic 2" descr="Diamond with solid fill">
            <a:extLst>
              <a:ext uri="{FF2B5EF4-FFF2-40B4-BE49-F238E27FC236}">
                <a16:creationId xmlns:a16="http://schemas.microsoft.com/office/drawing/2014/main" id="{6BBE8389-1D25-4379-BF1C-7067429B2BE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68348" y="4545224"/>
            <a:ext cx="421795" cy="429492"/>
          </a:xfrm>
          <a:prstGeom prst="rect">
            <a:avLst/>
          </a:prstGeom>
        </p:spPr>
      </p:pic>
      <p:sp>
        <p:nvSpPr>
          <p:cNvPr id="10" name="Title 1">
            <a:extLst>
              <a:ext uri="{FF2B5EF4-FFF2-40B4-BE49-F238E27FC236}">
                <a16:creationId xmlns:a16="http://schemas.microsoft.com/office/drawing/2014/main" id="{C7E09FAF-0290-407B-B54A-2BF23284E185}"/>
              </a:ext>
            </a:extLst>
          </p:cNvPr>
          <p:cNvSpPr txBox="1">
            <a:spLocks/>
          </p:cNvSpPr>
          <p:nvPr/>
        </p:nvSpPr>
        <p:spPr>
          <a:xfrm>
            <a:off x="744505" y="1436606"/>
            <a:ext cx="4524274"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sz="2400" b="1">
                <a:solidFill>
                  <a:srgbClr val="002060"/>
                </a:solidFill>
              </a:rPr>
              <a:t>Our Recommendations</a:t>
            </a:r>
            <a:endParaRPr lang="en-US" sz="2400" b="1"/>
          </a:p>
        </p:txBody>
      </p:sp>
      <p:sp>
        <p:nvSpPr>
          <p:cNvPr id="12" name="TextBox 11">
            <a:extLst>
              <a:ext uri="{FF2B5EF4-FFF2-40B4-BE49-F238E27FC236}">
                <a16:creationId xmlns:a16="http://schemas.microsoft.com/office/drawing/2014/main" id="{F05B709A-466D-402E-A9B4-4A89DE56E885}"/>
              </a:ext>
            </a:extLst>
          </p:cNvPr>
          <p:cNvSpPr txBox="1"/>
          <p:nvPr/>
        </p:nvSpPr>
        <p:spPr>
          <a:xfrm>
            <a:off x="588417" y="221529"/>
            <a:ext cx="10506581" cy="9541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US" sz="2800" b="1">
                <a:solidFill>
                  <a:schemeClr val="accent4">
                    <a:lumMod val="75000"/>
                  </a:schemeClr>
                </a:solidFill>
              </a:rPr>
              <a:t>How might we provide better allocation of buses to bus stops to cater to ridership demand?</a:t>
            </a:r>
            <a:endParaRPr lang="en-SG" sz="2800" b="1">
              <a:solidFill>
                <a:schemeClr val="accent4">
                  <a:lumMod val="75000"/>
                </a:schemeClr>
              </a:solidFill>
            </a:endParaRPr>
          </a:p>
        </p:txBody>
      </p:sp>
    </p:spTree>
    <p:extLst>
      <p:ext uri="{BB962C8B-B14F-4D97-AF65-F5344CB8AC3E}">
        <p14:creationId xmlns:p14="http://schemas.microsoft.com/office/powerpoint/2010/main" val="35815662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44D08C5-3EE5-4BAC-9392-6CA8001CAD4E}"/>
              </a:ext>
            </a:extLst>
          </p:cNvPr>
          <p:cNvSpPr txBox="1"/>
          <p:nvPr/>
        </p:nvSpPr>
        <p:spPr>
          <a:xfrm>
            <a:off x="632267" y="1052946"/>
            <a:ext cx="622598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endParaRPr lang="en-SG">
              <a:solidFill>
                <a:srgbClr val="002060"/>
              </a:solidFill>
            </a:endParaRPr>
          </a:p>
        </p:txBody>
      </p:sp>
      <p:sp>
        <p:nvSpPr>
          <p:cNvPr id="14" name="TextBox 13">
            <a:extLst>
              <a:ext uri="{FF2B5EF4-FFF2-40B4-BE49-F238E27FC236}">
                <a16:creationId xmlns:a16="http://schemas.microsoft.com/office/drawing/2014/main" id="{CD92118D-BCDA-4C90-B9D2-09972FA65EE3}"/>
              </a:ext>
            </a:extLst>
          </p:cNvPr>
          <p:cNvSpPr txBox="1"/>
          <p:nvPr/>
        </p:nvSpPr>
        <p:spPr>
          <a:xfrm>
            <a:off x="7132364" y="2436487"/>
            <a:ext cx="1179800" cy="3317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p:txBody>
      </p:sp>
      <p:sp>
        <p:nvSpPr>
          <p:cNvPr id="4" name="TextBox 3">
            <a:extLst>
              <a:ext uri="{FF2B5EF4-FFF2-40B4-BE49-F238E27FC236}">
                <a16:creationId xmlns:a16="http://schemas.microsoft.com/office/drawing/2014/main" id="{19708EDC-3A90-4EC0-A789-51301070BDC6}"/>
              </a:ext>
            </a:extLst>
          </p:cNvPr>
          <p:cNvSpPr txBox="1"/>
          <p:nvPr/>
        </p:nvSpPr>
        <p:spPr>
          <a:xfrm>
            <a:off x="2134527" y="313936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SG">
              <a:solidFill>
                <a:srgbClr val="FF0000"/>
              </a:solidFill>
            </a:endParaRPr>
          </a:p>
        </p:txBody>
      </p:sp>
      <p:sp>
        <p:nvSpPr>
          <p:cNvPr id="7" name="Title 6">
            <a:extLst>
              <a:ext uri="{FF2B5EF4-FFF2-40B4-BE49-F238E27FC236}">
                <a16:creationId xmlns:a16="http://schemas.microsoft.com/office/drawing/2014/main" id="{5040411B-0A54-429E-94AB-0F4DA7C1917E}"/>
              </a:ext>
            </a:extLst>
          </p:cNvPr>
          <p:cNvSpPr>
            <a:spLocks noGrp="1"/>
          </p:cNvSpPr>
          <p:nvPr>
            <p:ph type="title"/>
          </p:nvPr>
        </p:nvSpPr>
        <p:spPr/>
        <p:txBody>
          <a:bodyPr/>
          <a:lstStyle/>
          <a:p>
            <a:r>
              <a:rPr lang="en-US">
                <a:solidFill>
                  <a:srgbClr val="002060"/>
                </a:solidFill>
                <a:ea typeface="+mj-lt"/>
                <a:cs typeface="+mj-lt"/>
              </a:rPr>
              <a:t>Total ridership by route</a:t>
            </a:r>
          </a:p>
        </p:txBody>
      </p:sp>
      <p:pic>
        <p:nvPicPr>
          <p:cNvPr id="3" name="Picture 4" descr="Chart&#10;&#10;Description automatically generated">
            <a:extLst>
              <a:ext uri="{FF2B5EF4-FFF2-40B4-BE49-F238E27FC236}">
                <a16:creationId xmlns:a16="http://schemas.microsoft.com/office/drawing/2014/main" id="{5DEAADBB-8BEB-4916-8B81-E680A113BDAC}"/>
              </a:ext>
            </a:extLst>
          </p:cNvPr>
          <p:cNvPicPr>
            <a:picLocks noChangeAspect="1"/>
          </p:cNvPicPr>
          <p:nvPr/>
        </p:nvPicPr>
        <p:blipFill>
          <a:blip r:embed="rId3"/>
          <a:stretch>
            <a:fillRect/>
          </a:stretch>
        </p:blipFill>
        <p:spPr>
          <a:xfrm>
            <a:off x="634253" y="1422759"/>
            <a:ext cx="10486464" cy="3950068"/>
          </a:xfrm>
          <a:prstGeom prst="rect">
            <a:avLst/>
          </a:prstGeom>
        </p:spPr>
      </p:pic>
    </p:spTree>
    <p:extLst>
      <p:ext uri="{BB962C8B-B14F-4D97-AF65-F5344CB8AC3E}">
        <p14:creationId xmlns:p14="http://schemas.microsoft.com/office/powerpoint/2010/main" val="32950418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622800"/>
            <a:ext cx="10933350" cy="941796"/>
          </a:xfrm>
        </p:spPr>
        <p:txBody>
          <a:bodyPr/>
          <a:lstStyle/>
          <a:p>
            <a:r>
              <a:rPr lang="en-US">
                <a:solidFill>
                  <a:srgbClr val="002060"/>
                </a:solidFill>
                <a:ea typeface="+mj-lt"/>
                <a:cs typeface="+mj-lt"/>
              </a:rPr>
              <a:t>Bus Frequency of top bus stops </a:t>
            </a:r>
            <a:br>
              <a:rPr lang="en-US">
                <a:ea typeface="+mj-lt"/>
                <a:cs typeface="+mj-lt"/>
              </a:rPr>
            </a:br>
            <a:r>
              <a:rPr lang="en-US" err="1">
                <a:solidFill>
                  <a:srgbClr val="002060"/>
                </a:solidFill>
                <a:ea typeface="+mj-lt"/>
                <a:cs typeface="+mj-lt"/>
              </a:rPr>
              <a:t>Siloso</a:t>
            </a:r>
            <a:r>
              <a:rPr lang="en-US">
                <a:solidFill>
                  <a:srgbClr val="002060"/>
                </a:solidFill>
                <a:ea typeface="+mj-lt"/>
                <a:cs typeface="+mj-lt"/>
              </a:rPr>
              <a:t> Point and </a:t>
            </a:r>
            <a:r>
              <a:rPr lang="en-US" err="1">
                <a:solidFill>
                  <a:srgbClr val="002060"/>
                </a:solidFill>
                <a:ea typeface="+mj-lt"/>
                <a:cs typeface="+mj-lt"/>
              </a:rPr>
              <a:t>Imbiah</a:t>
            </a:r>
            <a:r>
              <a:rPr lang="en-US">
                <a:solidFill>
                  <a:srgbClr val="002060"/>
                </a:solidFill>
                <a:ea typeface="+mj-lt"/>
                <a:cs typeface="+mj-lt"/>
              </a:rPr>
              <a:t> Lookout (Weekday)</a:t>
            </a:r>
            <a:endParaRPr lang="en-US">
              <a:ea typeface="+mj-lt"/>
              <a:cs typeface="+mj-lt"/>
            </a:endParaRPr>
          </a:p>
        </p:txBody>
      </p:sp>
      <p:sp>
        <p:nvSpPr>
          <p:cNvPr id="4" name="TextBox 3">
            <a:extLst>
              <a:ext uri="{FF2B5EF4-FFF2-40B4-BE49-F238E27FC236}">
                <a16:creationId xmlns:a16="http://schemas.microsoft.com/office/drawing/2014/main" id="{215644EC-E1A2-4B5F-BA53-79EB189605EC}"/>
              </a:ext>
            </a:extLst>
          </p:cNvPr>
          <p:cNvSpPr txBox="1"/>
          <p:nvPr/>
        </p:nvSpPr>
        <p:spPr>
          <a:xfrm>
            <a:off x="629190" y="6075771"/>
            <a:ext cx="9816476" cy="617045"/>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a:solidFill>
                  <a:srgbClr val="002060"/>
                </a:solidFill>
                <a:ea typeface="+mn-lt"/>
                <a:cs typeface="+mn-lt"/>
              </a:rPr>
              <a:t>Based on maximum bus ridership within each hour and bus capacity of 50, actual frequency of buses deployed within each hour on weekdays is higher than required.</a:t>
            </a:r>
            <a:endParaRPr lang="en-US">
              <a:ea typeface="+mn-lt"/>
              <a:cs typeface="+mn-lt"/>
            </a:endParaRPr>
          </a:p>
        </p:txBody>
      </p:sp>
      <p:sp>
        <p:nvSpPr>
          <p:cNvPr id="3" name="TextBox 2">
            <a:extLst>
              <a:ext uri="{FF2B5EF4-FFF2-40B4-BE49-F238E27FC236}">
                <a16:creationId xmlns:a16="http://schemas.microsoft.com/office/drawing/2014/main" id="{2321500F-B116-49E9-B713-1C89E59A92D6}"/>
              </a:ext>
            </a:extLst>
          </p:cNvPr>
          <p:cNvSpPr txBox="1"/>
          <p:nvPr/>
        </p:nvSpPr>
        <p:spPr>
          <a:xfrm>
            <a:off x="628650"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Siloso</a:t>
            </a:r>
            <a:r>
              <a:rPr lang="en-US" sz="2000">
                <a:solidFill>
                  <a:schemeClr val="tx1"/>
                </a:solidFill>
              </a:rPr>
              <a:t> Point</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43588"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Imbiah</a:t>
            </a:r>
            <a:r>
              <a:rPr lang="en-US">
                <a:solidFill>
                  <a:schemeClr val="tx1"/>
                </a:solidFill>
              </a:rPr>
              <a:t> </a:t>
            </a:r>
            <a:r>
              <a:rPr lang="en-US" sz="2000">
                <a:solidFill>
                  <a:schemeClr val="tx1"/>
                </a:solidFill>
              </a:rPr>
              <a:t>Lookout</a:t>
            </a:r>
          </a:p>
        </p:txBody>
      </p:sp>
      <p:cxnSp>
        <p:nvCxnSpPr>
          <p:cNvPr id="5" name="Straight Arrow Connector 4">
            <a:extLst>
              <a:ext uri="{FF2B5EF4-FFF2-40B4-BE49-F238E27FC236}">
                <a16:creationId xmlns:a16="http://schemas.microsoft.com/office/drawing/2014/main" id="{7650244C-E06B-41BA-A77C-2D20639EA927}"/>
              </a:ext>
            </a:extLst>
          </p:cNvPr>
          <p:cNvCxnSpPr/>
          <p:nvPr/>
        </p:nvCxnSpPr>
        <p:spPr>
          <a:xfrm>
            <a:off x="5527676" y="1654176"/>
            <a:ext cx="25399" cy="4319586"/>
          </a:xfrm>
          <a:prstGeom prst="straightConnector1">
            <a:avLst/>
          </a:prstGeom>
          <a:ln w="952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8" name="Picture 8" descr="Chart, line chart&#10;&#10;Description automatically generated">
            <a:extLst>
              <a:ext uri="{FF2B5EF4-FFF2-40B4-BE49-F238E27FC236}">
                <a16:creationId xmlns:a16="http://schemas.microsoft.com/office/drawing/2014/main" id="{B55EB88B-1131-49F1-9EBF-9451360D2DC8}"/>
              </a:ext>
            </a:extLst>
          </p:cNvPr>
          <p:cNvPicPr>
            <a:picLocks noChangeAspect="1"/>
          </p:cNvPicPr>
          <p:nvPr/>
        </p:nvPicPr>
        <p:blipFill>
          <a:blip r:embed="rId3"/>
          <a:stretch>
            <a:fillRect/>
          </a:stretch>
        </p:blipFill>
        <p:spPr>
          <a:xfrm>
            <a:off x="5838092" y="1977941"/>
            <a:ext cx="4618892" cy="2022886"/>
          </a:xfrm>
          <a:prstGeom prst="rect">
            <a:avLst/>
          </a:prstGeom>
        </p:spPr>
      </p:pic>
      <p:pic>
        <p:nvPicPr>
          <p:cNvPr id="9" name="Picture 12" descr="Chart, line chart&#10;&#10;Description automatically generated">
            <a:extLst>
              <a:ext uri="{FF2B5EF4-FFF2-40B4-BE49-F238E27FC236}">
                <a16:creationId xmlns:a16="http://schemas.microsoft.com/office/drawing/2014/main" id="{3C5E64A5-AEC6-4C45-A9BB-6D9278736CF1}"/>
              </a:ext>
            </a:extLst>
          </p:cNvPr>
          <p:cNvPicPr>
            <a:picLocks noChangeAspect="1"/>
          </p:cNvPicPr>
          <p:nvPr/>
        </p:nvPicPr>
        <p:blipFill>
          <a:blip r:embed="rId4"/>
          <a:stretch>
            <a:fillRect/>
          </a:stretch>
        </p:blipFill>
        <p:spPr>
          <a:xfrm>
            <a:off x="631092" y="1963325"/>
            <a:ext cx="4618892" cy="2042349"/>
          </a:xfrm>
          <a:prstGeom prst="rect">
            <a:avLst/>
          </a:prstGeom>
        </p:spPr>
      </p:pic>
      <p:pic>
        <p:nvPicPr>
          <p:cNvPr id="10" name="Picture 10" descr="Chart, bar chart&#10;&#10;Description automatically generated">
            <a:extLst>
              <a:ext uri="{FF2B5EF4-FFF2-40B4-BE49-F238E27FC236}">
                <a16:creationId xmlns:a16="http://schemas.microsoft.com/office/drawing/2014/main" id="{391F6A77-68C5-4C52-ABF8-CA8D80177516}"/>
              </a:ext>
            </a:extLst>
          </p:cNvPr>
          <p:cNvPicPr>
            <a:picLocks noChangeAspect="1"/>
          </p:cNvPicPr>
          <p:nvPr/>
        </p:nvPicPr>
        <p:blipFill>
          <a:blip r:embed="rId5"/>
          <a:stretch>
            <a:fillRect/>
          </a:stretch>
        </p:blipFill>
        <p:spPr>
          <a:xfrm>
            <a:off x="5835650" y="3999738"/>
            <a:ext cx="4608512" cy="1946210"/>
          </a:xfrm>
          <a:prstGeom prst="rect">
            <a:avLst/>
          </a:prstGeom>
        </p:spPr>
      </p:pic>
      <p:pic>
        <p:nvPicPr>
          <p:cNvPr id="11" name="Picture 12" descr="Chart, bar chart&#10;&#10;Description automatically generated">
            <a:extLst>
              <a:ext uri="{FF2B5EF4-FFF2-40B4-BE49-F238E27FC236}">
                <a16:creationId xmlns:a16="http://schemas.microsoft.com/office/drawing/2014/main" id="{D3B0CDFF-5E2B-4904-8700-08E7D750F067}"/>
              </a:ext>
            </a:extLst>
          </p:cNvPr>
          <p:cNvPicPr>
            <a:picLocks noChangeAspect="1"/>
          </p:cNvPicPr>
          <p:nvPr/>
        </p:nvPicPr>
        <p:blipFill>
          <a:blip r:embed="rId6"/>
          <a:stretch>
            <a:fillRect/>
          </a:stretch>
        </p:blipFill>
        <p:spPr>
          <a:xfrm>
            <a:off x="628650" y="3999367"/>
            <a:ext cx="4608512" cy="1946955"/>
          </a:xfrm>
          <a:prstGeom prst="rect">
            <a:avLst/>
          </a:prstGeom>
        </p:spPr>
      </p:pic>
    </p:spTree>
    <p:extLst>
      <p:ext uri="{BB962C8B-B14F-4D97-AF65-F5344CB8AC3E}">
        <p14:creationId xmlns:p14="http://schemas.microsoft.com/office/powerpoint/2010/main" val="21490377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622800"/>
            <a:ext cx="10933350" cy="941796"/>
          </a:xfrm>
        </p:spPr>
        <p:txBody>
          <a:bodyPr/>
          <a:lstStyle/>
          <a:p>
            <a:r>
              <a:rPr lang="en-US">
                <a:solidFill>
                  <a:srgbClr val="002060"/>
                </a:solidFill>
                <a:ea typeface="+mj-lt"/>
                <a:cs typeface="+mj-lt"/>
              </a:rPr>
              <a:t>Bus Frequency of top bus stops </a:t>
            </a:r>
            <a:br>
              <a:rPr lang="en-US">
                <a:ea typeface="+mj-lt"/>
                <a:cs typeface="+mj-lt"/>
              </a:rPr>
            </a:br>
            <a:r>
              <a:rPr lang="en-US" err="1">
                <a:solidFill>
                  <a:srgbClr val="002060"/>
                </a:solidFill>
                <a:ea typeface="+mj-lt"/>
                <a:cs typeface="+mj-lt"/>
              </a:rPr>
              <a:t>Siloso</a:t>
            </a:r>
            <a:r>
              <a:rPr lang="en-US">
                <a:solidFill>
                  <a:srgbClr val="002060"/>
                </a:solidFill>
                <a:ea typeface="+mj-lt"/>
                <a:cs typeface="+mj-lt"/>
              </a:rPr>
              <a:t> Point and </a:t>
            </a:r>
            <a:r>
              <a:rPr lang="en-US" err="1">
                <a:solidFill>
                  <a:srgbClr val="002060"/>
                </a:solidFill>
                <a:ea typeface="+mj-lt"/>
                <a:cs typeface="+mj-lt"/>
              </a:rPr>
              <a:t>Imbiah</a:t>
            </a:r>
            <a:r>
              <a:rPr lang="en-US">
                <a:solidFill>
                  <a:srgbClr val="002060"/>
                </a:solidFill>
                <a:ea typeface="+mj-lt"/>
                <a:cs typeface="+mj-lt"/>
              </a:rPr>
              <a:t> Lookout (Weekend/holidays)</a:t>
            </a:r>
            <a:endParaRPr lang="en-US">
              <a:ea typeface="+mj-lt"/>
              <a:cs typeface="+mj-lt"/>
            </a:endParaRPr>
          </a:p>
        </p:txBody>
      </p:sp>
      <p:sp>
        <p:nvSpPr>
          <p:cNvPr id="4" name="TextBox 3">
            <a:extLst>
              <a:ext uri="{FF2B5EF4-FFF2-40B4-BE49-F238E27FC236}">
                <a16:creationId xmlns:a16="http://schemas.microsoft.com/office/drawing/2014/main" id="{215644EC-E1A2-4B5F-BA53-79EB189605EC}"/>
              </a:ext>
            </a:extLst>
          </p:cNvPr>
          <p:cNvSpPr txBox="1"/>
          <p:nvPr/>
        </p:nvSpPr>
        <p:spPr>
          <a:xfrm>
            <a:off x="629190" y="6075771"/>
            <a:ext cx="9816476" cy="574236"/>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a:solidFill>
                  <a:srgbClr val="002060"/>
                </a:solidFill>
              </a:rPr>
              <a:t>Based on maximum bus ridership within each hour and bus capacity of 50, actual frequency of buses deployed within each hour on weekends is higher than required.</a:t>
            </a:r>
          </a:p>
        </p:txBody>
      </p:sp>
      <p:sp>
        <p:nvSpPr>
          <p:cNvPr id="3" name="TextBox 2">
            <a:extLst>
              <a:ext uri="{FF2B5EF4-FFF2-40B4-BE49-F238E27FC236}">
                <a16:creationId xmlns:a16="http://schemas.microsoft.com/office/drawing/2014/main" id="{2321500F-B116-49E9-B713-1C89E59A92D6}"/>
              </a:ext>
            </a:extLst>
          </p:cNvPr>
          <p:cNvSpPr txBox="1"/>
          <p:nvPr/>
        </p:nvSpPr>
        <p:spPr>
          <a:xfrm>
            <a:off x="628650"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Siloso</a:t>
            </a:r>
            <a:r>
              <a:rPr lang="en-US" sz="2000">
                <a:solidFill>
                  <a:schemeClr val="tx1"/>
                </a:solidFill>
              </a:rPr>
              <a:t> Point</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43588"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Imbiah</a:t>
            </a:r>
            <a:r>
              <a:rPr lang="en-US">
                <a:solidFill>
                  <a:schemeClr val="tx1"/>
                </a:solidFill>
              </a:rPr>
              <a:t> </a:t>
            </a:r>
            <a:r>
              <a:rPr lang="en-US" sz="2000">
                <a:solidFill>
                  <a:schemeClr val="tx1"/>
                </a:solidFill>
              </a:rPr>
              <a:t>Lookout</a:t>
            </a:r>
          </a:p>
        </p:txBody>
      </p:sp>
      <p:cxnSp>
        <p:nvCxnSpPr>
          <p:cNvPr id="5" name="Straight Arrow Connector 4">
            <a:extLst>
              <a:ext uri="{FF2B5EF4-FFF2-40B4-BE49-F238E27FC236}">
                <a16:creationId xmlns:a16="http://schemas.microsoft.com/office/drawing/2014/main" id="{7650244C-E06B-41BA-A77C-2D20639EA927}"/>
              </a:ext>
            </a:extLst>
          </p:cNvPr>
          <p:cNvCxnSpPr/>
          <p:nvPr/>
        </p:nvCxnSpPr>
        <p:spPr>
          <a:xfrm>
            <a:off x="5527676" y="1654176"/>
            <a:ext cx="25399" cy="4319586"/>
          </a:xfrm>
          <a:prstGeom prst="straightConnector1">
            <a:avLst/>
          </a:prstGeom>
          <a:ln w="952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10" name="Picture 10" descr="Table&#10;&#10;Description automatically generated">
            <a:extLst>
              <a:ext uri="{FF2B5EF4-FFF2-40B4-BE49-F238E27FC236}">
                <a16:creationId xmlns:a16="http://schemas.microsoft.com/office/drawing/2014/main" id="{BC57136E-9901-4CDB-9B10-C29044E8BCA8}"/>
              </a:ext>
            </a:extLst>
          </p:cNvPr>
          <p:cNvPicPr>
            <a:picLocks noChangeAspect="1"/>
          </p:cNvPicPr>
          <p:nvPr/>
        </p:nvPicPr>
        <p:blipFill>
          <a:blip r:embed="rId3"/>
          <a:stretch>
            <a:fillRect/>
          </a:stretch>
        </p:blipFill>
        <p:spPr>
          <a:xfrm>
            <a:off x="5844988" y="1983667"/>
            <a:ext cx="4679576" cy="1958335"/>
          </a:xfrm>
          <a:prstGeom prst="rect">
            <a:avLst/>
          </a:prstGeom>
        </p:spPr>
      </p:pic>
      <p:pic>
        <p:nvPicPr>
          <p:cNvPr id="11" name="Picture 12" descr="A picture containing graphical user interface&#10;&#10;Description automatically generated">
            <a:extLst>
              <a:ext uri="{FF2B5EF4-FFF2-40B4-BE49-F238E27FC236}">
                <a16:creationId xmlns:a16="http://schemas.microsoft.com/office/drawing/2014/main" id="{31819B31-85B9-4D2E-B13C-BE009B402BB3}"/>
              </a:ext>
            </a:extLst>
          </p:cNvPr>
          <p:cNvPicPr>
            <a:picLocks noChangeAspect="1"/>
          </p:cNvPicPr>
          <p:nvPr/>
        </p:nvPicPr>
        <p:blipFill>
          <a:blip r:embed="rId4"/>
          <a:stretch>
            <a:fillRect/>
          </a:stretch>
        </p:blipFill>
        <p:spPr>
          <a:xfrm>
            <a:off x="627529" y="1979521"/>
            <a:ext cx="4607858" cy="1966628"/>
          </a:xfrm>
          <a:prstGeom prst="rect">
            <a:avLst/>
          </a:prstGeom>
        </p:spPr>
      </p:pic>
      <p:pic>
        <p:nvPicPr>
          <p:cNvPr id="6" name="Picture 6" descr="Chart, bar chart&#10;&#10;Description automatically generated">
            <a:extLst>
              <a:ext uri="{FF2B5EF4-FFF2-40B4-BE49-F238E27FC236}">
                <a16:creationId xmlns:a16="http://schemas.microsoft.com/office/drawing/2014/main" id="{AC523019-759A-4F10-81C2-E17F7288D0AA}"/>
              </a:ext>
            </a:extLst>
          </p:cNvPr>
          <p:cNvPicPr>
            <a:picLocks noChangeAspect="1"/>
          </p:cNvPicPr>
          <p:nvPr/>
        </p:nvPicPr>
        <p:blipFill>
          <a:blip r:embed="rId5"/>
          <a:stretch>
            <a:fillRect/>
          </a:stretch>
        </p:blipFill>
        <p:spPr>
          <a:xfrm>
            <a:off x="628650" y="3951015"/>
            <a:ext cx="4608512" cy="1972219"/>
          </a:xfrm>
          <a:prstGeom prst="rect">
            <a:avLst/>
          </a:prstGeom>
        </p:spPr>
      </p:pic>
      <p:pic>
        <p:nvPicPr>
          <p:cNvPr id="7" name="Picture 12" descr="Chart, bar chart&#10;&#10;Description automatically generated">
            <a:extLst>
              <a:ext uri="{FF2B5EF4-FFF2-40B4-BE49-F238E27FC236}">
                <a16:creationId xmlns:a16="http://schemas.microsoft.com/office/drawing/2014/main" id="{D7C5CD80-1D44-4746-B711-81F43E2686E9}"/>
              </a:ext>
            </a:extLst>
          </p:cNvPr>
          <p:cNvPicPr>
            <a:picLocks noChangeAspect="1"/>
          </p:cNvPicPr>
          <p:nvPr/>
        </p:nvPicPr>
        <p:blipFill>
          <a:blip r:embed="rId6"/>
          <a:stretch>
            <a:fillRect/>
          </a:stretch>
        </p:blipFill>
        <p:spPr>
          <a:xfrm>
            <a:off x="5843587" y="3918341"/>
            <a:ext cx="4679950" cy="1966130"/>
          </a:xfrm>
          <a:prstGeom prst="rect">
            <a:avLst/>
          </a:prstGeom>
        </p:spPr>
      </p:pic>
    </p:spTree>
    <p:extLst>
      <p:ext uri="{BB962C8B-B14F-4D97-AF65-F5344CB8AC3E}">
        <p14:creationId xmlns:p14="http://schemas.microsoft.com/office/powerpoint/2010/main" val="39714651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64925-553F-46C0-AD49-7EDC41FA393B}"/>
              </a:ext>
            </a:extLst>
          </p:cNvPr>
          <p:cNvSpPr>
            <a:spLocks noGrp="1"/>
          </p:cNvSpPr>
          <p:nvPr>
            <p:ph type="title"/>
          </p:nvPr>
        </p:nvSpPr>
        <p:spPr>
          <a:xfrm>
            <a:off x="632241" y="421094"/>
            <a:ext cx="10933350" cy="886397"/>
          </a:xfrm>
        </p:spPr>
        <p:txBody>
          <a:bodyPr/>
          <a:lstStyle/>
          <a:p>
            <a:r>
              <a:rPr lang="en-US" sz="3600">
                <a:solidFill>
                  <a:srgbClr val="002060"/>
                </a:solidFill>
              </a:rPr>
              <a:t>Comparing Minimum Bus Frequency Required: </a:t>
            </a:r>
            <a:br>
              <a:rPr lang="en-US" sz="3600"/>
            </a:br>
            <a:r>
              <a:rPr lang="en-US" sz="2800">
                <a:solidFill>
                  <a:srgbClr val="FF0000"/>
                </a:solidFill>
              </a:rPr>
              <a:t>Selected Weekday</a:t>
            </a:r>
            <a:r>
              <a:rPr lang="en-US" sz="2800"/>
              <a:t> </a:t>
            </a:r>
            <a:r>
              <a:rPr lang="en-US" sz="2800">
                <a:solidFill>
                  <a:srgbClr val="002060"/>
                </a:solidFill>
              </a:rPr>
              <a:t>vs</a:t>
            </a:r>
            <a:r>
              <a:rPr lang="en-US" sz="2800"/>
              <a:t> </a:t>
            </a:r>
            <a:r>
              <a:rPr lang="en-US" sz="2800">
                <a:solidFill>
                  <a:srgbClr val="00B050"/>
                </a:solidFill>
              </a:rPr>
              <a:t>3 Months of Weekdays Data</a:t>
            </a:r>
            <a:r>
              <a:rPr lang="en-US" sz="2800"/>
              <a:t> </a:t>
            </a:r>
          </a:p>
        </p:txBody>
      </p:sp>
      <p:pic>
        <p:nvPicPr>
          <p:cNvPr id="5" name="Picture 5" descr="Chart, line chart&#10;&#10;Description automatically generated">
            <a:extLst>
              <a:ext uri="{FF2B5EF4-FFF2-40B4-BE49-F238E27FC236}">
                <a16:creationId xmlns:a16="http://schemas.microsoft.com/office/drawing/2014/main" id="{83C6785E-446C-4CAD-9151-798BFDC1A6C0}"/>
              </a:ext>
            </a:extLst>
          </p:cNvPr>
          <p:cNvPicPr>
            <a:picLocks noChangeAspect="1"/>
          </p:cNvPicPr>
          <p:nvPr/>
        </p:nvPicPr>
        <p:blipFill>
          <a:blip r:embed="rId3"/>
          <a:stretch>
            <a:fillRect/>
          </a:stretch>
        </p:blipFill>
        <p:spPr>
          <a:xfrm>
            <a:off x="635467" y="1667284"/>
            <a:ext cx="5394325" cy="3235347"/>
          </a:xfrm>
          <a:prstGeom prst="rect">
            <a:avLst/>
          </a:prstGeom>
        </p:spPr>
      </p:pic>
      <p:pic>
        <p:nvPicPr>
          <p:cNvPr id="6" name="Picture 7">
            <a:extLst>
              <a:ext uri="{FF2B5EF4-FFF2-40B4-BE49-F238E27FC236}">
                <a16:creationId xmlns:a16="http://schemas.microsoft.com/office/drawing/2014/main" id="{1882E93D-494F-4BA8-9098-F878337761DC}"/>
              </a:ext>
            </a:extLst>
          </p:cNvPr>
          <p:cNvPicPr>
            <a:picLocks noChangeAspect="1"/>
          </p:cNvPicPr>
          <p:nvPr/>
        </p:nvPicPr>
        <p:blipFill>
          <a:blip r:embed="rId4"/>
          <a:stretch>
            <a:fillRect/>
          </a:stretch>
        </p:blipFill>
        <p:spPr>
          <a:xfrm>
            <a:off x="636587" y="5355405"/>
            <a:ext cx="8053387" cy="703315"/>
          </a:xfrm>
          <a:prstGeom prst="rect">
            <a:avLst/>
          </a:prstGeom>
        </p:spPr>
      </p:pic>
      <p:pic>
        <p:nvPicPr>
          <p:cNvPr id="8" name="Picture 9" descr="Chart, line chart&#10;&#10;Description automatically generated">
            <a:extLst>
              <a:ext uri="{FF2B5EF4-FFF2-40B4-BE49-F238E27FC236}">
                <a16:creationId xmlns:a16="http://schemas.microsoft.com/office/drawing/2014/main" id="{750CED42-2432-46DD-B274-1632B83D2A96}"/>
              </a:ext>
            </a:extLst>
          </p:cNvPr>
          <p:cNvPicPr>
            <a:picLocks noChangeAspect="1"/>
          </p:cNvPicPr>
          <p:nvPr/>
        </p:nvPicPr>
        <p:blipFill>
          <a:blip r:embed="rId5"/>
          <a:stretch>
            <a:fillRect/>
          </a:stretch>
        </p:blipFill>
        <p:spPr>
          <a:xfrm>
            <a:off x="6231591" y="1671787"/>
            <a:ext cx="5394324" cy="3226342"/>
          </a:xfrm>
          <a:prstGeom prst="rect">
            <a:avLst/>
          </a:prstGeom>
        </p:spPr>
      </p:pic>
    </p:spTree>
    <p:extLst>
      <p:ext uri="{BB962C8B-B14F-4D97-AF65-F5344CB8AC3E}">
        <p14:creationId xmlns:p14="http://schemas.microsoft.com/office/powerpoint/2010/main" val="37589788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64925-553F-46C0-AD49-7EDC41FA393B}"/>
              </a:ext>
            </a:extLst>
          </p:cNvPr>
          <p:cNvSpPr>
            <a:spLocks noGrp="1"/>
          </p:cNvSpPr>
          <p:nvPr>
            <p:ph type="title"/>
          </p:nvPr>
        </p:nvSpPr>
        <p:spPr>
          <a:xfrm>
            <a:off x="757747" y="421095"/>
            <a:ext cx="10933350" cy="858697"/>
          </a:xfrm>
        </p:spPr>
        <p:txBody>
          <a:bodyPr/>
          <a:lstStyle/>
          <a:p>
            <a:r>
              <a:rPr lang="en-US">
                <a:solidFill>
                  <a:srgbClr val="002060"/>
                </a:solidFill>
              </a:rPr>
              <a:t>Select Weekday Bus Frequency Comparison: </a:t>
            </a:r>
            <a:br>
              <a:rPr lang="en-US">
                <a:solidFill>
                  <a:srgbClr val="002060"/>
                </a:solidFill>
              </a:rPr>
            </a:br>
            <a:r>
              <a:rPr lang="en-US" sz="2800">
                <a:solidFill>
                  <a:srgbClr val="FF0000"/>
                </a:solidFill>
              </a:rPr>
              <a:t>Actual Bus Deployed</a:t>
            </a:r>
            <a:r>
              <a:rPr lang="en-US" sz="2800">
                <a:solidFill>
                  <a:srgbClr val="002060"/>
                </a:solidFill>
              </a:rPr>
              <a:t> vs </a:t>
            </a:r>
            <a:r>
              <a:rPr lang="en-US" sz="2800">
                <a:solidFill>
                  <a:srgbClr val="7030A0"/>
                </a:solidFill>
              </a:rPr>
              <a:t>Minimum Bus Frequency Required</a:t>
            </a:r>
            <a:r>
              <a:rPr lang="en-US" sz="2800">
                <a:solidFill>
                  <a:srgbClr val="002060"/>
                </a:solidFill>
              </a:rPr>
              <a:t> </a:t>
            </a:r>
          </a:p>
        </p:txBody>
      </p:sp>
      <p:pic>
        <p:nvPicPr>
          <p:cNvPr id="3" name="Picture 3">
            <a:extLst>
              <a:ext uri="{FF2B5EF4-FFF2-40B4-BE49-F238E27FC236}">
                <a16:creationId xmlns:a16="http://schemas.microsoft.com/office/drawing/2014/main" id="{4BB0AA97-4D09-4E8C-8C6C-4D3B86D6CB1F}"/>
              </a:ext>
            </a:extLst>
          </p:cNvPr>
          <p:cNvPicPr>
            <a:picLocks noChangeAspect="1"/>
          </p:cNvPicPr>
          <p:nvPr/>
        </p:nvPicPr>
        <p:blipFill>
          <a:blip r:embed="rId2"/>
          <a:stretch>
            <a:fillRect/>
          </a:stretch>
        </p:blipFill>
        <p:spPr>
          <a:xfrm>
            <a:off x="759472" y="5859121"/>
            <a:ext cx="5205046" cy="739710"/>
          </a:xfrm>
          <a:prstGeom prst="rect">
            <a:avLst/>
          </a:prstGeom>
        </p:spPr>
      </p:pic>
      <p:pic>
        <p:nvPicPr>
          <p:cNvPr id="4" name="Picture 4" descr="Chart, line chart&#10;&#10;Description automatically generated">
            <a:extLst>
              <a:ext uri="{FF2B5EF4-FFF2-40B4-BE49-F238E27FC236}">
                <a16:creationId xmlns:a16="http://schemas.microsoft.com/office/drawing/2014/main" id="{17E32B17-67B8-4A5B-A3FF-B2170E712477}"/>
              </a:ext>
            </a:extLst>
          </p:cNvPr>
          <p:cNvPicPr>
            <a:picLocks noChangeAspect="1"/>
          </p:cNvPicPr>
          <p:nvPr/>
        </p:nvPicPr>
        <p:blipFill>
          <a:blip r:embed="rId3"/>
          <a:stretch>
            <a:fillRect/>
          </a:stretch>
        </p:blipFill>
        <p:spPr>
          <a:xfrm>
            <a:off x="759472" y="1525331"/>
            <a:ext cx="6885353" cy="4175695"/>
          </a:xfrm>
          <a:prstGeom prst="rect">
            <a:avLst/>
          </a:prstGeom>
        </p:spPr>
      </p:pic>
    </p:spTree>
    <p:extLst>
      <p:ext uri="{BB962C8B-B14F-4D97-AF65-F5344CB8AC3E}">
        <p14:creationId xmlns:p14="http://schemas.microsoft.com/office/powerpoint/2010/main" val="14317757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a:xfrm>
            <a:off x="630000" y="560047"/>
            <a:ext cx="10933350" cy="470898"/>
          </a:xfrm>
        </p:spPr>
        <p:txBody>
          <a:bodyPr/>
          <a:lstStyle/>
          <a:p>
            <a:r>
              <a:rPr lang="en-SG">
                <a:solidFill>
                  <a:srgbClr val="002060"/>
                </a:solidFill>
              </a:rPr>
              <a:t>Calculation for Popularity Factor</a:t>
            </a:r>
          </a:p>
        </p:txBody>
      </p:sp>
      <p:sp>
        <p:nvSpPr>
          <p:cNvPr id="3" name="Text Placeholder 2">
            <a:extLst>
              <a:ext uri="{FF2B5EF4-FFF2-40B4-BE49-F238E27FC236}">
                <a16:creationId xmlns:a16="http://schemas.microsoft.com/office/drawing/2014/main" id="{3AAD55FA-63B7-4DBA-8DC0-293DEF7C309C}"/>
              </a:ext>
            </a:extLst>
          </p:cNvPr>
          <p:cNvSpPr>
            <a:spLocks noGrp="1"/>
          </p:cNvSpPr>
          <p:nvPr>
            <p:ph type="body" sz="quarter" idx="10"/>
          </p:nvPr>
        </p:nvSpPr>
        <p:spPr>
          <a:xfrm>
            <a:off x="629399" y="4854228"/>
            <a:ext cx="10129468" cy="1252798"/>
          </a:xfrm>
        </p:spPr>
        <p:txBody>
          <a:bodyPr vert="horz" lIns="0" tIns="0" rIns="0" bIns="0" rtlCol="0" anchor="t">
            <a:noAutofit/>
          </a:bodyPr>
          <a:lstStyle/>
          <a:p>
            <a:r>
              <a:rPr lang="en-SG" sz="1800">
                <a:solidFill>
                  <a:srgbClr val="002060"/>
                </a:solidFill>
              </a:rPr>
              <a:t>The score for Popularity Factor is calculated with the following weightage. </a:t>
            </a:r>
          </a:p>
          <a:p>
            <a:endParaRPr lang="en-SG" sz="1800">
              <a:solidFill>
                <a:srgbClr val="002060"/>
              </a:solidFill>
            </a:endParaRPr>
          </a:p>
          <a:p>
            <a:r>
              <a:rPr lang="en-SG" sz="1800">
                <a:solidFill>
                  <a:srgbClr val="002060"/>
                </a:solidFill>
              </a:rPr>
              <a:t>We put Attraction as the highest percentage as we want to focus on guests more interested in Attractions compared to F&amp;B and Hotels.</a:t>
            </a:r>
          </a:p>
        </p:txBody>
      </p:sp>
      <p:pic>
        <p:nvPicPr>
          <p:cNvPr id="6" name="Picture 6" descr="Table&#10;&#10;Description automatically generated">
            <a:extLst>
              <a:ext uri="{FF2B5EF4-FFF2-40B4-BE49-F238E27FC236}">
                <a16:creationId xmlns:a16="http://schemas.microsoft.com/office/drawing/2014/main" id="{7CB028D9-5E81-4D63-A1E2-97D2DBFCDC09}"/>
              </a:ext>
            </a:extLst>
          </p:cNvPr>
          <p:cNvPicPr>
            <a:picLocks noChangeAspect="1"/>
          </p:cNvPicPr>
          <p:nvPr/>
        </p:nvPicPr>
        <p:blipFill>
          <a:blip r:embed="rId2"/>
          <a:stretch>
            <a:fillRect/>
          </a:stretch>
        </p:blipFill>
        <p:spPr>
          <a:xfrm>
            <a:off x="626533" y="3192717"/>
            <a:ext cx="10134601" cy="1310764"/>
          </a:xfrm>
          <a:prstGeom prst="rect">
            <a:avLst/>
          </a:prstGeom>
        </p:spPr>
      </p:pic>
      <p:pic>
        <p:nvPicPr>
          <p:cNvPr id="5" name="Picture 6">
            <a:extLst>
              <a:ext uri="{FF2B5EF4-FFF2-40B4-BE49-F238E27FC236}">
                <a16:creationId xmlns:a16="http://schemas.microsoft.com/office/drawing/2014/main" id="{EFAB945F-9334-4743-9C72-A318D57D242D}"/>
              </a:ext>
            </a:extLst>
          </p:cNvPr>
          <p:cNvPicPr>
            <a:picLocks noChangeAspect="1"/>
          </p:cNvPicPr>
          <p:nvPr/>
        </p:nvPicPr>
        <p:blipFill>
          <a:blip r:embed="rId3"/>
          <a:stretch>
            <a:fillRect/>
          </a:stretch>
        </p:blipFill>
        <p:spPr>
          <a:xfrm>
            <a:off x="628650" y="1226997"/>
            <a:ext cx="8164512" cy="1753440"/>
          </a:xfrm>
          <a:prstGeom prst="rect">
            <a:avLst/>
          </a:prstGeom>
        </p:spPr>
      </p:pic>
    </p:spTree>
    <p:extLst>
      <p:ext uri="{BB962C8B-B14F-4D97-AF65-F5344CB8AC3E}">
        <p14:creationId xmlns:p14="http://schemas.microsoft.com/office/powerpoint/2010/main" val="27615978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a:xfrm>
            <a:off x="282867" y="351867"/>
            <a:ext cx="10692211" cy="443198"/>
          </a:xfrm>
        </p:spPr>
        <p:txBody>
          <a:bodyPr/>
          <a:lstStyle/>
          <a:p>
            <a:r>
              <a:rPr lang="en-SG" sz="3200">
                <a:solidFill>
                  <a:srgbClr val="002060"/>
                </a:solidFill>
              </a:rPr>
              <a:t>Hypothesis Testing for Correlation between Variables</a:t>
            </a:r>
            <a:endParaRPr lang="en-SG" sz="3200" err="1">
              <a:solidFill>
                <a:srgbClr val="002060"/>
              </a:solidFill>
            </a:endParaRPr>
          </a:p>
        </p:txBody>
      </p:sp>
      <p:pic>
        <p:nvPicPr>
          <p:cNvPr id="4" name="Picture 4">
            <a:extLst>
              <a:ext uri="{FF2B5EF4-FFF2-40B4-BE49-F238E27FC236}">
                <a16:creationId xmlns:a16="http://schemas.microsoft.com/office/drawing/2014/main" id="{46E58862-E3FD-4841-8757-18ED8AB46909}"/>
              </a:ext>
            </a:extLst>
          </p:cNvPr>
          <p:cNvPicPr>
            <a:picLocks noChangeAspect="1"/>
          </p:cNvPicPr>
          <p:nvPr/>
        </p:nvPicPr>
        <p:blipFill>
          <a:blip r:embed="rId3"/>
          <a:stretch>
            <a:fillRect/>
          </a:stretch>
        </p:blipFill>
        <p:spPr>
          <a:xfrm>
            <a:off x="1470843" y="1007679"/>
            <a:ext cx="8407399" cy="2282387"/>
          </a:xfrm>
          <a:prstGeom prst="rect">
            <a:avLst/>
          </a:prstGeom>
        </p:spPr>
      </p:pic>
      <p:sp>
        <p:nvSpPr>
          <p:cNvPr id="6" name="Text Placeholder 5">
            <a:extLst>
              <a:ext uri="{FF2B5EF4-FFF2-40B4-BE49-F238E27FC236}">
                <a16:creationId xmlns:a16="http://schemas.microsoft.com/office/drawing/2014/main" id="{1C835B3A-380E-4994-B53F-7959A6AC8E61}"/>
              </a:ext>
            </a:extLst>
          </p:cNvPr>
          <p:cNvSpPr>
            <a:spLocks noGrp="1"/>
          </p:cNvSpPr>
          <p:nvPr>
            <p:ph type="body" sz="quarter" idx="10"/>
          </p:nvPr>
        </p:nvSpPr>
        <p:spPr>
          <a:xfrm>
            <a:off x="451600" y="5340150"/>
            <a:ext cx="10764468" cy="1252798"/>
          </a:xfrm>
        </p:spPr>
        <p:txBody>
          <a:bodyPr vert="horz" lIns="0" tIns="0" rIns="0" bIns="0" rtlCol="0" anchor="t">
            <a:noAutofit/>
          </a:bodyPr>
          <a:lstStyle/>
          <a:p>
            <a:r>
              <a:rPr lang="en-US" sz="1800">
                <a:solidFill>
                  <a:srgbClr val="002060"/>
                </a:solidFill>
                <a:ea typeface="+mn-lt"/>
                <a:cs typeface="+mn-lt"/>
              </a:rPr>
              <a:t>Variable flag and Total Riders are correlated if P-Value is less than 0.05</a:t>
            </a:r>
            <a:endParaRPr lang="en-US" sz="1800">
              <a:solidFill>
                <a:srgbClr val="002060"/>
              </a:solidFill>
            </a:endParaRPr>
          </a:p>
          <a:p>
            <a:endParaRPr lang="en-US" sz="1800">
              <a:solidFill>
                <a:srgbClr val="002060"/>
              </a:solidFill>
            </a:endParaRPr>
          </a:p>
          <a:p>
            <a:r>
              <a:rPr lang="en-US" sz="1800">
                <a:solidFill>
                  <a:srgbClr val="002060"/>
                </a:solidFill>
                <a:ea typeface="+mn-lt"/>
                <a:cs typeface="+mn-lt"/>
              </a:rPr>
              <a:t>The variable flag will affect the total ridership if they are correlated.</a:t>
            </a:r>
            <a:endParaRPr lang="en-US" sz="1800">
              <a:solidFill>
                <a:srgbClr val="002060"/>
              </a:solidFill>
            </a:endParaRPr>
          </a:p>
          <a:p>
            <a:pPr>
              <a:buNone/>
            </a:pPr>
            <a:endParaRPr lang="en-US" sz="1800">
              <a:solidFill>
                <a:srgbClr val="002060"/>
              </a:solidFill>
            </a:endParaRPr>
          </a:p>
        </p:txBody>
      </p:sp>
      <p:graphicFrame>
        <p:nvGraphicFramePr>
          <p:cNvPr id="8" name="Table 7">
            <a:extLst>
              <a:ext uri="{FF2B5EF4-FFF2-40B4-BE49-F238E27FC236}">
                <a16:creationId xmlns:a16="http://schemas.microsoft.com/office/drawing/2014/main" id="{BD3CD10A-81F4-4A69-8AAA-07E4E7005A3F}"/>
              </a:ext>
            </a:extLst>
          </p:cNvPr>
          <p:cNvGraphicFramePr>
            <a:graphicFrameLocks noGrp="1"/>
          </p:cNvGraphicFramePr>
          <p:nvPr>
            <p:extLst>
              <p:ext uri="{D42A27DB-BD31-4B8C-83A1-F6EECF244321}">
                <p14:modId xmlns:p14="http://schemas.microsoft.com/office/powerpoint/2010/main" val="462426823"/>
              </p:ext>
            </p:extLst>
          </p:nvPr>
        </p:nvGraphicFramePr>
        <p:xfrm>
          <a:off x="457199" y="3478405"/>
          <a:ext cx="10990558" cy="1594612"/>
        </p:xfrm>
        <a:graphic>
          <a:graphicData uri="http://schemas.openxmlformats.org/drawingml/2006/table">
            <a:tbl>
              <a:tblPr firstRow="1" bandRow="1">
                <a:tableStyleId>{5C22544A-7EE6-4342-B048-85BDC9FD1C3A}</a:tableStyleId>
              </a:tblPr>
              <a:tblGrid>
                <a:gridCol w="1422577">
                  <a:extLst>
                    <a:ext uri="{9D8B030D-6E8A-4147-A177-3AD203B41FA5}">
                      <a16:colId xmlns:a16="http://schemas.microsoft.com/office/drawing/2014/main" val="2174956918"/>
                    </a:ext>
                  </a:extLst>
                </a:gridCol>
                <a:gridCol w="1040586">
                  <a:extLst>
                    <a:ext uri="{9D8B030D-6E8A-4147-A177-3AD203B41FA5}">
                      <a16:colId xmlns:a16="http://schemas.microsoft.com/office/drawing/2014/main" val="2413877519"/>
                    </a:ext>
                  </a:extLst>
                </a:gridCol>
                <a:gridCol w="1224996">
                  <a:extLst>
                    <a:ext uri="{9D8B030D-6E8A-4147-A177-3AD203B41FA5}">
                      <a16:colId xmlns:a16="http://schemas.microsoft.com/office/drawing/2014/main" val="764563891"/>
                    </a:ext>
                  </a:extLst>
                </a:gridCol>
                <a:gridCol w="1224996">
                  <a:extLst>
                    <a:ext uri="{9D8B030D-6E8A-4147-A177-3AD203B41FA5}">
                      <a16:colId xmlns:a16="http://schemas.microsoft.com/office/drawing/2014/main" val="4039934441"/>
                    </a:ext>
                  </a:extLst>
                </a:gridCol>
                <a:gridCol w="1224996">
                  <a:extLst>
                    <a:ext uri="{9D8B030D-6E8A-4147-A177-3AD203B41FA5}">
                      <a16:colId xmlns:a16="http://schemas.microsoft.com/office/drawing/2014/main" val="1916176617"/>
                    </a:ext>
                  </a:extLst>
                </a:gridCol>
                <a:gridCol w="1224996">
                  <a:extLst>
                    <a:ext uri="{9D8B030D-6E8A-4147-A177-3AD203B41FA5}">
                      <a16:colId xmlns:a16="http://schemas.microsoft.com/office/drawing/2014/main" val="142172526"/>
                    </a:ext>
                  </a:extLst>
                </a:gridCol>
                <a:gridCol w="1224996">
                  <a:extLst>
                    <a:ext uri="{9D8B030D-6E8A-4147-A177-3AD203B41FA5}">
                      <a16:colId xmlns:a16="http://schemas.microsoft.com/office/drawing/2014/main" val="2454693205"/>
                    </a:ext>
                  </a:extLst>
                </a:gridCol>
                <a:gridCol w="1174749">
                  <a:extLst>
                    <a:ext uri="{9D8B030D-6E8A-4147-A177-3AD203B41FA5}">
                      <a16:colId xmlns:a16="http://schemas.microsoft.com/office/drawing/2014/main" val="1100605213"/>
                    </a:ext>
                  </a:extLst>
                </a:gridCol>
                <a:gridCol w="1227666">
                  <a:extLst>
                    <a:ext uri="{9D8B030D-6E8A-4147-A177-3AD203B41FA5}">
                      <a16:colId xmlns:a16="http://schemas.microsoft.com/office/drawing/2014/main" val="2625988615"/>
                    </a:ext>
                  </a:extLst>
                </a:gridCol>
              </a:tblGrid>
              <a:tr h="571500">
                <a:tc>
                  <a:txBody>
                    <a:bodyPr/>
                    <a:lstStyle/>
                    <a:p>
                      <a:pPr marL="0" algn="ctr" rtl="0" eaLnBrk="1" latinLnBrk="0" hangingPunct="1">
                        <a:spcBef>
                          <a:spcPts val="0"/>
                        </a:spcBef>
                        <a:spcAft>
                          <a:spcPts val="0"/>
                        </a:spcAft>
                      </a:pPr>
                      <a:r>
                        <a:rPr lang="en-US" sz="1200" kern="1200" err="1">
                          <a:effectLst/>
                        </a:rPr>
                        <a:t>Mannuwhitneyu</a:t>
                      </a:r>
                      <a:r>
                        <a:rPr lang="en-US" sz="1200" kern="1200">
                          <a:effectLst/>
                        </a:rPr>
                        <a:t> tes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ain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Weekend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Saturday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Sunday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Midweek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Holiday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Weekday Holiday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Weekend Holiday flag</a:t>
                      </a:r>
                      <a:endParaRPr lang="en-US" sz="1200">
                        <a:effectLst/>
                      </a:endParaRPr>
                    </a:p>
                  </a:txBody>
                  <a:tcPr marL="0" marR="0" marT="0" marB="0" anchor="ctr"/>
                </a:tc>
                <a:extLst>
                  <a:ext uri="{0D108BD9-81ED-4DB2-BD59-A6C34878D82A}">
                    <a16:rowId xmlns:a16="http://schemas.microsoft.com/office/drawing/2014/main" val="1772524146"/>
                  </a:ext>
                </a:extLst>
              </a:tr>
              <a:tr h="511556">
                <a:tc>
                  <a:txBody>
                    <a:bodyPr/>
                    <a:lstStyle/>
                    <a:p>
                      <a:pPr marL="0" algn="ctr" rtl="0" eaLnBrk="1" latinLnBrk="0" hangingPunct="1">
                        <a:spcBef>
                          <a:spcPts val="0"/>
                        </a:spcBef>
                        <a:spcAft>
                          <a:spcPts val="0"/>
                        </a:spcAft>
                      </a:pPr>
                      <a:r>
                        <a:rPr lang="en-US" sz="1200" kern="1200">
                          <a:effectLst/>
                        </a:rPr>
                        <a:t>P-Value</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99</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extLst>
                  <a:ext uri="{0D108BD9-81ED-4DB2-BD59-A6C34878D82A}">
                    <a16:rowId xmlns:a16="http://schemas.microsoft.com/office/drawing/2014/main" val="34260748"/>
                  </a:ext>
                </a:extLst>
              </a:tr>
              <a:tr h="511556">
                <a:tc>
                  <a:txBody>
                    <a:bodyPr/>
                    <a:lstStyle/>
                    <a:p>
                      <a:pPr marL="0" algn="ctr" rtl="0" eaLnBrk="1" latinLnBrk="0" hangingPunct="1">
                        <a:spcBef>
                          <a:spcPts val="0"/>
                        </a:spcBef>
                        <a:spcAft>
                          <a:spcPts val="0"/>
                        </a:spcAft>
                      </a:pPr>
                      <a:r>
                        <a:rPr lang="en-US" sz="1200" kern="1200">
                          <a:effectLst/>
                        </a:rPr>
                        <a:t>Null H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solidFill>
                            <a:srgbClr val="FF0000"/>
                          </a:solidFill>
                          <a:effectLst/>
                        </a:rPr>
                        <a:t>Accept</a:t>
                      </a:r>
                      <a:endParaRPr lang="en-US" sz="1200">
                        <a:solidFill>
                          <a:srgbClr val="FF0000"/>
                        </a:solidFill>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extLst>
                  <a:ext uri="{0D108BD9-81ED-4DB2-BD59-A6C34878D82A}">
                    <a16:rowId xmlns:a16="http://schemas.microsoft.com/office/drawing/2014/main" val="3464155639"/>
                  </a:ext>
                </a:extLst>
              </a:tr>
            </a:tbl>
          </a:graphicData>
        </a:graphic>
      </p:graphicFrame>
    </p:spTree>
    <p:extLst>
      <p:ext uri="{BB962C8B-B14F-4D97-AF65-F5344CB8AC3E}">
        <p14:creationId xmlns:p14="http://schemas.microsoft.com/office/powerpoint/2010/main" val="10424307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600">
              <a:solidFill>
                <a:srgbClr val="002060"/>
              </a:solidFill>
              <a:ea typeface="+mn-lt"/>
              <a:cs typeface="+mn-lt"/>
            </a:endParaRPr>
          </a:p>
          <a:p>
            <a:pPr algn="ctr"/>
            <a:endParaRPr lang="en-US" sz="3200">
              <a:solidFill>
                <a:srgbClr val="FFFFFF"/>
              </a:solidFill>
              <a:ea typeface="+mn-lt"/>
              <a:cs typeface="+mn-lt"/>
            </a:endParaRPr>
          </a:p>
          <a:p>
            <a:pPr algn="ctr"/>
            <a:r>
              <a:rPr lang="en-US" sz="3200" b="1">
                <a:solidFill>
                  <a:srgbClr val="FFFFFF"/>
                </a:solidFill>
                <a:ea typeface="+mn-lt"/>
                <a:cs typeface="+mn-lt"/>
              </a:rPr>
              <a:t>Appendix:</a:t>
            </a:r>
            <a:endParaRPr lang="en-SG" sz="3200" b="1">
              <a:solidFill>
                <a:srgbClr val="FFFFFF"/>
              </a:solidFill>
              <a:ea typeface="+mn-lt"/>
              <a:cs typeface="+mn-lt"/>
            </a:endParaRPr>
          </a:p>
          <a:p>
            <a:pPr algn="ctr"/>
            <a:r>
              <a:rPr lang="en-US" sz="3200">
                <a:solidFill>
                  <a:srgbClr val="FFFFFF"/>
                </a:solidFill>
                <a:ea typeface="+mn-lt"/>
                <a:cs typeface="+mn-lt"/>
              </a:rPr>
              <a:t>Modelling Test For Daily Prediction </a:t>
            </a:r>
            <a:endParaRPr lang="en-SG" sz="3200">
              <a:ea typeface="+mn-lt"/>
              <a:cs typeface="+mn-lt"/>
            </a:endParaRPr>
          </a:p>
          <a:p>
            <a:pPr algn="ctr"/>
            <a:endParaRPr lang="en-SG" sz="2800" b="1"/>
          </a:p>
        </p:txBody>
      </p:sp>
    </p:spTree>
    <p:extLst>
      <p:ext uri="{BB962C8B-B14F-4D97-AF65-F5344CB8AC3E}">
        <p14:creationId xmlns:p14="http://schemas.microsoft.com/office/powerpoint/2010/main" val="9966980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a:xfrm>
            <a:off x="547374" y="480325"/>
            <a:ext cx="10256417" cy="601171"/>
          </a:xfrm>
        </p:spPr>
        <p:txBody>
          <a:bodyPr/>
          <a:lstStyle/>
          <a:p>
            <a:r>
              <a:rPr lang="en-US">
                <a:solidFill>
                  <a:srgbClr val="002060"/>
                </a:solidFill>
              </a:rPr>
              <a:t>Preprocessing for Modelling Test for Daily Prediction</a:t>
            </a:r>
          </a:p>
        </p:txBody>
      </p:sp>
      <p:pic>
        <p:nvPicPr>
          <p:cNvPr id="4" name="Picture 4">
            <a:extLst>
              <a:ext uri="{FF2B5EF4-FFF2-40B4-BE49-F238E27FC236}">
                <a16:creationId xmlns:a16="http://schemas.microsoft.com/office/drawing/2014/main" id="{A0243221-DFB5-465E-ADC6-F46920AB8BAD}"/>
              </a:ext>
            </a:extLst>
          </p:cNvPr>
          <p:cNvPicPr>
            <a:picLocks noChangeAspect="1"/>
          </p:cNvPicPr>
          <p:nvPr/>
        </p:nvPicPr>
        <p:blipFill>
          <a:blip r:embed="rId2"/>
          <a:stretch>
            <a:fillRect/>
          </a:stretch>
        </p:blipFill>
        <p:spPr>
          <a:xfrm>
            <a:off x="618104" y="1392359"/>
            <a:ext cx="4134152" cy="3965562"/>
          </a:xfrm>
          <a:prstGeom prst="rect">
            <a:avLst/>
          </a:prstGeom>
        </p:spPr>
      </p:pic>
      <p:sp>
        <p:nvSpPr>
          <p:cNvPr id="5" name="TextBox 4">
            <a:extLst>
              <a:ext uri="{FF2B5EF4-FFF2-40B4-BE49-F238E27FC236}">
                <a16:creationId xmlns:a16="http://schemas.microsoft.com/office/drawing/2014/main" id="{09C603B1-83E3-40C7-AD23-240A45A6713E}"/>
              </a:ext>
            </a:extLst>
          </p:cNvPr>
          <p:cNvSpPr txBox="1"/>
          <p:nvPr/>
        </p:nvSpPr>
        <p:spPr>
          <a:xfrm>
            <a:off x="1602840" y="5567786"/>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s ACF &amp; PACF</a:t>
            </a:r>
          </a:p>
        </p:txBody>
      </p:sp>
      <p:pic>
        <p:nvPicPr>
          <p:cNvPr id="6" name="Picture 6">
            <a:extLst>
              <a:ext uri="{FF2B5EF4-FFF2-40B4-BE49-F238E27FC236}">
                <a16:creationId xmlns:a16="http://schemas.microsoft.com/office/drawing/2014/main" id="{0A4441F9-3BF1-4F69-A316-B658D09F3EE0}"/>
              </a:ext>
            </a:extLst>
          </p:cNvPr>
          <p:cNvPicPr>
            <a:picLocks noChangeAspect="1"/>
          </p:cNvPicPr>
          <p:nvPr/>
        </p:nvPicPr>
        <p:blipFill>
          <a:blip r:embed="rId3"/>
          <a:stretch>
            <a:fillRect/>
          </a:stretch>
        </p:blipFill>
        <p:spPr>
          <a:xfrm>
            <a:off x="5014686" y="2142449"/>
            <a:ext cx="6903961" cy="867674"/>
          </a:xfrm>
          <a:prstGeom prst="rect">
            <a:avLst/>
          </a:prstGeom>
        </p:spPr>
      </p:pic>
      <p:pic>
        <p:nvPicPr>
          <p:cNvPr id="7" name="Picture 7" descr="Graphical user interface&#10;&#10;Description automatically generated">
            <a:extLst>
              <a:ext uri="{FF2B5EF4-FFF2-40B4-BE49-F238E27FC236}">
                <a16:creationId xmlns:a16="http://schemas.microsoft.com/office/drawing/2014/main" id="{BAACB8E4-69DD-479F-80D3-67E0293AB487}"/>
              </a:ext>
            </a:extLst>
          </p:cNvPr>
          <p:cNvPicPr>
            <a:picLocks noChangeAspect="1"/>
          </p:cNvPicPr>
          <p:nvPr/>
        </p:nvPicPr>
        <p:blipFill>
          <a:blip r:embed="rId4"/>
          <a:stretch>
            <a:fillRect/>
          </a:stretch>
        </p:blipFill>
        <p:spPr>
          <a:xfrm>
            <a:off x="4908052" y="3164592"/>
            <a:ext cx="4484915" cy="3605107"/>
          </a:xfrm>
          <a:prstGeom prst="rect">
            <a:avLst/>
          </a:prstGeom>
        </p:spPr>
      </p:pic>
      <p:pic>
        <p:nvPicPr>
          <p:cNvPr id="8" name="Picture 8">
            <a:extLst>
              <a:ext uri="{FF2B5EF4-FFF2-40B4-BE49-F238E27FC236}">
                <a16:creationId xmlns:a16="http://schemas.microsoft.com/office/drawing/2014/main" id="{2D9F6303-CB72-4F30-934B-2477D027F983}"/>
              </a:ext>
            </a:extLst>
          </p:cNvPr>
          <p:cNvPicPr>
            <a:picLocks noChangeAspect="1"/>
          </p:cNvPicPr>
          <p:nvPr/>
        </p:nvPicPr>
        <p:blipFill rotWithShape="1">
          <a:blip r:embed="rId5"/>
          <a:srcRect t="3066" r="33151" b="2500"/>
          <a:stretch/>
        </p:blipFill>
        <p:spPr>
          <a:xfrm>
            <a:off x="4962623" y="1325233"/>
            <a:ext cx="4704219" cy="724530"/>
          </a:xfrm>
          <a:prstGeom prst="rect">
            <a:avLst/>
          </a:prstGeom>
        </p:spPr>
      </p:pic>
      <p:sp>
        <p:nvSpPr>
          <p:cNvPr id="9" name="TextBox 8">
            <a:extLst>
              <a:ext uri="{FF2B5EF4-FFF2-40B4-BE49-F238E27FC236}">
                <a16:creationId xmlns:a16="http://schemas.microsoft.com/office/drawing/2014/main" id="{3179ADB1-85CE-4DE6-A4AE-524B8EB2D41D}"/>
              </a:ext>
            </a:extLst>
          </p:cNvPr>
          <p:cNvSpPr txBox="1"/>
          <p:nvPr/>
        </p:nvSpPr>
        <p:spPr>
          <a:xfrm>
            <a:off x="9389176" y="3167156"/>
            <a:ext cx="2356007" cy="9584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TS with Difference Technique &amp; Stationarity Test</a:t>
            </a:r>
          </a:p>
        </p:txBody>
      </p:sp>
    </p:spTree>
    <p:extLst>
      <p:ext uri="{BB962C8B-B14F-4D97-AF65-F5344CB8AC3E}">
        <p14:creationId xmlns:p14="http://schemas.microsoft.com/office/powerpoint/2010/main" val="12408572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1346476" y="6310840"/>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 Log Diff's ACF &amp; PACF</a:t>
            </a:r>
          </a:p>
        </p:txBody>
      </p:sp>
      <p:sp>
        <p:nvSpPr>
          <p:cNvPr id="9" name="TextBox 8">
            <a:extLst>
              <a:ext uri="{FF2B5EF4-FFF2-40B4-BE49-F238E27FC236}">
                <a16:creationId xmlns:a16="http://schemas.microsoft.com/office/drawing/2014/main" id="{3179ADB1-85CE-4DE6-A4AE-524B8EB2D41D}"/>
              </a:ext>
            </a:extLst>
          </p:cNvPr>
          <p:cNvSpPr txBox="1"/>
          <p:nvPr/>
        </p:nvSpPr>
        <p:spPr>
          <a:xfrm>
            <a:off x="8509919" y="3074237"/>
            <a:ext cx="2631428" cy="120032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TS Log Transformed with Difference Technique &amp; Stationarity Test</a:t>
            </a:r>
          </a:p>
        </p:txBody>
      </p:sp>
      <p:pic>
        <p:nvPicPr>
          <p:cNvPr id="3" name="Picture 9">
            <a:extLst>
              <a:ext uri="{FF2B5EF4-FFF2-40B4-BE49-F238E27FC236}">
                <a16:creationId xmlns:a16="http://schemas.microsoft.com/office/drawing/2014/main" id="{F490B9E4-E4C6-44FE-92D7-DFF88C9C04E8}"/>
              </a:ext>
            </a:extLst>
          </p:cNvPr>
          <p:cNvPicPr>
            <a:picLocks noChangeAspect="1"/>
          </p:cNvPicPr>
          <p:nvPr/>
        </p:nvPicPr>
        <p:blipFill>
          <a:blip r:embed="rId2"/>
          <a:stretch>
            <a:fillRect/>
          </a:stretch>
        </p:blipFill>
        <p:spPr>
          <a:xfrm>
            <a:off x="741861" y="1595716"/>
            <a:ext cx="3952723" cy="4475348"/>
          </a:xfrm>
          <a:prstGeom prst="rect">
            <a:avLst/>
          </a:prstGeom>
        </p:spPr>
      </p:pic>
      <p:pic>
        <p:nvPicPr>
          <p:cNvPr id="10" name="Picture 10" descr="Text&#10;&#10;Description automatically generated">
            <a:extLst>
              <a:ext uri="{FF2B5EF4-FFF2-40B4-BE49-F238E27FC236}">
                <a16:creationId xmlns:a16="http://schemas.microsoft.com/office/drawing/2014/main" id="{A4589F60-54A0-4840-83C8-3CA2E9115C9D}"/>
              </a:ext>
            </a:extLst>
          </p:cNvPr>
          <p:cNvPicPr>
            <a:picLocks noChangeAspect="1"/>
          </p:cNvPicPr>
          <p:nvPr/>
        </p:nvPicPr>
        <p:blipFill>
          <a:blip r:embed="rId3"/>
          <a:stretch>
            <a:fillRect/>
          </a:stretch>
        </p:blipFill>
        <p:spPr>
          <a:xfrm>
            <a:off x="5060154" y="1459005"/>
            <a:ext cx="4049486" cy="753987"/>
          </a:xfrm>
          <a:prstGeom prst="rect">
            <a:avLst/>
          </a:prstGeom>
        </p:spPr>
      </p:pic>
      <p:pic>
        <p:nvPicPr>
          <p:cNvPr id="11" name="Picture 11" descr="Graphical user interface&#10;&#10;Description automatically generated">
            <a:extLst>
              <a:ext uri="{FF2B5EF4-FFF2-40B4-BE49-F238E27FC236}">
                <a16:creationId xmlns:a16="http://schemas.microsoft.com/office/drawing/2014/main" id="{CF98E824-4F82-4929-9719-C647B13D1C49}"/>
              </a:ext>
            </a:extLst>
          </p:cNvPr>
          <p:cNvPicPr>
            <a:picLocks noChangeAspect="1"/>
          </p:cNvPicPr>
          <p:nvPr/>
        </p:nvPicPr>
        <p:blipFill>
          <a:blip r:embed="rId4"/>
          <a:stretch>
            <a:fillRect/>
          </a:stretch>
        </p:blipFill>
        <p:spPr>
          <a:xfrm>
            <a:off x="5098769" y="3071590"/>
            <a:ext cx="3347961" cy="3617676"/>
          </a:xfrm>
          <a:prstGeom prst="rect">
            <a:avLst/>
          </a:prstGeom>
        </p:spPr>
      </p:pic>
      <p:pic>
        <p:nvPicPr>
          <p:cNvPr id="12" name="Picture 12">
            <a:extLst>
              <a:ext uri="{FF2B5EF4-FFF2-40B4-BE49-F238E27FC236}">
                <a16:creationId xmlns:a16="http://schemas.microsoft.com/office/drawing/2014/main" id="{D9BB96CA-1C75-4A6B-89BF-583AD774395E}"/>
              </a:ext>
            </a:extLst>
          </p:cNvPr>
          <p:cNvPicPr>
            <a:picLocks noChangeAspect="1"/>
          </p:cNvPicPr>
          <p:nvPr/>
        </p:nvPicPr>
        <p:blipFill>
          <a:blip r:embed="rId5"/>
          <a:stretch>
            <a:fillRect/>
          </a:stretch>
        </p:blipFill>
        <p:spPr>
          <a:xfrm>
            <a:off x="5135638" y="2168224"/>
            <a:ext cx="6746723" cy="743552"/>
          </a:xfrm>
          <a:prstGeom prst="rect">
            <a:avLst/>
          </a:prstGeom>
        </p:spPr>
      </p:pic>
      <p:sp>
        <p:nvSpPr>
          <p:cNvPr id="8" name="Title 1">
            <a:extLst>
              <a:ext uri="{FF2B5EF4-FFF2-40B4-BE49-F238E27FC236}">
                <a16:creationId xmlns:a16="http://schemas.microsoft.com/office/drawing/2014/main" id="{24E0F9B0-3D9B-4F16-8453-BA5E1BEEC67A}"/>
              </a:ext>
            </a:extLst>
          </p:cNvPr>
          <p:cNvSpPr txBox="1">
            <a:spLocks/>
          </p:cNvSpPr>
          <p:nvPr/>
        </p:nvSpPr>
        <p:spPr>
          <a:xfrm>
            <a:off x="574916" y="562951"/>
            <a:ext cx="10192152"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Preprocessing for Modelling Test for Daily Prediction</a:t>
            </a:r>
          </a:p>
        </p:txBody>
      </p:sp>
    </p:spTree>
    <p:extLst>
      <p:ext uri="{BB962C8B-B14F-4D97-AF65-F5344CB8AC3E}">
        <p14:creationId xmlns:p14="http://schemas.microsoft.com/office/powerpoint/2010/main" val="14359436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p:txBody>
          <a:bodyPr/>
          <a:lstStyle/>
          <a:p>
            <a:r>
              <a:rPr lang="en-US">
                <a:solidFill>
                  <a:srgbClr val="002060"/>
                </a:solidFill>
              </a:rPr>
              <a:t>Project Modelling Flow</a:t>
            </a:r>
          </a:p>
        </p:txBody>
      </p:sp>
      <p:pic>
        <p:nvPicPr>
          <p:cNvPr id="13" name="Graphic 12" descr="Bar chart">
            <a:extLst>
              <a:ext uri="{FF2B5EF4-FFF2-40B4-BE49-F238E27FC236}">
                <a16:creationId xmlns:a16="http://schemas.microsoft.com/office/drawing/2014/main" id="{9D9C893F-03E6-48D6-942D-542F03E4CD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01758" y="2405563"/>
            <a:ext cx="677092" cy="677092"/>
          </a:xfrm>
          <a:prstGeom prst="rect">
            <a:avLst/>
          </a:prstGeom>
        </p:spPr>
      </p:pic>
      <p:grpSp>
        <p:nvGrpSpPr>
          <p:cNvPr id="3" name="Group 2">
            <a:extLst>
              <a:ext uri="{FF2B5EF4-FFF2-40B4-BE49-F238E27FC236}">
                <a16:creationId xmlns:a16="http://schemas.microsoft.com/office/drawing/2014/main" id="{D8298F4A-5213-4A7E-8DC6-09D01E722D62}"/>
              </a:ext>
            </a:extLst>
          </p:cNvPr>
          <p:cNvGrpSpPr/>
          <p:nvPr/>
        </p:nvGrpSpPr>
        <p:grpSpPr>
          <a:xfrm>
            <a:off x="9736774" y="2693716"/>
            <a:ext cx="919422" cy="986883"/>
            <a:chOff x="7756891" y="1202605"/>
            <a:chExt cx="839954" cy="839954"/>
          </a:xfrm>
        </p:grpSpPr>
        <p:pic>
          <p:nvPicPr>
            <p:cNvPr id="23" name="Graphic 22" descr="Arrow circle">
              <a:extLst>
                <a:ext uri="{FF2B5EF4-FFF2-40B4-BE49-F238E27FC236}">
                  <a16:creationId xmlns:a16="http://schemas.microsoft.com/office/drawing/2014/main" id="{AEC9587C-3F93-4045-ACEB-A1A4AFB0FC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56891" y="1202605"/>
              <a:ext cx="839954" cy="839954"/>
            </a:xfrm>
            <a:prstGeom prst="rect">
              <a:avLst/>
            </a:prstGeom>
          </p:spPr>
        </p:pic>
        <p:pic>
          <p:nvPicPr>
            <p:cNvPr id="29" name="Graphic 28" descr="Single gear">
              <a:extLst>
                <a:ext uri="{FF2B5EF4-FFF2-40B4-BE49-F238E27FC236}">
                  <a16:creationId xmlns:a16="http://schemas.microsoft.com/office/drawing/2014/main" id="{4F6899D5-3109-4938-82DA-041DEA46D7E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78122" y="1430384"/>
              <a:ext cx="420325" cy="360133"/>
            </a:xfrm>
            <a:prstGeom prst="rect">
              <a:avLst/>
            </a:prstGeom>
          </p:spPr>
        </p:pic>
      </p:grpSp>
      <p:sp>
        <p:nvSpPr>
          <p:cNvPr id="33" name="TextBox 32">
            <a:extLst>
              <a:ext uri="{FF2B5EF4-FFF2-40B4-BE49-F238E27FC236}">
                <a16:creationId xmlns:a16="http://schemas.microsoft.com/office/drawing/2014/main" id="{C9B7F08E-D629-47BA-B28C-40CF22219379}"/>
              </a:ext>
            </a:extLst>
          </p:cNvPr>
          <p:cNvSpPr txBox="1"/>
          <p:nvPr/>
        </p:nvSpPr>
        <p:spPr>
          <a:xfrm>
            <a:off x="3191803" y="3527194"/>
            <a:ext cx="1862234" cy="1218071"/>
          </a:xfrm>
          <a:prstGeom prst="rect">
            <a:avLst/>
          </a:prstGeom>
          <a:noFill/>
          <a:ln w="9525" cap="rnd">
            <a:solidFill>
              <a:srgbClr val="002060"/>
            </a:solidFill>
            <a:prstDash val="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600" b="1">
                <a:solidFill>
                  <a:srgbClr val="002060"/>
                </a:solidFill>
              </a:rPr>
              <a:t>- Obtain dataset</a:t>
            </a:r>
            <a:endParaRPr lang="en-US" sz="2000" b="1"/>
          </a:p>
          <a:p>
            <a:pPr algn="ctr"/>
            <a:r>
              <a:rPr lang="en-SG" sz="1600" b="1">
                <a:solidFill>
                  <a:srgbClr val="002060"/>
                </a:solidFill>
              </a:rPr>
              <a:t>- Understand and clean data</a:t>
            </a:r>
            <a:endParaRPr lang="en-SG" sz="2000" b="1"/>
          </a:p>
        </p:txBody>
      </p:sp>
      <p:sp>
        <p:nvSpPr>
          <p:cNvPr id="34" name="TextBox 33">
            <a:extLst>
              <a:ext uri="{FF2B5EF4-FFF2-40B4-BE49-F238E27FC236}">
                <a16:creationId xmlns:a16="http://schemas.microsoft.com/office/drawing/2014/main" id="{06D19D76-F677-4AAA-AA6A-7CA4B9DAF436}"/>
              </a:ext>
            </a:extLst>
          </p:cNvPr>
          <p:cNvSpPr txBox="1"/>
          <p:nvPr/>
        </p:nvSpPr>
        <p:spPr>
          <a:xfrm>
            <a:off x="5331480" y="3595459"/>
            <a:ext cx="2936478" cy="2369322"/>
          </a:xfrm>
          <a:prstGeom prst="rect">
            <a:avLst/>
          </a:prstGeom>
          <a:noFill/>
          <a:ln w="9525" cap="rnd">
            <a:solidFill>
              <a:srgbClr val="002060"/>
            </a:solidFill>
            <a:prstDash val="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600" b="1">
                <a:solidFill>
                  <a:srgbClr val="002060"/>
                </a:solidFill>
              </a:rPr>
              <a:t>Gather insights </a:t>
            </a:r>
            <a:endParaRPr lang="en-US" sz="1600" b="1">
              <a:solidFill>
                <a:srgbClr val="FFFFFF"/>
              </a:solidFill>
            </a:endParaRPr>
          </a:p>
          <a:p>
            <a:pPr algn="ctr"/>
            <a:r>
              <a:rPr lang="en-SG" sz="1600" b="1">
                <a:solidFill>
                  <a:srgbClr val="002060"/>
                </a:solidFill>
              </a:rPr>
              <a:t>from initial data:</a:t>
            </a:r>
            <a:r>
              <a:rPr lang="en-SG" sz="1700" b="1">
                <a:solidFill>
                  <a:srgbClr val="002060"/>
                </a:solidFill>
              </a:rPr>
              <a:t> </a:t>
            </a:r>
            <a:endParaRPr lang="en-US" sz="1600" b="1">
              <a:solidFill>
                <a:srgbClr val="FFFFFF"/>
              </a:solidFill>
            </a:endParaRPr>
          </a:p>
          <a:p>
            <a:pPr algn="ctr"/>
            <a:r>
              <a:rPr lang="en-SG" sz="1500">
                <a:solidFill>
                  <a:srgbClr val="002060"/>
                </a:solidFill>
              </a:rPr>
              <a:t>- Peak of day</a:t>
            </a:r>
            <a:endParaRPr lang="en-US" sz="1500">
              <a:solidFill>
                <a:srgbClr val="FFFFFF"/>
              </a:solidFill>
            </a:endParaRPr>
          </a:p>
          <a:p>
            <a:pPr algn="ctr"/>
            <a:r>
              <a:rPr lang="en-SG" sz="1500">
                <a:solidFill>
                  <a:srgbClr val="002060"/>
                </a:solidFill>
              </a:rPr>
              <a:t>- Highest ridership by bus stop/bus route</a:t>
            </a:r>
            <a:endParaRPr lang="en-SG" sz="1500">
              <a:solidFill>
                <a:srgbClr val="FFFFFF"/>
              </a:solidFill>
            </a:endParaRPr>
          </a:p>
          <a:p>
            <a:pPr algn="ctr"/>
            <a:r>
              <a:rPr lang="en-SG" sz="1500">
                <a:solidFill>
                  <a:srgbClr val="002060"/>
                </a:solidFill>
              </a:rPr>
              <a:t>- Any correlation between ridership and weather, weekends, etc.</a:t>
            </a:r>
            <a:r>
              <a:rPr lang="en-SG" sz="1500" b="1">
                <a:solidFill>
                  <a:srgbClr val="002060"/>
                </a:solidFill>
              </a:rPr>
              <a:t> </a:t>
            </a:r>
            <a:endParaRPr lang="en-SG" sz="1500" b="1"/>
          </a:p>
        </p:txBody>
      </p:sp>
      <p:sp>
        <p:nvSpPr>
          <p:cNvPr id="37" name="TextBox 36">
            <a:extLst>
              <a:ext uri="{FF2B5EF4-FFF2-40B4-BE49-F238E27FC236}">
                <a16:creationId xmlns:a16="http://schemas.microsoft.com/office/drawing/2014/main" id="{1AA86EF9-D1F2-488E-902B-9C25FAEFDD52}"/>
              </a:ext>
            </a:extLst>
          </p:cNvPr>
          <p:cNvSpPr txBox="1"/>
          <p:nvPr/>
        </p:nvSpPr>
        <p:spPr>
          <a:xfrm>
            <a:off x="8543952" y="4053157"/>
            <a:ext cx="3302322" cy="2209012"/>
          </a:xfrm>
          <a:prstGeom prst="rect">
            <a:avLst/>
          </a:prstGeom>
          <a:noFill/>
          <a:ln w="9525" cap="rnd">
            <a:solidFill>
              <a:schemeClr val="tx1"/>
            </a:solidFill>
            <a:prstDash val="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600" b="1">
                <a:solidFill>
                  <a:srgbClr val="002060"/>
                </a:solidFill>
                <a:ea typeface="+mn-lt"/>
                <a:cs typeface="+mn-lt"/>
              </a:rPr>
              <a:t>Create new features </a:t>
            </a:r>
            <a:endParaRPr lang="en-SG" sz="1600" b="1">
              <a:solidFill>
                <a:srgbClr val="FFFFFF"/>
              </a:solidFill>
              <a:ea typeface="+mn-lt"/>
              <a:cs typeface="+mn-lt"/>
            </a:endParaRPr>
          </a:p>
          <a:p>
            <a:pPr algn="ctr"/>
            <a:r>
              <a:rPr lang="en-SG" sz="1600" b="1">
                <a:solidFill>
                  <a:srgbClr val="002060"/>
                </a:solidFill>
                <a:ea typeface="+mn-lt"/>
                <a:cs typeface="+mn-lt"/>
              </a:rPr>
              <a:t>to improve predictions:</a:t>
            </a:r>
            <a:endParaRPr lang="en-SG" sz="1600" b="1">
              <a:solidFill>
                <a:srgbClr val="FFFFFF"/>
              </a:solidFill>
              <a:ea typeface="+mn-lt"/>
              <a:cs typeface="+mn-lt"/>
            </a:endParaRPr>
          </a:p>
          <a:p>
            <a:pPr algn="ctr"/>
            <a:r>
              <a:rPr lang="en-SG" sz="1500">
                <a:solidFill>
                  <a:srgbClr val="002060"/>
                </a:solidFill>
                <a:ea typeface="+mn-lt"/>
                <a:cs typeface="+mn-lt"/>
              </a:rPr>
              <a:t>- Average ridership</a:t>
            </a:r>
            <a:endParaRPr lang="en-SG" sz="1500">
              <a:solidFill>
                <a:srgbClr val="FFFFFF"/>
              </a:solidFill>
              <a:ea typeface="+mn-lt"/>
              <a:cs typeface="+mn-lt"/>
            </a:endParaRPr>
          </a:p>
          <a:p>
            <a:pPr algn="ctr"/>
            <a:r>
              <a:rPr lang="en-SG" sz="1500">
                <a:solidFill>
                  <a:srgbClr val="002060"/>
                </a:solidFill>
                <a:ea typeface="+mn-lt"/>
                <a:cs typeface="+mn-lt"/>
              </a:rPr>
              <a:t>- Bus frequency </a:t>
            </a:r>
          </a:p>
          <a:p>
            <a:pPr algn="ctr"/>
            <a:endParaRPr lang="en-SG" sz="1600" b="1">
              <a:solidFill>
                <a:srgbClr val="002060"/>
              </a:solidFill>
            </a:endParaRPr>
          </a:p>
          <a:p>
            <a:pPr algn="ctr"/>
            <a:r>
              <a:rPr lang="en-SG" sz="1600" b="1">
                <a:solidFill>
                  <a:srgbClr val="002060"/>
                </a:solidFill>
              </a:rPr>
              <a:t>Built a model to predict hourly ridership demand one week in advance</a:t>
            </a:r>
          </a:p>
          <a:p>
            <a:pPr algn="ctr"/>
            <a:endParaRPr lang="en-SG" sz="1600">
              <a:solidFill>
                <a:srgbClr val="002060"/>
              </a:solidFill>
            </a:endParaRPr>
          </a:p>
        </p:txBody>
      </p:sp>
      <p:sp>
        <p:nvSpPr>
          <p:cNvPr id="32" name="TextBox 31">
            <a:extLst>
              <a:ext uri="{FF2B5EF4-FFF2-40B4-BE49-F238E27FC236}">
                <a16:creationId xmlns:a16="http://schemas.microsoft.com/office/drawing/2014/main" id="{19924F50-9976-41A7-88C1-641F1509CEE0}"/>
              </a:ext>
            </a:extLst>
          </p:cNvPr>
          <p:cNvSpPr txBox="1"/>
          <p:nvPr/>
        </p:nvSpPr>
        <p:spPr>
          <a:xfrm>
            <a:off x="478788" y="2837059"/>
            <a:ext cx="2462510" cy="1672752"/>
          </a:xfrm>
          <a:prstGeom prst="rect">
            <a:avLst/>
          </a:prstGeom>
          <a:noFill/>
          <a:ln w="9525" cap="rnd">
            <a:solidFill>
              <a:srgbClr val="002060"/>
            </a:solidFill>
            <a:prstDash val="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600" b="1">
                <a:solidFill>
                  <a:srgbClr val="002060"/>
                </a:solidFill>
              </a:rPr>
              <a:t> "</a:t>
            </a:r>
            <a:r>
              <a:rPr lang="en-US" sz="1600" b="1">
                <a:solidFill>
                  <a:srgbClr val="002060"/>
                </a:solidFill>
              </a:rPr>
              <a:t>How might we provide better allocation of buses to bus stops to cater to ridership demand?"</a:t>
            </a:r>
          </a:p>
        </p:txBody>
      </p:sp>
      <p:pic>
        <p:nvPicPr>
          <p:cNvPr id="9" name="Graphic 8" descr="Research">
            <a:extLst>
              <a:ext uri="{FF2B5EF4-FFF2-40B4-BE49-F238E27FC236}">
                <a16:creationId xmlns:a16="http://schemas.microsoft.com/office/drawing/2014/main" id="{A7D42D63-B632-4192-9AF9-4120DFBDAF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25533" y="1835248"/>
            <a:ext cx="763708" cy="763708"/>
          </a:xfrm>
          <a:prstGeom prst="rect">
            <a:avLst/>
          </a:prstGeom>
        </p:spPr>
      </p:pic>
      <p:pic>
        <p:nvPicPr>
          <p:cNvPr id="7" name="Graphic 6" descr="Group brainstorm">
            <a:extLst>
              <a:ext uri="{FF2B5EF4-FFF2-40B4-BE49-F238E27FC236}">
                <a16:creationId xmlns:a16="http://schemas.microsoft.com/office/drawing/2014/main" id="{52098F02-F658-4E94-9501-A14F3E2D33C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350186" y="1220974"/>
            <a:ext cx="722941" cy="722941"/>
          </a:xfrm>
          <a:prstGeom prst="rect">
            <a:avLst/>
          </a:prstGeom>
        </p:spPr>
      </p:pic>
      <p:sp>
        <p:nvSpPr>
          <p:cNvPr id="8" name="TextBox 7">
            <a:extLst>
              <a:ext uri="{FF2B5EF4-FFF2-40B4-BE49-F238E27FC236}">
                <a16:creationId xmlns:a16="http://schemas.microsoft.com/office/drawing/2014/main" id="{E577B412-68A3-4185-A772-40E2096ADDCA}"/>
              </a:ext>
            </a:extLst>
          </p:cNvPr>
          <p:cNvSpPr txBox="1"/>
          <p:nvPr/>
        </p:nvSpPr>
        <p:spPr>
          <a:xfrm>
            <a:off x="485072" y="1988871"/>
            <a:ext cx="2456023" cy="861774"/>
          </a:xfrm>
          <a:prstGeom prst="rect">
            <a:avLst/>
          </a:prstGeom>
          <a:solidFill>
            <a:srgbClr val="002060"/>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SG" sz="1600" b="1">
                <a:solidFill>
                  <a:srgbClr val="FFFFFF"/>
                </a:solidFill>
                <a:cs typeface="Segoe UI"/>
              </a:rPr>
              <a:t>Business Understanding &amp; frame the </a:t>
            </a:r>
            <a:r>
              <a:rPr lang="en-US" sz="1600" b="1">
                <a:solidFill>
                  <a:srgbClr val="FFFFFF"/>
                </a:solidFill>
                <a:cs typeface="Segoe UI"/>
              </a:rPr>
              <a:t>​</a:t>
            </a:r>
            <a:r>
              <a:rPr lang="en-SG" sz="1600" b="1">
                <a:solidFill>
                  <a:srgbClr val="FFFFFF"/>
                </a:solidFill>
                <a:cs typeface="Segoe UI"/>
              </a:rPr>
              <a:t>problem </a:t>
            </a:r>
            <a:r>
              <a:rPr lang="en-US" sz="1600" b="1">
                <a:solidFill>
                  <a:srgbClr val="FFFFFF"/>
                </a:solidFill>
                <a:cs typeface="Segoe UI"/>
              </a:rPr>
              <a:t>​</a:t>
            </a:r>
            <a:endParaRPr lang="en-US" sz="1600" b="1">
              <a:solidFill>
                <a:srgbClr val="FFFFFF"/>
              </a:solidFill>
            </a:endParaRPr>
          </a:p>
          <a:p>
            <a:pPr algn="ctr"/>
            <a:r>
              <a:rPr lang="en-SG" sz="1600" b="1">
                <a:solidFill>
                  <a:srgbClr val="FFFFFF"/>
                </a:solidFill>
                <a:cs typeface="Segoe UI"/>
              </a:rPr>
              <a:t>Statement​/Hypothesis</a:t>
            </a:r>
          </a:p>
        </p:txBody>
      </p:sp>
      <p:sp>
        <p:nvSpPr>
          <p:cNvPr id="25" name="TextBox 24">
            <a:extLst>
              <a:ext uri="{FF2B5EF4-FFF2-40B4-BE49-F238E27FC236}">
                <a16:creationId xmlns:a16="http://schemas.microsoft.com/office/drawing/2014/main" id="{F9FE7D81-29DC-498D-91D4-543B8A261CE1}"/>
              </a:ext>
            </a:extLst>
          </p:cNvPr>
          <p:cNvSpPr txBox="1"/>
          <p:nvPr/>
        </p:nvSpPr>
        <p:spPr>
          <a:xfrm>
            <a:off x="3197720" y="2694989"/>
            <a:ext cx="1862438" cy="830997"/>
          </a:xfrm>
          <a:prstGeom prst="rect">
            <a:avLst/>
          </a:prstGeom>
          <a:solidFill>
            <a:srgbClr val="002060"/>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SG" sz="1600" b="1">
                <a:solidFill>
                  <a:srgbClr val="FFFFFF"/>
                </a:solidFill>
                <a:cs typeface="Segoe UI"/>
              </a:rPr>
              <a:t>Initial Data Understanding &amp; Processing</a:t>
            </a:r>
            <a:endParaRPr lang="en-US" sz="1600">
              <a:solidFill>
                <a:srgbClr val="FFFFFF"/>
              </a:solidFill>
            </a:endParaRPr>
          </a:p>
        </p:txBody>
      </p:sp>
      <p:sp>
        <p:nvSpPr>
          <p:cNvPr id="22" name="TextBox 21">
            <a:extLst>
              <a:ext uri="{FF2B5EF4-FFF2-40B4-BE49-F238E27FC236}">
                <a16:creationId xmlns:a16="http://schemas.microsoft.com/office/drawing/2014/main" id="{E617BC09-C752-43E7-ACBA-77B43873D3F7}"/>
              </a:ext>
            </a:extLst>
          </p:cNvPr>
          <p:cNvSpPr txBox="1"/>
          <p:nvPr/>
        </p:nvSpPr>
        <p:spPr>
          <a:xfrm>
            <a:off x="5328938" y="3225655"/>
            <a:ext cx="2940123" cy="369332"/>
          </a:xfrm>
          <a:prstGeom prst="rect">
            <a:avLst/>
          </a:prstGeom>
          <a:solidFill>
            <a:srgbClr val="002060"/>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SG" b="1">
                <a:solidFill>
                  <a:srgbClr val="FFFFFF"/>
                </a:solidFill>
                <a:cs typeface="Segoe UI"/>
              </a:rPr>
              <a:t>Data Analysis</a:t>
            </a:r>
          </a:p>
        </p:txBody>
      </p:sp>
      <p:sp>
        <p:nvSpPr>
          <p:cNvPr id="20" name="TextBox 19">
            <a:extLst>
              <a:ext uri="{FF2B5EF4-FFF2-40B4-BE49-F238E27FC236}">
                <a16:creationId xmlns:a16="http://schemas.microsoft.com/office/drawing/2014/main" id="{1085C789-C333-47C0-9A39-FFAFB278B841}"/>
              </a:ext>
            </a:extLst>
          </p:cNvPr>
          <p:cNvSpPr txBox="1"/>
          <p:nvPr/>
        </p:nvSpPr>
        <p:spPr>
          <a:xfrm>
            <a:off x="8538120" y="3681376"/>
            <a:ext cx="3321123" cy="369332"/>
          </a:xfrm>
          <a:prstGeom prst="rect">
            <a:avLst/>
          </a:prstGeom>
          <a:solidFill>
            <a:srgbClr val="002060"/>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SG" b="1">
                <a:solidFill>
                  <a:srgbClr val="FFFFFF"/>
                </a:solidFill>
                <a:cs typeface="Segoe UI"/>
              </a:rPr>
              <a:t>Modelling</a:t>
            </a:r>
          </a:p>
        </p:txBody>
      </p:sp>
    </p:spTree>
    <p:extLst>
      <p:ext uri="{BB962C8B-B14F-4D97-AF65-F5344CB8AC3E}">
        <p14:creationId xmlns:p14="http://schemas.microsoft.com/office/powerpoint/2010/main" val="4160076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1796798" y="5791259"/>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 Diff's ACF &amp; PACF</a:t>
            </a:r>
          </a:p>
        </p:txBody>
      </p:sp>
      <p:sp>
        <p:nvSpPr>
          <p:cNvPr id="9" name="TextBox 8">
            <a:extLst>
              <a:ext uri="{FF2B5EF4-FFF2-40B4-BE49-F238E27FC236}">
                <a16:creationId xmlns:a16="http://schemas.microsoft.com/office/drawing/2014/main" id="{3179ADB1-85CE-4DE6-A4AE-524B8EB2D41D}"/>
              </a:ext>
            </a:extLst>
          </p:cNvPr>
          <p:cNvSpPr txBox="1"/>
          <p:nvPr/>
        </p:nvSpPr>
        <p:spPr>
          <a:xfrm>
            <a:off x="6233099" y="5757666"/>
            <a:ext cx="500005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 Model with TS Diff (No </a:t>
            </a:r>
            <a:r>
              <a:rPr lang="en-US" err="1">
                <a:solidFill>
                  <a:schemeClr val="tx1"/>
                </a:solidFill>
              </a:rPr>
              <a:t>Exog</a:t>
            </a:r>
            <a:r>
              <a:rPr lang="en-US">
                <a:solidFill>
                  <a:schemeClr val="tx1"/>
                </a:solidFill>
              </a:rPr>
              <a:t> Parameters)</a:t>
            </a:r>
          </a:p>
        </p:txBody>
      </p:sp>
      <p:pic>
        <p:nvPicPr>
          <p:cNvPr id="4" name="Picture 5" descr="Chart, line chart&#10;&#10;Description automatically generated">
            <a:extLst>
              <a:ext uri="{FF2B5EF4-FFF2-40B4-BE49-F238E27FC236}">
                <a16:creationId xmlns:a16="http://schemas.microsoft.com/office/drawing/2014/main" id="{71974ED0-949D-4F9C-98BF-F953E32EC188}"/>
              </a:ext>
            </a:extLst>
          </p:cNvPr>
          <p:cNvPicPr>
            <a:picLocks noChangeAspect="1"/>
          </p:cNvPicPr>
          <p:nvPr/>
        </p:nvPicPr>
        <p:blipFill>
          <a:blip r:embed="rId2"/>
          <a:stretch>
            <a:fillRect/>
          </a:stretch>
        </p:blipFill>
        <p:spPr>
          <a:xfrm>
            <a:off x="5889040" y="1494607"/>
            <a:ext cx="5385207" cy="4216924"/>
          </a:xfrm>
          <a:prstGeom prst="rect">
            <a:avLst/>
          </a:prstGeom>
        </p:spPr>
      </p:pic>
      <p:pic>
        <p:nvPicPr>
          <p:cNvPr id="6" name="Picture 6" descr="Graphical user interface, application&#10;&#10;Description automatically generated">
            <a:extLst>
              <a:ext uri="{FF2B5EF4-FFF2-40B4-BE49-F238E27FC236}">
                <a16:creationId xmlns:a16="http://schemas.microsoft.com/office/drawing/2014/main" id="{E3ADEC42-E3A8-473D-AE75-070A05E47158}"/>
              </a:ext>
            </a:extLst>
          </p:cNvPr>
          <p:cNvPicPr>
            <a:picLocks noChangeAspect="1"/>
          </p:cNvPicPr>
          <p:nvPr/>
        </p:nvPicPr>
        <p:blipFill>
          <a:blip r:embed="rId3"/>
          <a:stretch>
            <a:fillRect/>
          </a:stretch>
        </p:blipFill>
        <p:spPr>
          <a:xfrm>
            <a:off x="483634" y="1562070"/>
            <a:ext cx="5271249" cy="4074857"/>
          </a:xfrm>
          <a:prstGeom prst="rect">
            <a:avLst/>
          </a:prstGeom>
        </p:spPr>
      </p:pic>
      <p:sp>
        <p:nvSpPr>
          <p:cNvPr id="15" name="Title 1">
            <a:extLst>
              <a:ext uri="{FF2B5EF4-FFF2-40B4-BE49-F238E27FC236}">
                <a16:creationId xmlns:a16="http://schemas.microsoft.com/office/drawing/2014/main" id="{658BFC63-999C-4845-BF27-8CF09DDEF960}"/>
              </a:ext>
            </a:extLst>
          </p:cNvPr>
          <p:cNvSpPr>
            <a:spLocks noGrp="1"/>
          </p:cNvSpPr>
          <p:nvPr>
            <p:ph type="title"/>
          </p:nvPr>
        </p:nvSpPr>
        <p:spPr>
          <a:xfrm>
            <a:off x="574916" y="544590"/>
            <a:ext cx="7306616" cy="941796"/>
          </a:xfrm>
        </p:spPr>
        <p:txBody>
          <a:bodyPr/>
          <a:lstStyle/>
          <a:p>
            <a:r>
              <a:rPr lang="en-US">
                <a:solidFill>
                  <a:srgbClr val="002060"/>
                </a:solidFill>
              </a:rPr>
              <a:t>Modelling Test for Daily Prediction</a:t>
            </a:r>
          </a:p>
        </p:txBody>
      </p:sp>
    </p:spTree>
    <p:extLst>
      <p:ext uri="{BB962C8B-B14F-4D97-AF65-F5344CB8AC3E}">
        <p14:creationId xmlns:p14="http://schemas.microsoft.com/office/powerpoint/2010/main" val="311624491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1518935" y="6160754"/>
            <a:ext cx="356307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err="1">
                <a:solidFill>
                  <a:schemeClr val="tx1"/>
                </a:solidFill>
              </a:rPr>
              <a:t>Exog</a:t>
            </a:r>
            <a:r>
              <a:rPr lang="en-US">
                <a:solidFill>
                  <a:schemeClr val="tx1"/>
                </a:solidFill>
              </a:rPr>
              <a:t> Variables Tabular Format</a:t>
            </a:r>
          </a:p>
        </p:txBody>
      </p:sp>
      <p:sp>
        <p:nvSpPr>
          <p:cNvPr id="9" name="TextBox 8">
            <a:extLst>
              <a:ext uri="{FF2B5EF4-FFF2-40B4-BE49-F238E27FC236}">
                <a16:creationId xmlns:a16="http://schemas.microsoft.com/office/drawing/2014/main" id="{3179ADB1-85CE-4DE6-A4AE-524B8EB2D41D}"/>
              </a:ext>
            </a:extLst>
          </p:cNvPr>
          <p:cNvSpPr txBox="1"/>
          <p:nvPr/>
        </p:nvSpPr>
        <p:spPr>
          <a:xfrm>
            <a:off x="6678726" y="5570162"/>
            <a:ext cx="5535209"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MA Model with TS Diff(With </a:t>
            </a:r>
            <a:r>
              <a:rPr lang="en-US" err="1">
                <a:solidFill>
                  <a:schemeClr val="tx1"/>
                </a:solidFill>
              </a:rPr>
              <a:t>Exog</a:t>
            </a:r>
            <a:r>
              <a:rPr lang="en-US">
                <a:solidFill>
                  <a:schemeClr val="tx1"/>
                </a:solidFill>
              </a:rPr>
              <a:t> Parameters)</a:t>
            </a:r>
          </a:p>
        </p:txBody>
      </p:sp>
      <p:pic>
        <p:nvPicPr>
          <p:cNvPr id="3" name="Picture 6" descr="Table&#10;&#10;Description automatically generated">
            <a:extLst>
              <a:ext uri="{FF2B5EF4-FFF2-40B4-BE49-F238E27FC236}">
                <a16:creationId xmlns:a16="http://schemas.microsoft.com/office/drawing/2014/main" id="{92F2F078-2A64-4F81-AAB6-04F45D935590}"/>
              </a:ext>
            </a:extLst>
          </p:cNvPr>
          <p:cNvPicPr>
            <a:picLocks noChangeAspect="1"/>
          </p:cNvPicPr>
          <p:nvPr/>
        </p:nvPicPr>
        <p:blipFill>
          <a:blip r:embed="rId2"/>
          <a:stretch>
            <a:fillRect/>
          </a:stretch>
        </p:blipFill>
        <p:spPr>
          <a:xfrm>
            <a:off x="317139" y="1392080"/>
            <a:ext cx="6399176" cy="4650736"/>
          </a:xfrm>
          <a:prstGeom prst="rect">
            <a:avLst/>
          </a:prstGeom>
        </p:spPr>
      </p:pic>
      <p:pic>
        <p:nvPicPr>
          <p:cNvPr id="7" name="Picture 7" descr="Chart, line chart&#10;&#10;Description automatically generated">
            <a:extLst>
              <a:ext uri="{FF2B5EF4-FFF2-40B4-BE49-F238E27FC236}">
                <a16:creationId xmlns:a16="http://schemas.microsoft.com/office/drawing/2014/main" id="{32A083E4-1136-43B2-AA61-204C83559131}"/>
              </a:ext>
            </a:extLst>
          </p:cNvPr>
          <p:cNvPicPr>
            <a:picLocks noChangeAspect="1"/>
          </p:cNvPicPr>
          <p:nvPr/>
        </p:nvPicPr>
        <p:blipFill>
          <a:blip r:embed="rId3"/>
          <a:stretch>
            <a:fillRect/>
          </a:stretch>
        </p:blipFill>
        <p:spPr>
          <a:xfrm>
            <a:off x="6948260" y="1669680"/>
            <a:ext cx="5005008" cy="3797864"/>
          </a:xfrm>
          <a:prstGeom prst="rect">
            <a:avLst/>
          </a:prstGeom>
        </p:spPr>
      </p:pic>
      <p:sp>
        <p:nvSpPr>
          <p:cNvPr id="15" name="Title 1">
            <a:extLst>
              <a:ext uri="{FF2B5EF4-FFF2-40B4-BE49-F238E27FC236}">
                <a16:creationId xmlns:a16="http://schemas.microsoft.com/office/drawing/2014/main" id="{4873594C-8EC3-4605-881E-C1D16C0B8A73}"/>
              </a:ext>
            </a:extLst>
          </p:cNvPr>
          <p:cNvSpPr txBox="1">
            <a:spLocks/>
          </p:cNvSpPr>
          <p:nvPr/>
        </p:nvSpPr>
        <p:spPr>
          <a:xfrm>
            <a:off x="620354" y="564927"/>
            <a:ext cx="8174717"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Modelling Test for Daily Prediction</a:t>
            </a:r>
          </a:p>
        </p:txBody>
      </p:sp>
    </p:spTree>
    <p:extLst>
      <p:ext uri="{BB962C8B-B14F-4D97-AF65-F5344CB8AC3E}">
        <p14:creationId xmlns:p14="http://schemas.microsoft.com/office/powerpoint/2010/main" val="35445933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621666" y="5992480"/>
            <a:ext cx="5219507"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MA Model With TS Diff (With </a:t>
            </a:r>
            <a:r>
              <a:rPr lang="en-US" err="1">
                <a:solidFill>
                  <a:schemeClr val="tx1"/>
                </a:solidFill>
              </a:rPr>
              <a:t>Exog</a:t>
            </a:r>
            <a:r>
              <a:rPr lang="en-US">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6265088" y="6050734"/>
            <a:ext cx="5390525"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IMA Model with TS Log (With </a:t>
            </a:r>
            <a:r>
              <a:rPr lang="en-US" err="1">
                <a:solidFill>
                  <a:schemeClr val="tx1"/>
                </a:solidFill>
              </a:rPr>
              <a:t>Exog</a:t>
            </a:r>
            <a:r>
              <a:rPr lang="en-US">
                <a:solidFill>
                  <a:schemeClr val="tx1"/>
                </a:solidFill>
              </a:rPr>
              <a:t> Parameters)</a:t>
            </a:r>
          </a:p>
        </p:txBody>
      </p:sp>
      <p:pic>
        <p:nvPicPr>
          <p:cNvPr id="4" name="Picture 5" descr="Chart, line chart&#10;&#10;Description automatically generated">
            <a:extLst>
              <a:ext uri="{FF2B5EF4-FFF2-40B4-BE49-F238E27FC236}">
                <a16:creationId xmlns:a16="http://schemas.microsoft.com/office/drawing/2014/main" id="{566D1659-13FF-47F8-88C8-68034A0DB9EE}"/>
              </a:ext>
            </a:extLst>
          </p:cNvPr>
          <p:cNvPicPr>
            <a:picLocks noChangeAspect="1"/>
          </p:cNvPicPr>
          <p:nvPr/>
        </p:nvPicPr>
        <p:blipFill>
          <a:blip r:embed="rId2"/>
          <a:stretch>
            <a:fillRect/>
          </a:stretch>
        </p:blipFill>
        <p:spPr>
          <a:xfrm>
            <a:off x="479124" y="1715334"/>
            <a:ext cx="5438753" cy="4157025"/>
          </a:xfrm>
          <a:prstGeom prst="rect">
            <a:avLst/>
          </a:prstGeom>
        </p:spPr>
      </p:pic>
      <p:pic>
        <p:nvPicPr>
          <p:cNvPr id="6" name="Picture 7">
            <a:extLst>
              <a:ext uri="{FF2B5EF4-FFF2-40B4-BE49-F238E27FC236}">
                <a16:creationId xmlns:a16="http://schemas.microsoft.com/office/drawing/2014/main" id="{9A02E292-73CE-41B4-88EF-76B9EA903288}"/>
              </a:ext>
            </a:extLst>
          </p:cNvPr>
          <p:cNvPicPr>
            <a:picLocks noChangeAspect="1"/>
          </p:cNvPicPr>
          <p:nvPr/>
        </p:nvPicPr>
        <p:blipFill>
          <a:blip r:embed="rId3"/>
          <a:stretch>
            <a:fillRect/>
          </a:stretch>
        </p:blipFill>
        <p:spPr>
          <a:xfrm>
            <a:off x="6309795" y="1785303"/>
            <a:ext cx="5221039" cy="4091650"/>
          </a:xfrm>
          <a:prstGeom prst="rect">
            <a:avLst/>
          </a:prstGeom>
        </p:spPr>
      </p:pic>
      <p:sp>
        <p:nvSpPr>
          <p:cNvPr id="15" name="Title 1">
            <a:extLst>
              <a:ext uri="{FF2B5EF4-FFF2-40B4-BE49-F238E27FC236}">
                <a16:creationId xmlns:a16="http://schemas.microsoft.com/office/drawing/2014/main" id="{9555C023-9397-4E75-9856-EB47265A03DE}"/>
              </a:ext>
            </a:extLst>
          </p:cNvPr>
          <p:cNvSpPr txBox="1">
            <a:spLocks/>
          </p:cNvSpPr>
          <p:nvPr/>
        </p:nvSpPr>
        <p:spPr>
          <a:xfrm>
            <a:off x="475671" y="564927"/>
            <a:ext cx="8705223"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Modelling Test for Daily Prediction</a:t>
            </a:r>
          </a:p>
          <a:p>
            <a:r>
              <a:rPr lang="en-US">
                <a:solidFill>
                  <a:srgbClr val="002060"/>
                </a:solidFill>
                <a:ea typeface="+mj-lt"/>
                <a:cs typeface="+mj-lt"/>
              </a:rPr>
              <a:t>(Moving Average &amp; Arima)</a:t>
            </a:r>
            <a:endParaRPr lang="en-US"/>
          </a:p>
        </p:txBody>
      </p:sp>
    </p:spTree>
    <p:extLst>
      <p:ext uri="{BB962C8B-B14F-4D97-AF65-F5344CB8AC3E}">
        <p14:creationId xmlns:p14="http://schemas.microsoft.com/office/powerpoint/2010/main" val="13687068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1344011" y="5825426"/>
            <a:ext cx="3801609"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uto Arima Model With TS Diff (With </a:t>
            </a:r>
            <a:r>
              <a:rPr lang="en-US" err="1">
                <a:solidFill>
                  <a:schemeClr val="tx1"/>
                </a:solidFill>
              </a:rPr>
              <a:t>Exog</a:t>
            </a:r>
            <a:r>
              <a:rPr lang="en-US">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7133190" y="5825425"/>
            <a:ext cx="3808653"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uto Sarima Model with TS Log (With </a:t>
            </a:r>
            <a:r>
              <a:rPr lang="en-US" err="1">
                <a:solidFill>
                  <a:schemeClr val="tx1"/>
                </a:solidFill>
              </a:rPr>
              <a:t>Exog</a:t>
            </a:r>
            <a:r>
              <a:rPr lang="en-US">
                <a:solidFill>
                  <a:schemeClr val="tx1"/>
                </a:solidFill>
              </a:rPr>
              <a:t> Parameters)</a:t>
            </a:r>
          </a:p>
        </p:txBody>
      </p:sp>
      <p:pic>
        <p:nvPicPr>
          <p:cNvPr id="3" name="Picture 6" descr="Chart, line chart&#10;&#10;Description automatically generated">
            <a:extLst>
              <a:ext uri="{FF2B5EF4-FFF2-40B4-BE49-F238E27FC236}">
                <a16:creationId xmlns:a16="http://schemas.microsoft.com/office/drawing/2014/main" id="{3A9AAE25-4049-446E-8E70-55A209C4D22D}"/>
              </a:ext>
            </a:extLst>
          </p:cNvPr>
          <p:cNvPicPr>
            <a:picLocks noChangeAspect="1"/>
          </p:cNvPicPr>
          <p:nvPr/>
        </p:nvPicPr>
        <p:blipFill>
          <a:blip r:embed="rId2"/>
          <a:stretch>
            <a:fillRect/>
          </a:stretch>
        </p:blipFill>
        <p:spPr>
          <a:xfrm>
            <a:off x="529955" y="1509795"/>
            <a:ext cx="5425739" cy="4213515"/>
          </a:xfrm>
          <a:prstGeom prst="rect">
            <a:avLst/>
          </a:prstGeom>
        </p:spPr>
      </p:pic>
      <p:pic>
        <p:nvPicPr>
          <p:cNvPr id="7" name="Picture 7" descr="Chart, line chart&#10;&#10;Description automatically generated">
            <a:extLst>
              <a:ext uri="{FF2B5EF4-FFF2-40B4-BE49-F238E27FC236}">
                <a16:creationId xmlns:a16="http://schemas.microsoft.com/office/drawing/2014/main" id="{501F7DE2-8991-44A1-9009-B56CC32D49AD}"/>
              </a:ext>
            </a:extLst>
          </p:cNvPr>
          <p:cNvPicPr>
            <a:picLocks noChangeAspect="1"/>
          </p:cNvPicPr>
          <p:nvPr/>
        </p:nvPicPr>
        <p:blipFill>
          <a:blip r:embed="rId3"/>
          <a:stretch>
            <a:fillRect/>
          </a:stretch>
        </p:blipFill>
        <p:spPr>
          <a:xfrm>
            <a:off x="6280552" y="1505254"/>
            <a:ext cx="5377358" cy="4207898"/>
          </a:xfrm>
          <a:prstGeom prst="rect">
            <a:avLst/>
          </a:prstGeom>
        </p:spPr>
      </p:pic>
      <p:sp>
        <p:nvSpPr>
          <p:cNvPr id="15" name="Title 1">
            <a:extLst>
              <a:ext uri="{FF2B5EF4-FFF2-40B4-BE49-F238E27FC236}">
                <a16:creationId xmlns:a16="http://schemas.microsoft.com/office/drawing/2014/main" id="{5FE92ADB-55CC-4BEA-8221-1ACFF22DD1F0}"/>
              </a:ext>
            </a:extLst>
          </p:cNvPr>
          <p:cNvSpPr txBox="1">
            <a:spLocks/>
          </p:cNvSpPr>
          <p:nvPr/>
        </p:nvSpPr>
        <p:spPr>
          <a:xfrm>
            <a:off x="630000" y="391306"/>
            <a:ext cx="8348337"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Modelling Test for Daily Prediction</a:t>
            </a:r>
          </a:p>
          <a:p>
            <a:r>
              <a:rPr lang="en-US" sz="3200">
                <a:solidFill>
                  <a:srgbClr val="002060"/>
                </a:solidFill>
              </a:rPr>
              <a:t>(Auto Arima &amp; Auto Sarima)</a:t>
            </a:r>
          </a:p>
        </p:txBody>
      </p:sp>
    </p:spTree>
    <p:extLst>
      <p:ext uri="{BB962C8B-B14F-4D97-AF65-F5344CB8AC3E}">
        <p14:creationId xmlns:p14="http://schemas.microsoft.com/office/powerpoint/2010/main" val="38915486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a:xfrm>
            <a:off x="630000" y="208040"/>
            <a:ext cx="10933350" cy="941796"/>
          </a:xfrm>
        </p:spPr>
        <p:txBody>
          <a:bodyPr/>
          <a:lstStyle/>
          <a:p>
            <a:r>
              <a:rPr lang="en-US">
                <a:solidFill>
                  <a:srgbClr val="002060"/>
                </a:solidFill>
                <a:ea typeface="+mj-lt"/>
                <a:cs typeface="+mj-lt"/>
              </a:rPr>
              <a:t>Modelling Test for Daily Prediction</a:t>
            </a:r>
            <a:endParaRPr lang="en-US">
              <a:ea typeface="+mj-lt"/>
              <a:cs typeface="+mj-lt"/>
            </a:endParaRPr>
          </a:p>
          <a:p>
            <a:r>
              <a:rPr lang="en-US">
                <a:solidFill>
                  <a:srgbClr val="002060"/>
                </a:solidFill>
                <a:ea typeface="+mj-lt"/>
                <a:cs typeface="+mj-lt"/>
              </a:rPr>
              <a:t>(Tune </a:t>
            </a:r>
            <a:r>
              <a:rPr lang="en-US" err="1">
                <a:solidFill>
                  <a:srgbClr val="002060"/>
                </a:solidFill>
                <a:ea typeface="+mj-lt"/>
                <a:cs typeface="+mj-lt"/>
              </a:rPr>
              <a:t>Sarimax</a:t>
            </a:r>
            <a:r>
              <a:rPr lang="en-US">
                <a:solidFill>
                  <a:srgbClr val="002060"/>
                </a:solidFill>
                <a:ea typeface="+mj-lt"/>
                <a:cs typeface="+mj-lt"/>
              </a:rPr>
              <a:t> &amp; Tune Sarima)</a:t>
            </a:r>
          </a:p>
        </p:txBody>
      </p:sp>
      <p:sp>
        <p:nvSpPr>
          <p:cNvPr id="5" name="TextBox 4">
            <a:extLst>
              <a:ext uri="{FF2B5EF4-FFF2-40B4-BE49-F238E27FC236}">
                <a16:creationId xmlns:a16="http://schemas.microsoft.com/office/drawing/2014/main" id="{09C603B1-83E3-40C7-AD23-240A45A6713E}"/>
              </a:ext>
            </a:extLst>
          </p:cNvPr>
          <p:cNvSpPr txBox="1"/>
          <p:nvPr/>
        </p:nvSpPr>
        <p:spPr>
          <a:xfrm>
            <a:off x="786099" y="5929143"/>
            <a:ext cx="4762950"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a:solidFill>
                  <a:schemeClr val="tx1"/>
                </a:solidFill>
              </a:rPr>
              <a:t>Example of Tune SARIMAX Model With Ts Log, Different Combination of PDQ, Seasonal PDQ (With </a:t>
            </a:r>
            <a:r>
              <a:rPr lang="en-US" sz="1600" err="1">
                <a:solidFill>
                  <a:schemeClr val="tx1"/>
                </a:solidFill>
              </a:rPr>
              <a:t>Exog</a:t>
            </a:r>
            <a:r>
              <a:rPr lang="en-US" sz="1600">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6602684" y="5962304"/>
            <a:ext cx="4146247"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a:solidFill>
                  <a:schemeClr val="tx1"/>
                </a:solidFill>
              </a:rPr>
              <a:t>Tune Sarima Model with TS Log</a:t>
            </a:r>
          </a:p>
          <a:p>
            <a:pPr algn="ctr"/>
            <a:r>
              <a:rPr lang="en-US" sz="1600">
                <a:solidFill>
                  <a:schemeClr val="tx1"/>
                </a:solidFill>
              </a:rPr>
              <a:t>(With </a:t>
            </a:r>
            <a:r>
              <a:rPr lang="en-US" sz="1600" err="1">
                <a:solidFill>
                  <a:schemeClr val="tx1"/>
                </a:solidFill>
              </a:rPr>
              <a:t>Exog</a:t>
            </a:r>
            <a:r>
              <a:rPr lang="en-US" sz="1600">
                <a:solidFill>
                  <a:schemeClr val="tx1"/>
                </a:solidFill>
              </a:rPr>
              <a:t> Parameters)</a:t>
            </a:r>
          </a:p>
        </p:txBody>
      </p:sp>
      <p:pic>
        <p:nvPicPr>
          <p:cNvPr id="4" name="Picture 5" descr="Graphical user interface, text, application&#10;&#10;Description automatically generated">
            <a:extLst>
              <a:ext uri="{FF2B5EF4-FFF2-40B4-BE49-F238E27FC236}">
                <a16:creationId xmlns:a16="http://schemas.microsoft.com/office/drawing/2014/main" id="{79B30297-A01B-430C-8EB8-745A3D069B7F}"/>
              </a:ext>
            </a:extLst>
          </p:cNvPr>
          <p:cNvPicPr>
            <a:picLocks noChangeAspect="1"/>
          </p:cNvPicPr>
          <p:nvPr/>
        </p:nvPicPr>
        <p:blipFill>
          <a:blip r:embed="rId2"/>
          <a:stretch>
            <a:fillRect/>
          </a:stretch>
        </p:blipFill>
        <p:spPr>
          <a:xfrm>
            <a:off x="478818" y="3348503"/>
            <a:ext cx="5186438" cy="2538244"/>
          </a:xfrm>
          <a:prstGeom prst="rect">
            <a:avLst/>
          </a:prstGeom>
        </p:spPr>
      </p:pic>
      <p:pic>
        <p:nvPicPr>
          <p:cNvPr id="6" name="Picture 7">
            <a:extLst>
              <a:ext uri="{FF2B5EF4-FFF2-40B4-BE49-F238E27FC236}">
                <a16:creationId xmlns:a16="http://schemas.microsoft.com/office/drawing/2014/main" id="{4A08CA56-0F2C-4842-8FB2-31B02C4CC1C2}"/>
              </a:ext>
            </a:extLst>
          </p:cNvPr>
          <p:cNvPicPr>
            <a:picLocks noChangeAspect="1"/>
          </p:cNvPicPr>
          <p:nvPr/>
        </p:nvPicPr>
        <p:blipFill>
          <a:blip r:embed="rId3"/>
          <a:stretch>
            <a:fillRect/>
          </a:stretch>
        </p:blipFill>
        <p:spPr>
          <a:xfrm>
            <a:off x="474837" y="1232750"/>
            <a:ext cx="5071609" cy="2050923"/>
          </a:xfrm>
          <a:prstGeom prst="rect">
            <a:avLst/>
          </a:prstGeom>
        </p:spPr>
      </p:pic>
      <p:pic>
        <p:nvPicPr>
          <p:cNvPr id="8" name="Picture 9" descr="Chart, line chart&#10;&#10;Description automatically generated">
            <a:extLst>
              <a:ext uri="{FF2B5EF4-FFF2-40B4-BE49-F238E27FC236}">
                <a16:creationId xmlns:a16="http://schemas.microsoft.com/office/drawing/2014/main" id="{6CC0388A-2FEB-46B2-970B-B498ED898DF7}"/>
              </a:ext>
            </a:extLst>
          </p:cNvPr>
          <p:cNvPicPr>
            <a:picLocks noChangeAspect="1"/>
          </p:cNvPicPr>
          <p:nvPr/>
        </p:nvPicPr>
        <p:blipFill>
          <a:blip r:embed="rId4"/>
          <a:stretch>
            <a:fillRect/>
          </a:stretch>
        </p:blipFill>
        <p:spPr>
          <a:xfrm>
            <a:off x="5984295" y="1494418"/>
            <a:ext cx="5476723" cy="4330467"/>
          </a:xfrm>
          <a:prstGeom prst="rect">
            <a:avLst/>
          </a:prstGeom>
        </p:spPr>
      </p:pic>
    </p:spTree>
    <p:extLst>
      <p:ext uri="{BB962C8B-B14F-4D97-AF65-F5344CB8AC3E}">
        <p14:creationId xmlns:p14="http://schemas.microsoft.com/office/powerpoint/2010/main" val="4953258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a:xfrm>
            <a:off x="630000" y="439534"/>
            <a:ext cx="10933350" cy="941796"/>
          </a:xfrm>
        </p:spPr>
        <p:txBody>
          <a:bodyPr/>
          <a:lstStyle/>
          <a:p>
            <a:r>
              <a:rPr lang="en-US">
                <a:solidFill>
                  <a:srgbClr val="002060"/>
                </a:solidFill>
                <a:ea typeface="+mj-lt"/>
                <a:cs typeface="+mj-lt"/>
              </a:rPr>
              <a:t>Modelling Test for Daily Prediction</a:t>
            </a:r>
          </a:p>
          <a:p>
            <a:r>
              <a:rPr lang="en-US">
                <a:solidFill>
                  <a:srgbClr val="002060"/>
                </a:solidFill>
                <a:ea typeface="+mj-lt"/>
                <a:cs typeface="+mj-lt"/>
              </a:rPr>
              <a:t>(Sarimax)</a:t>
            </a:r>
          </a:p>
        </p:txBody>
      </p:sp>
      <p:sp>
        <p:nvSpPr>
          <p:cNvPr id="9" name="TextBox 8">
            <a:extLst>
              <a:ext uri="{FF2B5EF4-FFF2-40B4-BE49-F238E27FC236}">
                <a16:creationId xmlns:a16="http://schemas.microsoft.com/office/drawing/2014/main" id="{3179ADB1-85CE-4DE6-A4AE-524B8EB2D41D}"/>
              </a:ext>
            </a:extLst>
          </p:cNvPr>
          <p:cNvSpPr txBox="1"/>
          <p:nvPr/>
        </p:nvSpPr>
        <p:spPr>
          <a:xfrm>
            <a:off x="859129" y="1534311"/>
            <a:ext cx="5737765"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err="1">
                <a:solidFill>
                  <a:schemeClr val="tx1"/>
                </a:solidFill>
              </a:rPr>
              <a:t>Sarimax</a:t>
            </a:r>
            <a:r>
              <a:rPr lang="en-US">
                <a:solidFill>
                  <a:schemeClr val="tx1"/>
                </a:solidFill>
              </a:rPr>
              <a:t> Model with TS Log(With </a:t>
            </a:r>
            <a:r>
              <a:rPr lang="en-US" err="1">
                <a:solidFill>
                  <a:schemeClr val="tx1"/>
                </a:solidFill>
              </a:rPr>
              <a:t>Exog</a:t>
            </a:r>
            <a:r>
              <a:rPr lang="en-US">
                <a:solidFill>
                  <a:schemeClr val="tx1"/>
                </a:solidFill>
              </a:rPr>
              <a:t> Parameters)</a:t>
            </a:r>
          </a:p>
        </p:txBody>
      </p:sp>
      <p:pic>
        <p:nvPicPr>
          <p:cNvPr id="3" name="Picture 6" descr="Chart, line chart&#10;&#10;Description automatically generated">
            <a:extLst>
              <a:ext uri="{FF2B5EF4-FFF2-40B4-BE49-F238E27FC236}">
                <a16:creationId xmlns:a16="http://schemas.microsoft.com/office/drawing/2014/main" id="{3E9A0F2D-BAD5-4289-9F34-C4D0E3B67FD8}"/>
              </a:ext>
            </a:extLst>
          </p:cNvPr>
          <p:cNvPicPr>
            <a:picLocks noChangeAspect="1"/>
          </p:cNvPicPr>
          <p:nvPr/>
        </p:nvPicPr>
        <p:blipFill>
          <a:blip r:embed="rId2"/>
          <a:stretch>
            <a:fillRect/>
          </a:stretch>
        </p:blipFill>
        <p:spPr>
          <a:xfrm>
            <a:off x="743381" y="1967389"/>
            <a:ext cx="5851676" cy="4532808"/>
          </a:xfrm>
          <a:prstGeom prst="rect">
            <a:avLst/>
          </a:prstGeom>
        </p:spPr>
      </p:pic>
    </p:spTree>
    <p:extLst>
      <p:ext uri="{BB962C8B-B14F-4D97-AF65-F5344CB8AC3E}">
        <p14:creationId xmlns:p14="http://schemas.microsoft.com/office/powerpoint/2010/main" val="3710587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600">
              <a:solidFill>
                <a:srgbClr val="002060"/>
              </a:solidFill>
              <a:ea typeface="+mn-lt"/>
              <a:cs typeface="+mn-lt"/>
            </a:endParaRPr>
          </a:p>
          <a:p>
            <a:pPr algn="ctr"/>
            <a:endParaRPr lang="en-US" sz="3200">
              <a:solidFill>
                <a:srgbClr val="FFFFFF"/>
              </a:solidFill>
              <a:ea typeface="+mn-lt"/>
              <a:cs typeface="+mn-lt"/>
            </a:endParaRPr>
          </a:p>
          <a:p>
            <a:pPr algn="ctr"/>
            <a:r>
              <a:rPr lang="en-US" sz="3200" b="1">
                <a:solidFill>
                  <a:srgbClr val="FFFFFF"/>
                </a:solidFill>
                <a:ea typeface="+mn-lt"/>
                <a:cs typeface="+mn-lt"/>
              </a:rPr>
              <a:t>Appendix:</a:t>
            </a:r>
            <a:endParaRPr lang="en-SG" sz="3200" b="1">
              <a:solidFill>
                <a:srgbClr val="FFFFFF"/>
              </a:solidFill>
              <a:ea typeface="+mn-lt"/>
              <a:cs typeface="+mn-lt"/>
            </a:endParaRPr>
          </a:p>
          <a:p>
            <a:pPr algn="ctr"/>
            <a:r>
              <a:rPr lang="en-US" sz="3200">
                <a:solidFill>
                  <a:srgbClr val="FFFFFF"/>
                </a:solidFill>
                <a:ea typeface="+mn-lt"/>
                <a:cs typeface="+mn-lt"/>
              </a:rPr>
              <a:t>Modelling Test For Hourly Prediction </a:t>
            </a:r>
            <a:endParaRPr lang="en-SG" sz="3200">
              <a:ea typeface="+mn-lt"/>
              <a:cs typeface="+mn-lt"/>
            </a:endParaRPr>
          </a:p>
          <a:p>
            <a:pPr algn="ctr"/>
            <a:endParaRPr lang="en-SG" sz="2800" b="1"/>
          </a:p>
        </p:txBody>
      </p:sp>
    </p:spTree>
    <p:extLst>
      <p:ext uri="{BB962C8B-B14F-4D97-AF65-F5344CB8AC3E}">
        <p14:creationId xmlns:p14="http://schemas.microsoft.com/office/powerpoint/2010/main" val="6946462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9826-9E79-4999-9783-F530944DD31E}"/>
              </a:ext>
            </a:extLst>
          </p:cNvPr>
          <p:cNvSpPr>
            <a:spLocks noGrp="1"/>
          </p:cNvSpPr>
          <p:nvPr>
            <p:ph type="title"/>
          </p:nvPr>
        </p:nvSpPr>
        <p:spPr>
          <a:xfrm>
            <a:off x="442849" y="183258"/>
            <a:ext cx="9161915" cy="941796"/>
          </a:xfrm>
        </p:spPr>
        <p:txBody>
          <a:bodyPr/>
          <a:lstStyle/>
          <a:p>
            <a:r>
              <a:rPr lang="en-US">
                <a:solidFill>
                  <a:srgbClr val="002060"/>
                </a:solidFill>
              </a:rPr>
              <a:t>Preprocessing for Modelling Test </a:t>
            </a:r>
            <a:br>
              <a:rPr lang="en-US">
                <a:solidFill>
                  <a:srgbClr val="002060"/>
                </a:solidFill>
              </a:rPr>
            </a:br>
            <a:r>
              <a:rPr lang="en-US">
                <a:solidFill>
                  <a:srgbClr val="002060"/>
                </a:solidFill>
              </a:rPr>
              <a:t>for Hourly Prediction</a:t>
            </a:r>
            <a:endParaRPr lang="en-US">
              <a:ea typeface="+mj-lt"/>
              <a:cs typeface="+mj-lt"/>
            </a:endParaRPr>
          </a:p>
        </p:txBody>
      </p:sp>
      <p:pic>
        <p:nvPicPr>
          <p:cNvPr id="3" name="Picture 3" descr="Chart, histogram&#10;&#10;Description automatically generated">
            <a:extLst>
              <a:ext uri="{FF2B5EF4-FFF2-40B4-BE49-F238E27FC236}">
                <a16:creationId xmlns:a16="http://schemas.microsoft.com/office/drawing/2014/main" id="{20B35CB3-36DD-49EE-954D-E122673D5070}"/>
              </a:ext>
            </a:extLst>
          </p:cNvPr>
          <p:cNvPicPr>
            <a:picLocks noChangeAspect="1"/>
          </p:cNvPicPr>
          <p:nvPr/>
        </p:nvPicPr>
        <p:blipFill>
          <a:blip r:embed="rId2"/>
          <a:stretch>
            <a:fillRect/>
          </a:stretch>
        </p:blipFill>
        <p:spPr>
          <a:xfrm>
            <a:off x="442590" y="1328733"/>
            <a:ext cx="5287353" cy="5097648"/>
          </a:xfrm>
          <a:prstGeom prst="rect">
            <a:avLst/>
          </a:prstGeom>
        </p:spPr>
      </p:pic>
      <p:pic>
        <p:nvPicPr>
          <p:cNvPr id="4" name="Picture 4" descr="A picture containing graphical user interface&#10;&#10;Description automatically generated">
            <a:extLst>
              <a:ext uri="{FF2B5EF4-FFF2-40B4-BE49-F238E27FC236}">
                <a16:creationId xmlns:a16="http://schemas.microsoft.com/office/drawing/2014/main" id="{77A06809-46E8-4104-8CC2-39B3E44D4271}"/>
              </a:ext>
            </a:extLst>
          </p:cNvPr>
          <p:cNvPicPr>
            <a:picLocks noChangeAspect="1"/>
          </p:cNvPicPr>
          <p:nvPr/>
        </p:nvPicPr>
        <p:blipFill>
          <a:blip r:embed="rId3"/>
          <a:stretch>
            <a:fillRect/>
          </a:stretch>
        </p:blipFill>
        <p:spPr>
          <a:xfrm>
            <a:off x="6140456" y="1240487"/>
            <a:ext cx="5219700" cy="5342755"/>
          </a:xfrm>
          <a:prstGeom prst="rect">
            <a:avLst/>
          </a:prstGeom>
        </p:spPr>
      </p:pic>
    </p:spTree>
    <p:extLst>
      <p:ext uri="{BB962C8B-B14F-4D97-AF65-F5344CB8AC3E}">
        <p14:creationId xmlns:p14="http://schemas.microsoft.com/office/powerpoint/2010/main" val="16023172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Graphical user interface, text, application, email&#10;&#10;Description automatically generated">
            <a:extLst>
              <a:ext uri="{FF2B5EF4-FFF2-40B4-BE49-F238E27FC236}">
                <a16:creationId xmlns:a16="http://schemas.microsoft.com/office/drawing/2014/main" id="{0633DDFD-C6E4-49AC-8FC0-3B3F14495A9E}"/>
              </a:ext>
            </a:extLst>
          </p:cNvPr>
          <p:cNvPicPr>
            <a:picLocks noChangeAspect="1"/>
          </p:cNvPicPr>
          <p:nvPr/>
        </p:nvPicPr>
        <p:blipFill>
          <a:blip r:embed="rId2"/>
          <a:stretch>
            <a:fillRect/>
          </a:stretch>
        </p:blipFill>
        <p:spPr>
          <a:xfrm>
            <a:off x="298958" y="1365210"/>
            <a:ext cx="5600700" cy="3801908"/>
          </a:xfrm>
          <a:prstGeom prst="rect">
            <a:avLst/>
          </a:prstGeom>
        </p:spPr>
      </p:pic>
      <p:pic>
        <p:nvPicPr>
          <p:cNvPr id="5" name="Picture 5" descr="Chart&#10;&#10;Description automatically generated">
            <a:extLst>
              <a:ext uri="{FF2B5EF4-FFF2-40B4-BE49-F238E27FC236}">
                <a16:creationId xmlns:a16="http://schemas.microsoft.com/office/drawing/2014/main" id="{3B6F7F7B-D3FB-4B64-A663-FE7B75E2A8B0}"/>
              </a:ext>
            </a:extLst>
          </p:cNvPr>
          <p:cNvPicPr>
            <a:picLocks noChangeAspect="1"/>
          </p:cNvPicPr>
          <p:nvPr/>
        </p:nvPicPr>
        <p:blipFill>
          <a:blip r:embed="rId3"/>
          <a:stretch>
            <a:fillRect/>
          </a:stretch>
        </p:blipFill>
        <p:spPr>
          <a:xfrm>
            <a:off x="6100234" y="1268386"/>
            <a:ext cx="5939366" cy="5358395"/>
          </a:xfrm>
          <a:prstGeom prst="rect">
            <a:avLst/>
          </a:prstGeom>
        </p:spPr>
      </p:pic>
      <p:sp>
        <p:nvSpPr>
          <p:cNvPr id="11" name="Title 1">
            <a:extLst>
              <a:ext uri="{FF2B5EF4-FFF2-40B4-BE49-F238E27FC236}">
                <a16:creationId xmlns:a16="http://schemas.microsoft.com/office/drawing/2014/main" id="{17A790A2-3A10-4637-9B2F-3CD458BC0EF1}"/>
              </a:ext>
            </a:extLst>
          </p:cNvPr>
          <p:cNvSpPr txBox="1">
            <a:spLocks/>
          </p:cNvSpPr>
          <p:nvPr/>
        </p:nvSpPr>
        <p:spPr>
          <a:xfrm>
            <a:off x="365684" y="125384"/>
            <a:ext cx="9161915"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Preprocessing for Modelling Test </a:t>
            </a:r>
            <a:br>
              <a:rPr lang="en-US">
                <a:solidFill>
                  <a:srgbClr val="002060"/>
                </a:solidFill>
              </a:rPr>
            </a:br>
            <a:r>
              <a:rPr lang="en-US">
                <a:solidFill>
                  <a:srgbClr val="002060"/>
                </a:solidFill>
              </a:rPr>
              <a:t>for Hourly Prediction</a:t>
            </a:r>
            <a:endParaRPr lang="en-US">
              <a:ea typeface="+mj-lt"/>
              <a:cs typeface="+mj-lt"/>
            </a:endParaRPr>
          </a:p>
        </p:txBody>
      </p:sp>
    </p:spTree>
    <p:extLst>
      <p:ext uri="{BB962C8B-B14F-4D97-AF65-F5344CB8AC3E}">
        <p14:creationId xmlns:p14="http://schemas.microsoft.com/office/powerpoint/2010/main" val="10421414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0" descr="Graphical user interface, chart&#10;&#10;Description automatically generated">
            <a:extLst>
              <a:ext uri="{FF2B5EF4-FFF2-40B4-BE49-F238E27FC236}">
                <a16:creationId xmlns:a16="http://schemas.microsoft.com/office/drawing/2014/main" id="{676266AD-39DD-4C63-AC43-FBDA958C8BFA}"/>
              </a:ext>
            </a:extLst>
          </p:cNvPr>
          <p:cNvPicPr>
            <a:picLocks noChangeAspect="1"/>
          </p:cNvPicPr>
          <p:nvPr/>
        </p:nvPicPr>
        <p:blipFill>
          <a:blip r:embed="rId2"/>
          <a:stretch>
            <a:fillRect/>
          </a:stretch>
        </p:blipFill>
        <p:spPr>
          <a:xfrm>
            <a:off x="287170" y="1104577"/>
            <a:ext cx="8558540" cy="5750582"/>
          </a:xfrm>
          <a:prstGeom prst="rect">
            <a:avLst/>
          </a:prstGeom>
        </p:spPr>
      </p:pic>
      <p:sp>
        <p:nvSpPr>
          <p:cNvPr id="12" name="Title 1">
            <a:extLst>
              <a:ext uri="{FF2B5EF4-FFF2-40B4-BE49-F238E27FC236}">
                <a16:creationId xmlns:a16="http://schemas.microsoft.com/office/drawing/2014/main" id="{3502CFB6-6A40-4F07-8AA1-9E63A659ADA0}"/>
              </a:ext>
            </a:extLst>
          </p:cNvPr>
          <p:cNvSpPr txBox="1">
            <a:spLocks/>
          </p:cNvSpPr>
          <p:nvPr/>
        </p:nvSpPr>
        <p:spPr>
          <a:xfrm>
            <a:off x="147722" y="130876"/>
            <a:ext cx="10933350"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ea typeface="+mj-lt"/>
                <a:cs typeface="+mj-lt"/>
              </a:rPr>
              <a:t>Modelling Test for Hourly Prediction – </a:t>
            </a:r>
            <a:r>
              <a:rPr lang="en-US" err="1">
                <a:solidFill>
                  <a:srgbClr val="002060"/>
                </a:solidFill>
                <a:ea typeface="+mj-lt"/>
                <a:cs typeface="+mj-lt"/>
              </a:rPr>
              <a:t>Imbiah</a:t>
            </a:r>
            <a:r>
              <a:rPr lang="en-US">
                <a:solidFill>
                  <a:srgbClr val="002060"/>
                </a:solidFill>
                <a:ea typeface="+mj-lt"/>
                <a:cs typeface="+mj-lt"/>
              </a:rPr>
              <a:t> Lookout</a:t>
            </a:r>
            <a:endParaRPr lang="en-US">
              <a:solidFill>
                <a:srgbClr val="171D3C"/>
              </a:solidFill>
              <a:ea typeface="+mj-lt"/>
              <a:cs typeface="+mj-lt"/>
            </a:endParaRPr>
          </a:p>
          <a:p>
            <a:r>
              <a:rPr lang="en-US" sz="3200">
                <a:solidFill>
                  <a:srgbClr val="002060"/>
                </a:solidFill>
                <a:ea typeface="+mj-lt"/>
                <a:cs typeface="+mj-lt"/>
              </a:rPr>
              <a:t>(</a:t>
            </a:r>
            <a:r>
              <a:rPr lang="en-US" sz="3200" err="1">
                <a:solidFill>
                  <a:srgbClr val="002060"/>
                </a:solidFill>
                <a:ea typeface="+mj-lt"/>
                <a:cs typeface="+mj-lt"/>
              </a:rPr>
              <a:t>Sarimax</a:t>
            </a:r>
            <a:r>
              <a:rPr lang="en-US" sz="3200">
                <a:solidFill>
                  <a:srgbClr val="002060"/>
                </a:solidFill>
                <a:ea typeface="+mj-lt"/>
                <a:cs typeface="+mj-lt"/>
              </a:rPr>
              <a:t> - Train)</a:t>
            </a:r>
            <a:endParaRPr lang="en-US" sz="3200"/>
          </a:p>
        </p:txBody>
      </p:sp>
    </p:spTree>
    <p:extLst>
      <p:ext uri="{BB962C8B-B14F-4D97-AF65-F5344CB8AC3E}">
        <p14:creationId xmlns:p14="http://schemas.microsoft.com/office/powerpoint/2010/main" val="4263607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129EBF9C-3DCE-40EC-8CFB-1CB201B252BE}"/>
              </a:ext>
            </a:extLst>
          </p:cNvPr>
          <p:cNvSpPr/>
          <p:nvPr/>
        </p:nvSpPr>
        <p:spPr>
          <a:xfrm>
            <a:off x="718312" y="1534513"/>
            <a:ext cx="10683383" cy="3893174"/>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57200" indent="-457200">
              <a:lnSpc>
                <a:spcPct val="150000"/>
              </a:lnSpc>
              <a:buAutoNum type="arabicPeriod"/>
            </a:pPr>
            <a:r>
              <a:rPr lang="en-US" sz="2000">
                <a:solidFill>
                  <a:srgbClr val="002060"/>
                </a:solidFill>
              </a:rPr>
              <a:t>Total rider coming in and out are the same number. </a:t>
            </a:r>
            <a:endParaRPr lang="en-US" sz="2000">
              <a:solidFill>
                <a:srgbClr val="FFFFFF"/>
              </a:solidFill>
            </a:endParaRPr>
          </a:p>
          <a:p>
            <a:pPr marL="457200" indent="-457200">
              <a:lnSpc>
                <a:spcPct val="150000"/>
              </a:lnSpc>
              <a:buAutoNum type="arabicPeriod"/>
            </a:pPr>
            <a:r>
              <a:rPr lang="en-US" sz="2000">
                <a:solidFill>
                  <a:srgbClr val="002060"/>
                </a:solidFill>
                <a:ea typeface="+mn-lt"/>
                <a:cs typeface="+mn-lt"/>
              </a:rPr>
              <a:t>Bus stops and bus routes cannot be removed. </a:t>
            </a:r>
          </a:p>
          <a:p>
            <a:pPr>
              <a:lnSpc>
                <a:spcPct val="150000"/>
              </a:lnSpc>
            </a:pPr>
            <a:r>
              <a:rPr lang="en-US" sz="2000">
                <a:solidFill>
                  <a:srgbClr val="002060"/>
                </a:solidFill>
                <a:ea typeface="+mn-lt"/>
                <a:cs typeface="+mn-lt"/>
              </a:rPr>
              <a:t>3.   No key events or promotions during the period of data provided (Jan – Mar 2021) due to COVID-19 SMM measures.</a:t>
            </a:r>
            <a:endParaRPr lang="en-US" sz="2000">
              <a:ea typeface="+mn-lt"/>
              <a:cs typeface="+mn-lt"/>
            </a:endParaRPr>
          </a:p>
          <a:p>
            <a:pPr>
              <a:lnSpc>
                <a:spcPct val="150000"/>
              </a:lnSpc>
            </a:pPr>
            <a:r>
              <a:rPr lang="en-US" sz="2000">
                <a:solidFill>
                  <a:srgbClr val="002060"/>
                </a:solidFill>
                <a:ea typeface="+mn-lt"/>
                <a:cs typeface="+mn-lt"/>
              </a:rPr>
              <a:t>4.   Maximum bus capacity is 50 pax due to COVID-19 SMM measures.</a:t>
            </a:r>
            <a:endParaRPr lang="en-US" sz="2000">
              <a:solidFill>
                <a:srgbClr val="002060"/>
              </a:solidFill>
            </a:endParaRPr>
          </a:p>
          <a:p>
            <a:pPr>
              <a:lnSpc>
                <a:spcPct val="150000"/>
              </a:lnSpc>
            </a:pPr>
            <a:endParaRPr lang="en-US" sz="2000">
              <a:solidFill>
                <a:srgbClr val="002060"/>
              </a:solidFill>
              <a:ea typeface="+mn-lt"/>
              <a:cs typeface="+mn-lt"/>
            </a:endParaRPr>
          </a:p>
          <a:p>
            <a:pPr marL="457200" indent="-457200">
              <a:lnSpc>
                <a:spcPct val="150000"/>
              </a:lnSpc>
              <a:buAutoNum type="arabicPeriod"/>
            </a:pPr>
            <a:endParaRPr lang="en-US" sz="2000">
              <a:solidFill>
                <a:srgbClr val="002060"/>
              </a:solidFill>
            </a:endParaRPr>
          </a:p>
          <a:p>
            <a:pPr marL="457200" indent="-457200">
              <a:lnSpc>
                <a:spcPct val="150000"/>
              </a:lnSpc>
              <a:buAutoNum type="arabicPeriod"/>
            </a:pPr>
            <a:endParaRPr lang="en-US" sz="2000">
              <a:solidFill>
                <a:srgbClr val="002060"/>
              </a:solidFill>
            </a:endParaRPr>
          </a:p>
        </p:txBody>
      </p:sp>
      <p:sp>
        <p:nvSpPr>
          <p:cNvPr id="211" name="TextBox 210">
            <a:extLst>
              <a:ext uri="{FF2B5EF4-FFF2-40B4-BE49-F238E27FC236}">
                <a16:creationId xmlns:a16="http://schemas.microsoft.com/office/drawing/2014/main" id="{BE8EF75F-4A8F-4CC0-B3A0-4689491D690B}"/>
              </a:ext>
            </a:extLst>
          </p:cNvPr>
          <p:cNvSpPr txBox="1"/>
          <p:nvPr/>
        </p:nvSpPr>
        <p:spPr>
          <a:xfrm>
            <a:off x="626378" y="715559"/>
            <a:ext cx="6916227" cy="61555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3400">
                <a:solidFill>
                  <a:srgbClr val="002060"/>
                </a:solidFill>
              </a:rPr>
              <a:t>Key Assumptions/Limitations</a:t>
            </a:r>
          </a:p>
        </p:txBody>
      </p:sp>
    </p:spTree>
    <p:extLst>
      <p:ext uri="{BB962C8B-B14F-4D97-AF65-F5344CB8AC3E}">
        <p14:creationId xmlns:p14="http://schemas.microsoft.com/office/powerpoint/2010/main" val="597372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histogram&#10;&#10;Description automatically generated">
            <a:extLst>
              <a:ext uri="{FF2B5EF4-FFF2-40B4-BE49-F238E27FC236}">
                <a16:creationId xmlns:a16="http://schemas.microsoft.com/office/drawing/2014/main" id="{809C533A-AFC0-4A50-BB53-AD1A504EB8AA}"/>
              </a:ext>
            </a:extLst>
          </p:cNvPr>
          <p:cNvPicPr>
            <a:picLocks noChangeAspect="1"/>
          </p:cNvPicPr>
          <p:nvPr/>
        </p:nvPicPr>
        <p:blipFill>
          <a:blip r:embed="rId2"/>
          <a:stretch>
            <a:fillRect/>
          </a:stretch>
        </p:blipFill>
        <p:spPr>
          <a:xfrm>
            <a:off x="292394" y="1161995"/>
            <a:ext cx="9453033" cy="4640244"/>
          </a:xfrm>
          <a:prstGeom prst="rect">
            <a:avLst/>
          </a:prstGeom>
        </p:spPr>
      </p:pic>
      <p:pic>
        <p:nvPicPr>
          <p:cNvPr id="6" name="Picture 6">
            <a:extLst>
              <a:ext uri="{FF2B5EF4-FFF2-40B4-BE49-F238E27FC236}">
                <a16:creationId xmlns:a16="http://schemas.microsoft.com/office/drawing/2014/main" id="{6A9FCBE7-1CC3-44E4-81F0-428DD3F70CFC}"/>
              </a:ext>
            </a:extLst>
          </p:cNvPr>
          <p:cNvPicPr>
            <a:picLocks noChangeAspect="1"/>
          </p:cNvPicPr>
          <p:nvPr/>
        </p:nvPicPr>
        <p:blipFill>
          <a:blip r:embed="rId3"/>
          <a:stretch>
            <a:fillRect/>
          </a:stretch>
        </p:blipFill>
        <p:spPr>
          <a:xfrm>
            <a:off x="292394" y="5765431"/>
            <a:ext cx="9453033" cy="943003"/>
          </a:xfrm>
          <a:prstGeom prst="rect">
            <a:avLst/>
          </a:prstGeom>
        </p:spPr>
      </p:pic>
      <p:sp>
        <p:nvSpPr>
          <p:cNvPr id="15" name="Title 1">
            <a:extLst>
              <a:ext uri="{FF2B5EF4-FFF2-40B4-BE49-F238E27FC236}">
                <a16:creationId xmlns:a16="http://schemas.microsoft.com/office/drawing/2014/main" id="{42598CE5-1CF1-401F-9EC8-146FA6EFC0EE}"/>
              </a:ext>
            </a:extLst>
          </p:cNvPr>
          <p:cNvSpPr txBox="1">
            <a:spLocks/>
          </p:cNvSpPr>
          <p:nvPr/>
        </p:nvSpPr>
        <p:spPr>
          <a:xfrm>
            <a:off x="147722" y="130876"/>
            <a:ext cx="11647122"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ea typeface="+mj-lt"/>
                <a:cs typeface="+mj-lt"/>
              </a:rPr>
              <a:t>Modelling Test for Hourly Prediction – </a:t>
            </a:r>
            <a:r>
              <a:rPr lang="en-US" err="1">
                <a:solidFill>
                  <a:srgbClr val="002060"/>
                </a:solidFill>
                <a:ea typeface="+mj-lt"/>
                <a:cs typeface="+mj-lt"/>
              </a:rPr>
              <a:t>Imbiah</a:t>
            </a:r>
            <a:r>
              <a:rPr lang="en-US">
                <a:solidFill>
                  <a:srgbClr val="002060"/>
                </a:solidFill>
                <a:ea typeface="+mj-lt"/>
                <a:cs typeface="+mj-lt"/>
              </a:rPr>
              <a:t> Lookout </a:t>
            </a:r>
            <a:r>
              <a:rPr lang="en-US" sz="3200">
                <a:solidFill>
                  <a:srgbClr val="002060"/>
                </a:solidFill>
                <a:ea typeface="+mj-lt"/>
                <a:cs typeface="+mj-lt"/>
              </a:rPr>
              <a:t>(</a:t>
            </a:r>
            <a:r>
              <a:rPr lang="en-US" sz="3200" err="1">
                <a:solidFill>
                  <a:srgbClr val="002060"/>
                </a:solidFill>
                <a:ea typeface="+mj-lt"/>
                <a:cs typeface="+mj-lt"/>
              </a:rPr>
              <a:t>Sarimax</a:t>
            </a:r>
            <a:r>
              <a:rPr lang="en-US" sz="3200">
                <a:solidFill>
                  <a:srgbClr val="002060"/>
                </a:solidFill>
                <a:ea typeface="+mj-lt"/>
                <a:cs typeface="+mj-lt"/>
              </a:rPr>
              <a:t> - Test)</a:t>
            </a:r>
            <a:endParaRPr lang="en-US" sz="3200"/>
          </a:p>
        </p:txBody>
      </p:sp>
    </p:spTree>
    <p:extLst>
      <p:ext uri="{BB962C8B-B14F-4D97-AF65-F5344CB8AC3E}">
        <p14:creationId xmlns:p14="http://schemas.microsoft.com/office/powerpoint/2010/main" val="18232961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10;&#10;Description automatically generated">
            <a:extLst>
              <a:ext uri="{FF2B5EF4-FFF2-40B4-BE49-F238E27FC236}">
                <a16:creationId xmlns:a16="http://schemas.microsoft.com/office/drawing/2014/main" id="{5077707B-414C-42AA-B330-0167CEF42AD3}"/>
              </a:ext>
            </a:extLst>
          </p:cNvPr>
          <p:cNvPicPr>
            <a:picLocks noChangeAspect="1"/>
          </p:cNvPicPr>
          <p:nvPr/>
        </p:nvPicPr>
        <p:blipFill>
          <a:blip r:embed="rId2"/>
          <a:stretch>
            <a:fillRect/>
          </a:stretch>
        </p:blipFill>
        <p:spPr>
          <a:xfrm>
            <a:off x="247649" y="1066393"/>
            <a:ext cx="8199108" cy="5611266"/>
          </a:xfrm>
          <a:prstGeom prst="rect">
            <a:avLst/>
          </a:prstGeom>
        </p:spPr>
      </p:pic>
      <p:sp>
        <p:nvSpPr>
          <p:cNvPr id="14" name="Title 1">
            <a:extLst>
              <a:ext uri="{FF2B5EF4-FFF2-40B4-BE49-F238E27FC236}">
                <a16:creationId xmlns:a16="http://schemas.microsoft.com/office/drawing/2014/main" id="{85E500D2-959C-4EBE-9F3F-2DFE370E9E2B}"/>
              </a:ext>
            </a:extLst>
          </p:cNvPr>
          <p:cNvSpPr txBox="1">
            <a:spLocks/>
          </p:cNvSpPr>
          <p:nvPr/>
        </p:nvSpPr>
        <p:spPr>
          <a:xfrm>
            <a:off x="147722" y="130876"/>
            <a:ext cx="11647122"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ea typeface="+mj-lt"/>
                <a:cs typeface="+mj-lt"/>
              </a:rPr>
              <a:t>Modelling Test for Hourly Prediction – </a:t>
            </a:r>
            <a:r>
              <a:rPr lang="en-US" err="1">
                <a:solidFill>
                  <a:srgbClr val="002060"/>
                </a:solidFill>
                <a:ea typeface="+mj-lt"/>
                <a:cs typeface="+mj-lt"/>
              </a:rPr>
              <a:t>Siloso</a:t>
            </a:r>
            <a:r>
              <a:rPr lang="en-US">
                <a:solidFill>
                  <a:srgbClr val="002060"/>
                </a:solidFill>
                <a:ea typeface="+mj-lt"/>
                <a:cs typeface="+mj-lt"/>
              </a:rPr>
              <a:t> Point</a:t>
            </a:r>
            <a:endParaRPr lang="en-US" sz="3200">
              <a:solidFill>
                <a:srgbClr val="171D3C"/>
              </a:solidFill>
              <a:ea typeface="+mj-lt"/>
              <a:cs typeface="+mj-lt"/>
            </a:endParaRPr>
          </a:p>
          <a:p>
            <a:r>
              <a:rPr lang="en-US" sz="3200">
                <a:solidFill>
                  <a:srgbClr val="002060"/>
                </a:solidFill>
                <a:ea typeface="+mj-lt"/>
                <a:cs typeface="+mj-lt"/>
              </a:rPr>
              <a:t>(Sarimax - Train)</a:t>
            </a:r>
            <a:endParaRPr lang="en-US" sz="3200"/>
          </a:p>
        </p:txBody>
      </p:sp>
    </p:spTree>
    <p:extLst>
      <p:ext uri="{BB962C8B-B14F-4D97-AF65-F5344CB8AC3E}">
        <p14:creationId xmlns:p14="http://schemas.microsoft.com/office/powerpoint/2010/main" val="25287043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4C6C106-B386-4A2E-81E6-1F3F086FEAC0}"/>
              </a:ext>
            </a:extLst>
          </p:cNvPr>
          <p:cNvGrpSpPr/>
          <p:nvPr/>
        </p:nvGrpSpPr>
        <p:grpSpPr>
          <a:xfrm>
            <a:off x="244573" y="5641438"/>
            <a:ext cx="8317629" cy="951727"/>
            <a:chOff x="6848572" y="3863437"/>
            <a:chExt cx="5269629" cy="602477"/>
          </a:xfrm>
        </p:grpSpPr>
        <p:pic>
          <p:nvPicPr>
            <p:cNvPr id="6" name="Picture 5">
              <a:extLst>
                <a:ext uri="{FF2B5EF4-FFF2-40B4-BE49-F238E27FC236}">
                  <a16:creationId xmlns:a16="http://schemas.microsoft.com/office/drawing/2014/main" id="{403F2A95-E655-4F3E-AA55-9C7C28F67C77}"/>
                </a:ext>
              </a:extLst>
            </p:cNvPr>
            <p:cNvPicPr>
              <a:picLocks noChangeAspect="1"/>
            </p:cNvPicPr>
            <p:nvPr/>
          </p:nvPicPr>
          <p:blipFill>
            <a:blip r:embed="rId2"/>
            <a:stretch>
              <a:fillRect/>
            </a:stretch>
          </p:blipFill>
          <p:spPr>
            <a:xfrm>
              <a:off x="6850877" y="3863437"/>
              <a:ext cx="5267324" cy="598760"/>
            </a:xfrm>
            <a:prstGeom prst="rect">
              <a:avLst/>
            </a:prstGeom>
          </p:spPr>
        </p:pic>
        <p:sp>
          <p:nvSpPr>
            <p:cNvPr id="7" name="Rectangle 6">
              <a:extLst>
                <a:ext uri="{FF2B5EF4-FFF2-40B4-BE49-F238E27FC236}">
                  <a16:creationId xmlns:a16="http://schemas.microsoft.com/office/drawing/2014/main" id="{448DCFB8-0BB7-4818-BFA7-52EE275AEB29}"/>
                </a:ext>
              </a:extLst>
            </p:cNvPr>
            <p:cNvSpPr/>
            <p:nvPr/>
          </p:nvSpPr>
          <p:spPr>
            <a:xfrm>
              <a:off x="6848572" y="3864334"/>
              <a:ext cx="771606" cy="58445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rgbClr val="FFFFFF"/>
                </a:solidFill>
              </a:endParaRPr>
            </a:p>
          </p:txBody>
        </p:sp>
        <p:sp>
          <p:nvSpPr>
            <p:cNvPr id="8" name="Rectangle 7">
              <a:extLst>
                <a:ext uri="{FF2B5EF4-FFF2-40B4-BE49-F238E27FC236}">
                  <a16:creationId xmlns:a16="http://schemas.microsoft.com/office/drawing/2014/main" id="{09412181-5062-449B-9180-7019A8119B2C}"/>
                </a:ext>
              </a:extLst>
            </p:cNvPr>
            <p:cNvSpPr/>
            <p:nvPr/>
          </p:nvSpPr>
          <p:spPr>
            <a:xfrm>
              <a:off x="11103785" y="3872895"/>
              <a:ext cx="514753" cy="593019"/>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rgbClr val="FFFFFF"/>
                </a:solidFill>
              </a:endParaRPr>
            </a:p>
          </p:txBody>
        </p:sp>
      </p:grpSp>
      <p:pic>
        <p:nvPicPr>
          <p:cNvPr id="5" name="Picture 4" descr="Chart&#10;&#10;Description automatically generated">
            <a:extLst>
              <a:ext uri="{FF2B5EF4-FFF2-40B4-BE49-F238E27FC236}">
                <a16:creationId xmlns:a16="http://schemas.microsoft.com/office/drawing/2014/main" id="{B95C723D-080B-423A-BEDF-8046FB191CAA}"/>
              </a:ext>
            </a:extLst>
          </p:cNvPr>
          <p:cNvPicPr>
            <a:picLocks noChangeAspect="1"/>
          </p:cNvPicPr>
          <p:nvPr/>
        </p:nvPicPr>
        <p:blipFill>
          <a:blip r:embed="rId3"/>
          <a:stretch>
            <a:fillRect/>
          </a:stretch>
        </p:blipFill>
        <p:spPr>
          <a:xfrm>
            <a:off x="245005" y="1155356"/>
            <a:ext cx="9000428" cy="4429632"/>
          </a:xfrm>
          <a:prstGeom prst="rect">
            <a:avLst/>
          </a:prstGeom>
        </p:spPr>
      </p:pic>
      <p:sp>
        <p:nvSpPr>
          <p:cNvPr id="16" name="Title 1">
            <a:extLst>
              <a:ext uri="{FF2B5EF4-FFF2-40B4-BE49-F238E27FC236}">
                <a16:creationId xmlns:a16="http://schemas.microsoft.com/office/drawing/2014/main" id="{D0C7EA6D-0914-4FA0-A4FB-86761188BAEE}"/>
              </a:ext>
            </a:extLst>
          </p:cNvPr>
          <p:cNvSpPr txBox="1">
            <a:spLocks/>
          </p:cNvSpPr>
          <p:nvPr/>
        </p:nvSpPr>
        <p:spPr>
          <a:xfrm>
            <a:off x="147722" y="130876"/>
            <a:ext cx="11647122"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ea typeface="+mj-lt"/>
                <a:cs typeface="+mj-lt"/>
              </a:rPr>
              <a:t>Modelling Test for Hourly Prediction – </a:t>
            </a:r>
            <a:r>
              <a:rPr lang="en-US" err="1">
                <a:solidFill>
                  <a:srgbClr val="002060"/>
                </a:solidFill>
                <a:ea typeface="+mj-lt"/>
                <a:cs typeface="+mj-lt"/>
              </a:rPr>
              <a:t>Siloso</a:t>
            </a:r>
            <a:r>
              <a:rPr lang="en-US">
                <a:solidFill>
                  <a:srgbClr val="002060"/>
                </a:solidFill>
                <a:ea typeface="+mj-lt"/>
                <a:cs typeface="+mj-lt"/>
              </a:rPr>
              <a:t> Point</a:t>
            </a:r>
            <a:endParaRPr lang="en-US" sz="3200">
              <a:solidFill>
                <a:srgbClr val="171D3C"/>
              </a:solidFill>
              <a:ea typeface="+mj-lt"/>
              <a:cs typeface="+mj-lt"/>
            </a:endParaRPr>
          </a:p>
          <a:p>
            <a:r>
              <a:rPr lang="en-US" sz="3200">
                <a:solidFill>
                  <a:srgbClr val="002060"/>
                </a:solidFill>
                <a:ea typeface="+mj-lt"/>
                <a:cs typeface="+mj-lt"/>
              </a:rPr>
              <a:t>(</a:t>
            </a:r>
            <a:r>
              <a:rPr lang="en-US" sz="3200" err="1">
                <a:solidFill>
                  <a:srgbClr val="002060"/>
                </a:solidFill>
                <a:ea typeface="+mj-lt"/>
                <a:cs typeface="+mj-lt"/>
              </a:rPr>
              <a:t>Sarimax</a:t>
            </a:r>
            <a:r>
              <a:rPr lang="en-US" sz="3200">
                <a:solidFill>
                  <a:srgbClr val="002060"/>
                </a:solidFill>
                <a:ea typeface="+mj-lt"/>
                <a:cs typeface="+mj-lt"/>
              </a:rPr>
              <a:t> - Test)</a:t>
            </a:r>
            <a:endParaRPr lang="en-US" sz="3200"/>
          </a:p>
        </p:txBody>
      </p:sp>
    </p:spTree>
    <p:extLst>
      <p:ext uri="{BB962C8B-B14F-4D97-AF65-F5344CB8AC3E}">
        <p14:creationId xmlns:p14="http://schemas.microsoft.com/office/powerpoint/2010/main" val="36852836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609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040411B-0A54-429E-94AB-0F4DA7C1917E}"/>
              </a:ext>
            </a:extLst>
          </p:cNvPr>
          <p:cNvSpPr>
            <a:spLocks noGrp="1"/>
          </p:cNvSpPr>
          <p:nvPr>
            <p:ph type="title"/>
          </p:nvPr>
        </p:nvSpPr>
        <p:spPr>
          <a:xfrm>
            <a:off x="615623" y="350657"/>
            <a:ext cx="11594708" cy="470898"/>
          </a:xfrm>
        </p:spPr>
        <p:txBody>
          <a:bodyPr/>
          <a:lstStyle/>
          <a:p>
            <a:r>
              <a:rPr lang="en-US" err="1">
                <a:solidFill>
                  <a:srgbClr val="002060"/>
                </a:solidFill>
                <a:ea typeface="+mj-lt"/>
                <a:cs typeface="+mj-lt"/>
              </a:rPr>
              <a:t>Imbiah</a:t>
            </a:r>
            <a:r>
              <a:rPr lang="en-US">
                <a:solidFill>
                  <a:srgbClr val="002060"/>
                </a:solidFill>
                <a:ea typeface="+mj-lt"/>
                <a:cs typeface="+mj-lt"/>
              </a:rPr>
              <a:t> Lookout has highest total ridership for all Bus Stops</a:t>
            </a:r>
          </a:p>
        </p:txBody>
      </p:sp>
      <p:pic>
        <p:nvPicPr>
          <p:cNvPr id="15" name="Picture 15" descr="Chart, pie chart&#10;&#10;Description automatically generated">
            <a:extLst>
              <a:ext uri="{FF2B5EF4-FFF2-40B4-BE49-F238E27FC236}">
                <a16:creationId xmlns:a16="http://schemas.microsoft.com/office/drawing/2014/main" id="{5D59DB1C-172C-47ED-95FD-1E3F001466CE}"/>
              </a:ext>
            </a:extLst>
          </p:cNvPr>
          <p:cNvPicPr>
            <a:picLocks noChangeAspect="1"/>
          </p:cNvPicPr>
          <p:nvPr/>
        </p:nvPicPr>
        <p:blipFill>
          <a:blip r:embed="rId3"/>
          <a:stretch>
            <a:fillRect/>
          </a:stretch>
        </p:blipFill>
        <p:spPr>
          <a:xfrm>
            <a:off x="656984" y="1279031"/>
            <a:ext cx="8230039" cy="5015690"/>
          </a:xfrm>
          <a:prstGeom prst="rect">
            <a:avLst/>
          </a:prstGeom>
        </p:spPr>
      </p:pic>
      <p:sp>
        <p:nvSpPr>
          <p:cNvPr id="28" name="TextBox 27">
            <a:extLst>
              <a:ext uri="{FF2B5EF4-FFF2-40B4-BE49-F238E27FC236}">
                <a16:creationId xmlns:a16="http://schemas.microsoft.com/office/drawing/2014/main" id="{5BEF8CBE-6A99-4BE1-8789-ABAC27A176FF}"/>
              </a:ext>
            </a:extLst>
          </p:cNvPr>
          <p:cNvSpPr txBox="1"/>
          <p:nvPr/>
        </p:nvSpPr>
        <p:spPr>
          <a:xfrm>
            <a:off x="9148497" y="2328444"/>
            <a:ext cx="2636183" cy="3802307"/>
          </a:xfrm>
          <a:prstGeom prst="rect">
            <a:avLst/>
          </a:prstGeom>
          <a:noFill/>
          <a:ln w="9525" cap="rnd">
            <a:solidFill>
              <a:schemeClr val="tx1"/>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err="1">
                <a:solidFill>
                  <a:srgbClr val="002060"/>
                </a:solidFill>
                <a:ea typeface="+mn-lt"/>
                <a:cs typeface="+mn-lt"/>
              </a:rPr>
              <a:t>Imbiah</a:t>
            </a:r>
            <a:r>
              <a:rPr lang="en-SG" sz="1600">
                <a:solidFill>
                  <a:srgbClr val="002060"/>
                </a:solidFill>
                <a:ea typeface="+mn-lt"/>
                <a:cs typeface="+mn-lt"/>
              </a:rPr>
              <a:t> lookout has the highest ridership of all bus stops.</a:t>
            </a:r>
            <a:endParaRPr lang="en-US" sz="1600"/>
          </a:p>
          <a:p>
            <a:endParaRPr lang="en-SG" sz="1600">
              <a:solidFill>
                <a:srgbClr val="002060"/>
              </a:solidFill>
            </a:endParaRPr>
          </a:p>
          <a:p>
            <a:endParaRPr lang="en-SG" sz="1400">
              <a:solidFill>
                <a:srgbClr val="002060"/>
              </a:solidFill>
            </a:endParaRPr>
          </a:p>
          <a:p>
            <a:endParaRPr lang="en-SG" sz="1400">
              <a:solidFill>
                <a:srgbClr val="002060"/>
              </a:solidFill>
            </a:endParaRPr>
          </a:p>
          <a:p>
            <a:endParaRPr lang="en-SG" sz="1400">
              <a:solidFill>
                <a:srgbClr val="002060"/>
              </a:solidFill>
            </a:endParaRPr>
          </a:p>
          <a:p>
            <a:r>
              <a:rPr lang="en-SG" sz="1400" i="1">
                <a:solidFill>
                  <a:srgbClr val="002060"/>
                </a:solidFill>
              </a:rPr>
              <a:t>*</a:t>
            </a:r>
            <a:r>
              <a:rPr lang="en-SG" sz="1200" i="1">
                <a:solidFill>
                  <a:srgbClr val="002060"/>
                </a:solidFill>
              </a:rPr>
              <a:t>Beach Station is excluded </a:t>
            </a:r>
            <a:r>
              <a:rPr lang="en-SG" sz="1200" i="1">
                <a:solidFill>
                  <a:schemeClr val="tx1"/>
                </a:solidFill>
              </a:rPr>
              <a:t>in</a:t>
            </a:r>
            <a:r>
              <a:rPr lang="en-SG" sz="1200" i="1">
                <a:solidFill>
                  <a:srgbClr val="002060"/>
                </a:solidFill>
              </a:rPr>
              <a:t> this analysis as it is a bus interchange which naturally will have high ridership.  </a:t>
            </a:r>
            <a:endParaRPr lang="en-US" sz="1200" i="1"/>
          </a:p>
          <a:p>
            <a:endParaRPr lang="en-SG" sz="1200" i="1">
              <a:solidFill>
                <a:srgbClr val="002060"/>
              </a:solidFill>
            </a:endParaRPr>
          </a:p>
          <a:p>
            <a:r>
              <a:rPr lang="en-SG" sz="1200" i="1">
                <a:solidFill>
                  <a:srgbClr val="002060"/>
                </a:solidFill>
              </a:rPr>
              <a:t>Our focus is on the bus stops between the interchange.</a:t>
            </a:r>
            <a:endParaRPr lang="en-SG" sz="1200" i="1"/>
          </a:p>
        </p:txBody>
      </p:sp>
      <p:sp>
        <p:nvSpPr>
          <p:cNvPr id="5" name="Rectangle 4">
            <a:extLst>
              <a:ext uri="{FF2B5EF4-FFF2-40B4-BE49-F238E27FC236}">
                <a16:creationId xmlns:a16="http://schemas.microsoft.com/office/drawing/2014/main" id="{0A784A15-5CA4-4DDF-B588-22BE7AFBC9A8}"/>
              </a:ext>
            </a:extLst>
          </p:cNvPr>
          <p:cNvSpPr/>
          <p:nvPr/>
        </p:nvSpPr>
        <p:spPr>
          <a:xfrm>
            <a:off x="6449272" y="2112405"/>
            <a:ext cx="1405701" cy="299032"/>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6" name="TextBox 5">
            <a:extLst>
              <a:ext uri="{FF2B5EF4-FFF2-40B4-BE49-F238E27FC236}">
                <a16:creationId xmlns:a16="http://schemas.microsoft.com/office/drawing/2014/main" id="{2421FA36-AD2A-4740-8B15-775BD01D9062}"/>
              </a:ext>
            </a:extLst>
          </p:cNvPr>
          <p:cNvSpPr txBox="1"/>
          <p:nvPr/>
        </p:nvSpPr>
        <p:spPr>
          <a:xfrm>
            <a:off x="586481" y="6411776"/>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cxnSp>
        <p:nvCxnSpPr>
          <p:cNvPr id="2" name="Straight Arrow Connector 1">
            <a:extLst>
              <a:ext uri="{FF2B5EF4-FFF2-40B4-BE49-F238E27FC236}">
                <a16:creationId xmlns:a16="http://schemas.microsoft.com/office/drawing/2014/main" id="{B63EFFEA-9E3A-4A13-9654-5C684A6E316D}"/>
              </a:ext>
            </a:extLst>
          </p:cNvPr>
          <p:cNvCxnSpPr/>
          <p:nvPr/>
        </p:nvCxnSpPr>
        <p:spPr>
          <a:xfrm flipV="1">
            <a:off x="9391650" y="3990975"/>
            <a:ext cx="2143125" cy="9525"/>
          </a:xfrm>
          <a:prstGeom prst="straightConnector1">
            <a:avLst/>
          </a:prstGeom>
          <a:ln w="9525" cap="rnd">
            <a:solidFill>
              <a:srgbClr val="002060"/>
            </a:solidFill>
            <a:prstDash val="dash"/>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3027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Chart, bar chart&#10;&#10;Description automatically generated">
            <a:extLst>
              <a:ext uri="{FF2B5EF4-FFF2-40B4-BE49-F238E27FC236}">
                <a16:creationId xmlns:a16="http://schemas.microsoft.com/office/drawing/2014/main" id="{BF88B153-D379-4AEB-882A-4640F4183E92}"/>
              </a:ext>
            </a:extLst>
          </p:cNvPr>
          <p:cNvPicPr>
            <a:picLocks noChangeAspect="1"/>
          </p:cNvPicPr>
          <p:nvPr/>
        </p:nvPicPr>
        <p:blipFill>
          <a:blip r:embed="rId3"/>
          <a:stretch>
            <a:fillRect/>
          </a:stretch>
        </p:blipFill>
        <p:spPr>
          <a:xfrm>
            <a:off x="524076" y="1256909"/>
            <a:ext cx="7868962" cy="4897411"/>
          </a:xfrm>
          <a:prstGeom prst="rect">
            <a:avLst/>
          </a:prstGeom>
        </p:spPr>
      </p:pic>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523898" y="564927"/>
            <a:ext cx="10605402" cy="470898"/>
          </a:xfrm>
        </p:spPr>
        <p:txBody>
          <a:bodyPr/>
          <a:lstStyle/>
          <a:p>
            <a:r>
              <a:rPr lang="en-US">
                <a:solidFill>
                  <a:srgbClr val="002060"/>
                </a:solidFill>
              </a:rPr>
              <a:t>Afternoon is the peak for all buses (including </a:t>
            </a:r>
            <a:r>
              <a:rPr lang="en-US" err="1">
                <a:solidFill>
                  <a:srgbClr val="002060"/>
                </a:solidFill>
              </a:rPr>
              <a:t>Imbiah</a:t>
            </a:r>
            <a:r>
              <a:rPr lang="en-US">
                <a:solidFill>
                  <a:srgbClr val="002060"/>
                </a:solidFill>
              </a:rPr>
              <a:t>) </a:t>
            </a:r>
          </a:p>
        </p:txBody>
      </p:sp>
      <p:sp>
        <p:nvSpPr>
          <p:cNvPr id="4" name="TextBox 3">
            <a:extLst>
              <a:ext uri="{FF2B5EF4-FFF2-40B4-BE49-F238E27FC236}">
                <a16:creationId xmlns:a16="http://schemas.microsoft.com/office/drawing/2014/main" id="{215644EC-E1A2-4B5F-BA53-79EB189605EC}"/>
              </a:ext>
            </a:extLst>
          </p:cNvPr>
          <p:cNvSpPr txBox="1"/>
          <p:nvPr/>
        </p:nvSpPr>
        <p:spPr>
          <a:xfrm>
            <a:off x="8598156" y="4058177"/>
            <a:ext cx="3129659" cy="2078322"/>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Sentosa visitors generally prefer to take the bus in the afternoon compared to other times of the day. </a:t>
            </a:r>
            <a:endParaRPr lang="en-US">
              <a:solidFill>
                <a:srgbClr val="FFFFFF"/>
              </a:solidFill>
            </a:endParaRPr>
          </a:p>
          <a:p>
            <a:endParaRPr lang="en-SG" sz="1600">
              <a:solidFill>
                <a:srgbClr val="002060"/>
              </a:solidFill>
            </a:endParaRPr>
          </a:p>
          <a:p>
            <a:r>
              <a:rPr lang="en-SG" sz="1600">
                <a:solidFill>
                  <a:srgbClr val="002060"/>
                </a:solidFill>
              </a:rPr>
              <a:t>This suggests that most of the bus congestion happens in the afternoon.</a:t>
            </a:r>
            <a:endParaRPr lang="en-US">
              <a:solidFill>
                <a:srgbClr val="FFFFFF"/>
              </a:solidFill>
            </a:endParaRPr>
          </a:p>
        </p:txBody>
      </p:sp>
      <p:sp>
        <p:nvSpPr>
          <p:cNvPr id="7" name="Rectangle 6">
            <a:extLst>
              <a:ext uri="{FF2B5EF4-FFF2-40B4-BE49-F238E27FC236}">
                <a16:creationId xmlns:a16="http://schemas.microsoft.com/office/drawing/2014/main" id="{EE72E06D-8EAE-4242-B1FE-DB5A60BCC68C}"/>
              </a:ext>
            </a:extLst>
          </p:cNvPr>
          <p:cNvSpPr/>
          <p:nvPr/>
        </p:nvSpPr>
        <p:spPr>
          <a:xfrm>
            <a:off x="559948" y="3208716"/>
            <a:ext cx="7357637" cy="100768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11" name="TextBox 10">
            <a:extLst>
              <a:ext uri="{FF2B5EF4-FFF2-40B4-BE49-F238E27FC236}">
                <a16:creationId xmlns:a16="http://schemas.microsoft.com/office/drawing/2014/main" id="{7A860165-0B15-49E4-A7ED-826D9540D919}"/>
              </a:ext>
            </a:extLst>
          </p:cNvPr>
          <p:cNvSpPr txBox="1"/>
          <p:nvPr/>
        </p:nvSpPr>
        <p:spPr>
          <a:xfrm>
            <a:off x="480647" y="6318643"/>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3 months actual ridership data (Jan to March 2021</a:t>
            </a:r>
            <a:r>
              <a:rPr lang="en-US" sz="1000">
                <a:latin typeface="Arial"/>
                <a:ea typeface="+mn-lt"/>
                <a:cs typeface="Calibri"/>
              </a:rPr>
              <a:t>) from SDC</a:t>
            </a:r>
            <a:endParaRPr lang="en-US" sz="1000">
              <a:latin typeface="Arial"/>
              <a:cs typeface="Calibri"/>
            </a:endParaRPr>
          </a:p>
        </p:txBody>
      </p:sp>
      <p:sp>
        <p:nvSpPr>
          <p:cNvPr id="3" name="TextBox 2">
            <a:extLst>
              <a:ext uri="{FF2B5EF4-FFF2-40B4-BE49-F238E27FC236}">
                <a16:creationId xmlns:a16="http://schemas.microsoft.com/office/drawing/2014/main" id="{A06E2C6C-AA2D-4DBA-B448-457815C4CAD3}"/>
              </a:ext>
            </a:extLst>
          </p:cNvPr>
          <p:cNvSpPr txBox="1"/>
          <p:nvPr/>
        </p:nvSpPr>
        <p:spPr>
          <a:xfrm>
            <a:off x="783546" y="2476790"/>
            <a:ext cx="1534885"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050" b="1">
                <a:solidFill>
                  <a:srgbClr val="000000"/>
                </a:solidFill>
              </a:rPr>
              <a:t>07:00 – 11:59</a:t>
            </a:r>
          </a:p>
        </p:txBody>
      </p:sp>
      <p:sp>
        <p:nvSpPr>
          <p:cNvPr id="10" name="TextBox 9">
            <a:extLst>
              <a:ext uri="{FF2B5EF4-FFF2-40B4-BE49-F238E27FC236}">
                <a16:creationId xmlns:a16="http://schemas.microsoft.com/office/drawing/2014/main" id="{F403E5AA-CAF9-429E-AF8A-D6CAE94AE104}"/>
              </a:ext>
            </a:extLst>
          </p:cNvPr>
          <p:cNvSpPr txBox="1"/>
          <p:nvPr/>
        </p:nvSpPr>
        <p:spPr>
          <a:xfrm>
            <a:off x="635695" y="3788321"/>
            <a:ext cx="1534885"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050" b="1">
                <a:solidFill>
                  <a:srgbClr val="000000"/>
                </a:solidFill>
              </a:rPr>
              <a:t>12:00 – 17:59</a:t>
            </a:r>
          </a:p>
        </p:txBody>
      </p:sp>
      <p:sp>
        <p:nvSpPr>
          <p:cNvPr id="12" name="TextBox 11">
            <a:extLst>
              <a:ext uri="{FF2B5EF4-FFF2-40B4-BE49-F238E27FC236}">
                <a16:creationId xmlns:a16="http://schemas.microsoft.com/office/drawing/2014/main" id="{E8C9A459-A11F-4DB3-BC61-E14A0DC903CB}"/>
              </a:ext>
            </a:extLst>
          </p:cNvPr>
          <p:cNvSpPr txBox="1"/>
          <p:nvPr/>
        </p:nvSpPr>
        <p:spPr>
          <a:xfrm>
            <a:off x="738090" y="5134083"/>
            <a:ext cx="1534885"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050" b="1">
                <a:solidFill>
                  <a:srgbClr val="000000"/>
                </a:solidFill>
              </a:rPr>
              <a:t>18:00 – 23:59 </a:t>
            </a:r>
          </a:p>
        </p:txBody>
      </p:sp>
    </p:spTree>
    <p:extLst>
      <p:ext uri="{BB962C8B-B14F-4D97-AF65-F5344CB8AC3E}">
        <p14:creationId xmlns:p14="http://schemas.microsoft.com/office/powerpoint/2010/main" val="21604155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6362E8C-07A8-4B97-87C8-091A9FDB599A}"/>
              </a:ext>
            </a:extLst>
          </p:cNvPr>
          <p:cNvSpPr txBox="1">
            <a:spLocks/>
          </p:cNvSpPr>
          <p:nvPr/>
        </p:nvSpPr>
        <p:spPr>
          <a:xfrm>
            <a:off x="668046" y="622800"/>
            <a:ext cx="11054156"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err="1">
                <a:solidFill>
                  <a:srgbClr val="002060"/>
                </a:solidFill>
                <a:ea typeface="+mj-lt"/>
                <a:cs typeface="+mj-lt"/>
              </a:rPr>
              <a:t>Imbiah</a:t>
            </a:r>
            <a:r>
              <a:rPr lang="en-US">
                <a:solidFill>
                  <a:srgbClr val="002060"/>
                </a:solidFill>
                <a:ea typeface="+mj-lt"/>
                <a:cs typeface="+mj-lt"/>
              </a:rPr>
              <a:t> Lookout is in the top 3 most popular bus stops</a:t>
            </a:r>
            <a:endParaRPr lang="en-US">
              <a:ea typeface="+mj-lt"/>
              <a:cs typeface="+mj-lt"/>
            </a:endParaRPr>
          </a:p>
        </p:txBody>
      </p:sp>
      <p:pic>
        <p:nvPicPr>
          <p:cNvPr id="2" name="Picture 3" descr="Chart, bar chart&#10;&#10;Description automatically generated">
            <a:extLst>
              <a:ext uri="{FF2B5EF4-FFF2-40B4-BE49-F238E27FC236}">
                <a16:creationId xmlns:a16="http://schemas.microsoft.com/office/drawing/2014/main" id="{69CF128B-0B09-4BF1-B2CA-1BA877B1F78B}"/>
              </a:ext>
            </a:extLst>
          </p:cNvPr>
          <p:cNvPicPr>
            <a:picLocks noChangeAspect="1"/>
          </p:cNvPicPr>
          <p:nvPr/>
        </p:nvPicPr>
        <p:blipFill rotWithShape="1">
          <a:blip r:embed="rId3"/>
          <a:srcRect l="3904" r="-126" b="-225"/>
          <a:stretch/>
        </p:blipFill>
        <p:spPr>
          <a:xfrm>
            <a:off x="731039" y="1242637"/>
            <a:ext cx="9778392" cy="4747975"/>
          </a:xfrm>
          <a:prstGeom prst="rect">
            <a:avLst/>
          </a:prstGeom>
        </p:spPr>
      </p:pic>
      <p:sp>
        <p:nvSpPr>
          <p:cNvPr id="14" name="TextBox 13">
            <a:extLst>
              <a:ext uri="{FF2B5EF4-FFF2-40B4-BE49-F238E27FC236}">
                <a16:creationId xmlns:a16="http://schemas.microsoft.com/office/drawing/2014/main" id="{3C1C8EDA-91F1-403C-A371-164289F5FB16}"/>
              </a:ext>
            </a:extLst>
          </p:cNvPr>
          <p:cNvSpPr txBox="1"/>
          <p:nvPr/>
        </p:nvSpPr>
        <p:spPr>
          <a:xfrm>
            <a:off x="506176" y="7378954"/>
            <a:ext cx="10641153" cy="873403"/>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err="1">
                <a:solidFill>
                  <a:srgbClr val="002060"/>
                </a:solidFill>
              </a:rPr>
              <a:t>Imbiah</a:t>
            </a:r>
            <a:r>
              <a:rPr lang="en-SG" sz="1600">
                <a:solidFill>
                  <a:srgbClr val="002060"/>
                </a:solidFill>
              </a:rPr>
              <a:t> Lookout and </a:t>
            </a:r>
            <a:r>
              <a:rPr lang="en-SG" sz="1600" err="1">
                <a:solidFill>
                  <a:srgbClr val="002060"/>
                </a:solidFill>
              </a:rPr>
              <a:t>Siloso</a:t>
            </a:r>
            <a:r>
              <a:rPr lang="en-SG" sz="1600">
                <a:solidFill>
                  <a:srgbClr val="002060"/>
                </a:solidFill>
              </a:rPr>
              <a:t> Point are the top bus stops with high popularity among all bus stops</a:t>
            </a:r>
          </a:p>
          <a:p>
            <a:endParaRPr lang="en-SG" sz="1600">
              <a:solidFill>
                <a:srgbClr val="002060"/>
              </a:solidFill>
            </a:endParaRPr>
          </a:p>
          <a:p>
            <a:r>
              <a:rPr lang="en-SG" sz="1600">
                <a:solidFill>
                  <a:srgbClr val="002060"/>
                </a:solidFill>
              </a:rPr>
              <a:t>The popularity factor has a correlation with the total rider. The higher the score, there will be more passengers.</a:t>
            </a:r>
            <a:endParaRPr lang="en-SG"/>
          </a:p>
        </p:txBody>
      </p:sp>
      <p:sp>
        <p:nvSpPr>
          <p:cNvPr id="6" name="Rectangle 5">
            <a:extLst>
              <a:ext uri="{FF2B5EF4-FFF2-40B4-BE49-F238E27FC236}">
                <a16:creationId xmlns:a16="http://schemas.microsoft.com/office/drawing/2014/main" id="{208993E5-B009-40A8-BC89-286E139EA12D}"/>
              </a:ext>
            </a:extLst>
          </p:cNvPr>
          <p:cNvSpPr/>
          <p:nvPr/>
        </p:nvSpPr>
        <p:spPr>
          <a:xfrm>
            <a:off x="1792449" y="1823641"/>
            <a:ext cx="6431910" cy="313554"/>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7" name="TextBox 6">
            <a:extLst>
              <a:ext uri="{FF2B5EF4-FFF2-40B4-BE49-F238E27FC236}">
                <a16:creationId xmlns:a16="http://schemas.microsoft.com/office/drawing/2014/main" id="{94FE5CC3-34DB-4563-9D82-37FBEA4166BF}"/>
              </a:ext>
            </a:extLst>
          </p:cNvPr>
          <p:cNvSpPr txBox="1"/>
          <p:nvPr/>
        </p:nvSpPr>
        <p:spPr>
          <a:xfrm>
            <a:off x="725177" y="6000238"/>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
        <p:nvSpPr>
          <p:cNvPr id="8" name="TextBox 7">
            <a:extLst>
              <a:ext uri="{FF2B5EF4-FFF2-40B4-BE49-F238E27FC236}">
                <a16:creationId xmlns:a16="http://schemas.microsoft.com/office/drawing/2014/main" id="{AFEC3007-62B5-48C0-BCC6-E98808527E58}"/>
              </a:ext>
            </a:extLst>
          </p:cNvPr>
          <p:cNvSpPr txBox="1"/>
          <p:nvPr/>
        </p:nvSpPr>
        <p:spPr>
          <a:xfrm>
            <a:off x="665405" y="6379214"/>
            <a:ext cx="6823585"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chemeClr val="tx1"/>
                </a:solidFill>
              </a:rPr>
              <a:t>*Refer to appendix for more details on popularity index</a:t>
            </a:r>
          </a:p>
        </p:txBody>
      </p:sp>
    </p:spTree>
    <p:extLst>
      <p:ext uri="{BB962C8B-B14F-4D97-AF65-F5344CB8AC3E}">
        <p14:creationId xmlns:p14="http://schemas.microsoft.com/office/powerpoint/2010/main" val="23163580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314142"/>
            <a:ext cx="10933350" cy="470898"/>
          </a:xfrm>
        </p:spPr>
        <p:txBody>
          <a:bodyPr/>
          <a:lstStyle/>
          <a:p>
            <a:r>
              <a:rPr lang="en-US">
                <a:solidFill>
                  <a:srgbClr val="002060"/>
                </a:solidFill>
                <a:ea typeface="+mj-lt"/>
                <a:cs typeface="+mj-lt"/>
              </a:rPr>
              <a:t>Bus Frequency of </a:t>
            </a:r>
            <a:r>
              <a:rPr lang="en-US" err="1">
                <a:solidFill>
                  <a:srgbClr val="002060"/>
                </a:solidFill>
                <a:ea typeface="+mj-lt"/>
                <a:cs typeface="+mj-lt"/>
              </a:rPr>
              <a:t>Imbiah</a:t>
            </a:r>
            <a:r>
              <a:rPr lang="en-US">
                <a:solidFill>
                  <a:srgbClr val="002060"/>
                </a:solidFill>
                <a:ea typeface="+mj-lt"/>
                <a:cs typeface="+mj-lt"/>
              </a:rPr>
              <a:t> Lookout </a:t>
            </a:r>
            <a:endParaRPr lang="en-US">
              <a:ea typeface="+mj-lt"/>
              <a:cs typeface="+mj-lt"/>
            </a:endParaRPr>
          </a:p>
        </p:txBody>
      </p:sp>
      <p:sp>
        <p:nvSpPr>
          <p:cNvPr id="3" name="TextBox 2">
            <a:extLst>
              <a:ext uri="{FF2B5EF4-FFF2-40B4-BE49-F238E27FC236}">
                <a16:creationId xmlns:a16="http://schemas.microsoft.com/office/drawing/2014/main" id="{2321500F-B116-49E9-B713-1C89E59A92D6}"/>
              </a:ext>
            </a:extLst>
          </p:cNvPr>
          <p:cNvSpPr txBox="1"/>
          <p:nvPr/>
        </p:nvSpPr>
        <p:spPr>
          <a:xfrm>
            <a:off x="573146" y="911071"/>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u="sng">
                <a:solidFill>
                  <a:srgbClr val="002060"/>
                </a:solidFill>
              </a:rPr>
              <a:t>Weekdays</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15789" y="913916"/>
            <a:ext cx="3108324"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u="sng">
                <a:solidFill>
                  <a:srgbClr val="002060"/>
                </a:solidFill>
              </a:rPr>
              <a:t>Weekends and holidays</a:t>
            </a:r>
          </a:p>
        </p:txBody>
      </p:sp>
      <p:sp>
        <p:nvSpPr>
          <p:cNvPr id="10" name="TextBox 9">
            <a:extLst>
              <a:ext uri="{FF2B5EF4-FFF2-40B4-BE49-F238E27FC236}">
                <a16:creationId xmlns:a16="http://schemas.microsoft.com/office/drawing/2014/main" id="{42FB9C20-3D6F-40FF-ABFC-89E5858742B1}"/>
              </a:ext>
            </a:extLst>
          </p:cNvPr>
          <p:cNvSpPr txBox="1"/>
          <p:nvPr/>
        </p:nvSpPr>
        <p:spPr>
          <a:xfrm>
            <a:off x="542762" y="4502109"/>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
        <p:nvSpPr>
          <p:cNvPr id="15" name="TextBox 14">
            <a:extLst>
              <a:ext uri="{FF2B5EF4-FFF2-40B4-BE49-F238E27FC236}">
                <a16:creationId xmlns:a16="http://schemas.microsoft.com/office/drawing/2014/main" id="{66ACABA1-7700-449A-A7C2-2D4C94CED2C7}"/>
              </a:ext>
            </a:extLst>
          </p:cNvPr>
          <p:cNvSpPr txBox="1"/>
          <p:nvPr/>
        </p:nvSpPr>
        <p:spPr>
          <a:xfrm>
            <a:off x="658702" y="5425376"/>
            <a:ext cx="10157670" cy="864415"/>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SG" sz="1600">
                <a:solidFill>
                  <a:srgbClr val="002060"/>
                </a:solidFill>
                <a:ea typeface="+mn-lt"/>
                <a:cs typeface="+mn-lt"/>
              </a:rPr>
              <a:t>Based on the highest ridership for every hour and taking the maximum bus capacity of 50pax, we identified that the actual bus deployment required to support the highest ridership could be more than required. There is a possibility of under-utilised buses using the current fixed bus schedule.</a:t>
            </a:r>
            <a:endParaRPr lang="en-SG">
              <a:solidFill>
                <a:srgbClr val="002060"/>
              </a:solidFill>
              <a:ea typeface="+mn-lt"/>
              <a:cs typeface="+mn-lt"/>
            </a:endParaRPr>
          </a:p>
        </p:txBody>
      </p:sp>
      <p:pic>
        <p:nvPicPr>
          <p:cNvPr id="7" name="Picture 8" descr="Text&#10;&#10;Description automatically generated">
            <a:extLst>
              <a:ext uri="{FF2B5EF4-FFF2-40B4-BE49-F238E27FC236}">
                <a16:creationId xmlns:a16="http://schemas.microsoft.com/office/drawing/2014/main" id="{39EBC9D3-EE2E-4A60-B21B-2E3F051B1C2C}"/>
              </a:ext>
            </a:extLst>
          </p:cNvPr>
          <p:cNvPicPr>
            <a:picLocks noChangeAspect="1"/>
          </p:cNvPicPr>
          <p:nvPr/>
        </p:nvPicPr>
        <p:blipFill>
          <a:blip r:embed="rId3"/>
          <a:stretch>
            <a:fillRect/>
          </a:stretch>
        </p:blipFill>
        <p:spPr>
          <a:xfrm>
            <a:off x="6578140" y="4462441"/>
            <a:ext cx="4249271" cy="748034"/>
          </a:xfrm>
          <a:prstGeom prst="rect">
            <a:avLst/>
          </a:prstGeom>
        </p:spPr>
      </p:pic>
      <p:pic>
        <p:nvPicPr>
          <p:cNvPr id="26" name="Picture 26" descr="Chart, line chart&#10;&#10;Description automatically generated">
            <a:extLst>
              <a:ext uri="{FF2B5EF4-FFF2-40B4-BE49-F238E27FC236}">
                <a16:creationId xmlns:a16="http://schemas.microsoft.com/office/drawing/2014/main" id="{3E7D9E39-2C33-40F6-B21B-E6ABF43A27B6}"/>
              </a:ext>
            </a:extLst>
          </p:cNvPr>
          <p:cNvPicPr>
            <a:picLocks noChangeAspect="1"/>
          </p:cNvPicPr>
          <p:nvPr/>
        </p:nvPicPr>
        <p:blipFill>
          <a:blip r:embed="rId4"/>
          <a:stretch>
            <a:fillRect/>
          </a:stretch>
        </p:blipFill>
        <p:spPr>
          <a:xfrm>
            <a:off x="5818094" y="1303300"/>
            <a:ext cx="4993341" cy="3077022"/>
          </a:xfrm>
          <a:prstGeom prst="rect">
            <a:avLst/>
          </a:prstGeom>
        </p:spPr>
      </p:pic>
      <p:pic>
        <p:nvPicPr>
          <p:cNvPr id="27" name="Picture 27" descr="Chart, line chart&#10;&#10;Description automatically generated">
            <a:extLst>
              <a:ext uri="{FF2B5EF4-FFF2-40B4-BE49-F238E27FC236}">
                <a16:creationId xmlns:a16="http://schemas.microsoft.com/office/drawing/2014/main" id="{8B582F99-5D50-4D77-A9E6-86BF01C61EEE}"/>
              </a:ext>
            </a:extLst>
          </p:cNvPr>
          <p:cNvPicPr>
            <a:picLocks noChangeAspect="1"/>
          </p:cNvPicPr>
          <p:nvPr/>
        </p:nvPicPr>
        <p:blipFill>
          <a:blip r:embed="rId5"/>
          <a:stretch>
            <a:fillRect/>
          </a:stretch>
        </p:blipFill>
        <p:spPr>
          <a:xfrm>
            <a:off x="573742" y="1312958"/>
            <a:ext cx="5020235" cy="3066670"/>
          </a:xfrm>
          <a:prstGeom prst="rect">
            <a:avLst/>
          </a:prstGeom>
        </p:spPr>
      </p:pic>
      <p:sp>
        <p:nvSpPr>
          <p:cNvPr id="4" name="Arrow: Left 3">
            <a:extLst>
              <a:ext uri="{FF2B5EF4-FFF2-40B4-BE49-F238E27FC236}">
                <a16:creationId xmlns:a16="http://schemas.microsoft.com/office/drawing/2014/main" id="{BDB31FE2-9758-4877-B34F-461A9AC9F934}"/>
              </a:ext>
            </a:extLst>
          </p:cNvPr>
          <p:cNvSpPr/>
          <p:nvPr/>
        </p:nvSpPr>
        <p:spPr>
          <a:xfrm rot="-5400000">
            <a:off x="2742389" y="2879656"/>
            <a:ext cx="665142" cy="230632"/>
          </a:xfrm>
          <a:prstGeom prst="leftArrow">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8944418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6793C5A-1FE2-4545-A578-A16C2B6C45C4}"/>
              </a:ext>
            </a:extLst>
          </p:cNvPr>
          <p:cNvSpPr>
            <a:spLocks noGrp="1"/>
          </p:cNvSpPr>
          <p:nvPr>
            <p:ph type="title"/>
          </p:nvPr>
        </p:nvSpPr>
        <p:spPr>
          <a:xfrm>
            <a:off x="630000" y="622800"/>
            <a:ext cx="10188474" cy="470898"/>
          </a:xfrm>
        </p:spPr>
        <p:txBody>
          <a:bodyPr/>
          <a:lstStyle/>
          <a:p>
            <a:r>
              <a:rPr lang="en-US">
                <a:solidFill>
                  <a:srgbClr val="002060"/>
                </a:solidFill>
              </a:rPr>
              <a:t>Feature Selection</a:t>
            </a:r>
            <a:endParaRPr lang="en-US"/>
          </a:p>
        </p:txBody>
      </p:sp>
      <p:sp>
        <p:nvSpPr>
          <p:cNvPr id="66" name="TextBox 65">
            <a:extLst>
              <a:ext uri="{FF2B5EF4-FFF2-40B4-BE49-F238E27FC236}">
                <a16:creationId xmlns:a16="http://schemas.microsoft.com/office/drawing/2014/main" id="{3E4A35EE-7784-4879-A684-E7C411E3406A}"/>
              </a:ext>
            </a:extLst>
          </p:cNvPr>
          <p:cNvSpPr txBox="1"/>
          <p:nvPr/>
        </p:nvSpPr>
        <p:spPr>
          <a:xfrm>
            <a:off x="110067" y="6550161"/>
            <a:ext cx="9347199" cy="2462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000" i="1">
                <a:solidFill>
                  <a:srgbClr val="002060"/>
                </a:solidFill>
              </a:rPr>
              <a:t>Source: 1 www.moe.gov.sg/news/press-releases/20200817-school-terms-and-holidays-for-2021; 2 www.weather.gov.sg</a:t>
            </a:r>
          </a:p>
        </p:txBody>
      </p:sp>
      <p:graphicFrame>
        <p:nvGraphicFramePr>
          <p:cNvPr id="4" name="Diagram 3">
            <a:extLst>
              <a:ext uri="{FF2B5EF4-FFF2-40B4-BE49-F238E27FC236}">
                <a16:creationId xmlns:a16="http://schemas.microsoft.com/office/drawing/2014/main" id="{A7ADE9D9-6228-47D1-ADA1-E61E831B448C}"/>
              </a:ext>
            </a:extLst>
          </p:cNvPr>
          <p:cNvGraphicFramePr/>
          <p:nvPr/>
        </p:nvGraphicFramePr>
        <p:xfrm>
          <a:off x="630000" y="523795"/>
          <a:ext cx="11186080" cy="61208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62657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Rise Grid 16:9"/>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vDVTaVd8hb6b1kRSdaZ3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qWAixli0Adpsnkjav4Q9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XHX5xNumWWBR_ix_SOR0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KQtrZwWvhvkh_4nn7NL7Q"/>
</p:tagLst>
</file>

<file path=ppt/tags/tag10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GhCTCyY5ka1NZJCIrPqtw"/>
</p:tagLst>
</file>

<file path=ppt/tags/tag11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9ZejRRTtsaIvYfJ42lQGg"/>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VWVDJk78UFFitwmr5RPzg"/>
</p:tagLst>
</file>

<file path=ppt/tags/tag1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ylewG0rYLOysctow_UB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R4jsvNT8gbl8S32XQdSJQ"/>
</p:tagLst>
</file>

<file path=ppt/tags/tag12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hHtS22evfAbGXgwkm05fQ"/>
</p:tagLst>
</file>

<file path=ppt/tags/tag1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i.b3Q7WZMsowRJNC6Eg0Q"/>
</p:tagLst>
</file>

<file path=ppt/tags/tag1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9Bu3tQkmFpae3ot_Gu12w"/>
</p:tagLst>
</file>

<file path=ppt/tags/tag1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KVzVRzB1wvdz2Uj1l5Ivw"/>
</p:tagLst>
</file>

<file path=ppt/tags/tag1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nnsyDiPN9qq.TKtBYbKhw"/>
</p:tagLst>
</file>

<file path=ppt/tags/tag1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zv3_Ti_SSPNpj_.p1vScA"/>
</p:tagLst>
</file>

<file path=ppt/tags/tag1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Jsul38QGKe9qFkv.C_gVw"/>
</p:tagLst>
</file>

<file path=ppt/tags/tag1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Uuzkw_ap44LjO7GeemWpw"/>
</p:tagLst>
</file>

<file path=ppt/tags/tag1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arida0.WbMien2ohjlV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tcTr36Fjl.eNcPcJyIy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AK7pux3R5UKndXN65nG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6bksXOK3XEwfT4SSam88Q"/>
</p:tagLst>
</file>

<file path=ppt/tags/tag18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3.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AK7pux3R5UKndXN65nGBA"/>
</p:tagLst>
</file>

<file path=ppt/tags/tag19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QHYCmNPJ1_60Y44y2nj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Npm0omy_vDNFr.4VBiY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gUNsodjj.QPTiuploe4pw"/>
</p:tagLst>
</file>

<file path=ppt/tags/tag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2n3j2WYj2xgWh9uXaBp.w"/>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ysbL2kDu37Ie2iYfxDk6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TBMAoXpwp0MLMBSSfgU.Q"/>
</p:tagLst>
</file>

<file path=ppt/tags/tag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pEaXaohsYZv4amqbi7rnQ"/>
</p:tagLst>
</file>

<file path=ppt/tags/tag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ytJwQgKnHBBwz0zTi0CVA"/>
</p:tagLst>
</file>

<file path=ppt/tags/tag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dLEoRbBiv9uxZhl_Ac9bw"/>
</p:tagLst>
</file>

<file path=ppt/tags/tag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uhx7PPmrp8U2eb7SABrvA"/>
</p:tagLst>
</file>

<file path=ppt/tags/tag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4GgjYdcUyh3ZbmavHKSGg"/>
</p:tagLst>
</file>

<file path=ppt/tags/tag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xKYKMF31Zrq0szm8uNM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HDByHbBEFQKVdsPdqbn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XawhgbDSRt80NqDCJRt6w"/>
</p:tagLst>
</file>

<file path=ppt/tags/tag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IVvcX.q1snGKHm2IXVuog"/>
</p:tagLst>
</file>

<file path=ppt/tags/tag5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NJ7E1Lfyjf3sK0zFEiI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L1uhY_4hbsk0c6fn7YDFw"/>
</p:tagLst>
</file>

<file path=ppt/tags/tag6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LtVUnszVJovAG30yYQOA"/>
</p:tagLst>
</file>

<file path=ppt/tags/tag6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N8FSHYFfwxmnJFS1WsnXg"/>
</p:tagLst>
</file>

<file path=ppt/tags/tag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6.iYUyxGfzTf2UeLRiLdQ"/>
</p:tagLst>
</file>

<file path=ppt/tags/tag7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ZZlA1C3R1r3Xtko3AlV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uEBLybNeUsZEHrARQWx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uEBLybNeUsZEHrARQWxq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Tnviuvppfp_f9X8JqZoPQ"/>
</p:tagLst>
</file>

<file path=ppt/theme/theme1.xml><?xml version="1.0" encoding="utf-8"?>
<a:theme xmlns:a="http://schemas.openxmlformats.org/drawingml/2006/main" name="Nice Grid 16:9">
  <a:themeElements>
    <a:clrScheme name="Rise">
      <a:dk1>
        <a:srgbClr val="000000"/>
      </a:dk1>
      <a:lt1>
        <a:sysClr val="window" lastClr="FFFFFF"/>
      </a:lt1>
      <a:dk2>
        <a:srgbClr val="171D3C"/>
      </a:dk2>
      <a:lt2>
        <a:srgbClr val="F2F2F2"/>
      </a:lt2>
      <a:accent1>
        <a:srgbClr val="0F1327"/>
      </a:accent1>
      <a:accent2>
        <a:srgbClr val="2A356C"/>
      </a:accent2>
      <a:accent3>
        <a:srgbClr val="31DB89"/>
      </a:accent3>
      <a:accent4>
        <a:srgbClr val="394893"/>
      </a:accent4>
      <a:accent5>
        <a:srgbClr val="7F7F7F"/>
      </a:accent5>
      <a:accent6>
        <a:srgbClr val="FFFF00"/>
      </a:accent6>
      <a:hlink>
        <a:srgbClr val="1C9C5F"/>
      </a:hlink>
      <a:folHlink>
        <a:srgbClr val="1C9C5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F7638A798FBF54984597EB325E8111B" ma:contentTypeVersion="10" ma:contentTypeDescription="Create a new document." ma:contentTypeScope="" ma:versionID="c9804a3670e65e574a4ae6be2ca83465">
  <xsd:schema xmlns:xsd="http://www.w3.org/2001/XMLSchema" xmlns:xs="http://www.w3.org/2001/XMLSchema" xmlns:p="http://schemas.microsoft.com/office/2006/metadata/properties" xmlns:ns2="2dc97b79-0b93-40db-a5f5-74867eea2b6f" targetNamespace="http://schemas.microsoft.com/office/2006/metadata/properties" ma:root="true" ma:fieldsID="cd77fa9be89e59442720c38a3fae2724" ns2:_="">
    <xsd:import namespace="2dc97b79-0b93-40db-a5f5-74867eea2b6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c97b79-0b93-40db-a5f5-74867eea2b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34B731-EDCF-42B7-BE42-0947D0E73A6B}">
  <ds:schemaRefs>
    <ds:schemaRef ds:uri="http://schemas.microsoft.com/sharepoint/v3/contenttype/forms"/>
  </ds:schemaRefs>
</ds:datastoreItem>
</file>

<file path=customXml/itemProps2.xml><?xml version="1.0" encoding="utf-8"?>
<ds:datastoreItem xmlns:ds="http://schemas.openxmlformats.org/officeDocument/2006/customXml" ds:itemID="{AE7B3177-C41F-4F8B-BCE9-FE873B0B3A2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DB4F6C6-0AD7-4F77-9BE2-CB5E13DA88B2}">
  <ds:schemaRefs>
    <ds:schemaRef ds:uri="2dc97b79-0b93-40db-a5f5-74867eea2b6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3</Slides>
  <Notes>26</Notes>
  <HiddenSlides>0</HiddenSlides>
  <ScaleCrop>false</ScaleCrop>
  <HeadingPairs>
    <vt:vector size="4" baseType="variant">
      <vt:variant>
        <vt:lpstr>Theme</vt:lpstr>
      </vt:variant>
      <vt:variant>
        <vt:i4>1</vt:i4>
      </vt:variant>
      <vt:variant>
        <vt:lpstr>Slide Titles</vt:lpstr>
      </vt:variant>
      <vt:variant>
        <vt:i4>43</vt:i4>
      </vt:variant>
    </vt:vector>
  </HeadingPairs>
  <TitlesOfParts>
    <vt:vector size="44" baseType="lpstr">
      <vt:lpstr>Nice Grid 16:9</vt:lpstr>
      <vt:lpstr>Capstone Project</vt:lpstr>
      <vt:lpstr>PowerPoint Presentation</vt:lpstr>
      <vt:lpstr>Project Modelling Flow</vt:lpstr>
      <vt:lpstr>PowerPoint Presentation</vt:lpstr>
      <vt:lpstr>Imbiah Lookout has highest total ridership for all Bus Stops</vt:lpstr>
      <vt:lpstr>Afternoon is the peak for all buses (including Imbiah) </vt:lpstr>
      <vt:lpstr>PowerPoint Presentation</vt:lpstr>
      <vt:lpstr>Bus Frequency of Imbiah Lookout </vt:lpstr>
      <vt:lpstr>Feature Selection</vt:lpstr>
      <vt:lpstr>PowerPoint Presentation</vt:lpstr>
      <vt:lpstr>Ridership Predictions for 1st Week of April 2021</vt:lpstr>
      <vt:lpstr>Predicted Minimum Bus Frequency Required  on 1st April 2021</vt:lpstr>
      <vt:lpstr>Adding new features in existing Sentosa App Shuttle bus services, real time bus arrival and its occupancy</vt:lpstr>
      <vt:lpstr>PowerPoint Presentation</vt:lpstr>
      <vt:lpstr>PowerPoint Presentation</vt:lpstr>
      <vt:lpstr>PowerPoint Presentation</vt:lpstr>
      <vt:lpstr>PowerPoint Presentation</vt:lpstr>
      <vt:lpstr>Total ridership for bus stops (including Beach station)</vt:lpstr>
      <vt:lpstr>PowerPoint Presentation</vt:lpstr>
      <vt:lpstr>Total ridership by route</vt:lpstr>
      <vt:lpstr>Bus Frequency of top bus stops  Siloso Point and Imbiah Lookout (Weekday)</vt:lpstr>
      <vt:lpstr>Bus Frequency of top bus stops  Siloso Point and Imbiah Lookout (Weekend/holidays)</vt:lpstr>
      <vt:lpstr>Comparing Minimum Bus Frequency Required:  Selected Weekday vs 3 Months of Weekdays Data </vt:lpstr>
      <vt:lpstr>Select Weekday Bus Frequency Comparison:  Actual Bus Deployed vs Minimum Bus Frequency Required </vt:lpstr>
      <vt:lpstr>Calculation for Popularity Factor</vt:lpstr>
      <vt:lpstr>Hypothesis Testing for Correlation between Variables</vt:lpstr>
      <vt:lpstr>PowerPoint Presentation</vt:lpstr>
      <vt:lpstr>Preprocessing for Modelling Test for Daily Prediction</vt:lpstr>
      <vt:lpstr>PowerPoint Presentation</vt:lpstr>
      <vt:lpstr>Modelling Test for Daily Prediction</vt:lpstr>
      <vt:lpstr>PowerPoint Presentation</vt:lpstr>
      <vt:lpstr>PowerPoint Presentation</vt:lpstr>
      <vt:lpstr>PowerPoint Presentation</vt:lpstr>
      <vt:lpstr>Modelling Test for Daily Prediction (Tune Sarimax &amp; Tune Sarima)</vt:lpstr>
      <vt:lpstr>Modelling Test for Daily Prediction (Sarimax)</vt:lpstr>
      <vt:lpstr>PowerPoint Presentation</vt:lpstr>
      <vt:lpstr>Preprocessing for Modelling Test  for Hourly Prediction</vt:lpstr>
      <vt:lpstr>PowerPoint Presentation</vt:lpstr>
      <vt:lpstr>PowerPoint Presentation</vt:lpstr>
      <vt:lpstr>PowerPoint Presentation</vt:lpstr>
      <vt:lpstr>PowerPoint Presentation</vt:lpstr>
      <vt:lpstr>PowerPoint Presentation</vt:lpstr>
      <vt:lpstr>PowerPoint Presentation</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revision>1</cp:revision>
  <cp:lastPrinted>1999-12-31T16:00:00Z</cp:lastPrinted>
  <dcterms:created xsi:type="dcterms:W3CDTF">2021-02-08T07:05:41Z</dcterms:created>
  <dcterms:modified xsi:type="dcterms:W3CDTF">2022-01-13T05:5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601277</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ContentTypeId">
    <vt:lpwstr>0x0101000F7638A798FBF54984597EB325E8111B</vt:lpwstr>
  </property>
</Properties>
</file>